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7.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8.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7.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tags/tag128.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tags/tag129.xml" ContentType="application/vnd.openxmlformats-officedocument.presentationml.tags+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notesSlides/notesSlide5.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134.xml" ContentType="application/vnd.openxmlformats-officedocument.presentationml.tags+xml"/>
  <Override PartName="/ppt/notesSlides/notesSlide7.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8.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tags/tag164.xml" ContentType="application/vnd.openxmlformats-officedocument.presentationml.tags+xml"/>
  <Override PartName="/ppt/notesSlides/notesSlide10.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1.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tags/tag196.xml" ContentType="application/vnd.openxmlformats-officedocument.presentationml.tags+xml"/>
  <Override PartName="/ppt/notesSlides/notesSlide12.xml" ContentType="application/vnd.openxmlformats-officedocument.presentationml.notesSlide+xml"/>
  <Override PartName="/ppt/tags/tag197.xml" ContentType="application/vnd.openxmlformats-officedocument.presentationml.tags+xml"/>
  <Override PartName="/ppt/charts/chart20.xml" ContentType="application/vnd.openxmlformats-officedocument.drawingml.chart+xml"/>
  <Override PartName="/ppt/charts/style17.xml" ContentType="application/vnd.ms-office.chartstyle+xml"/>
  <Override PartName="/ppt/charts/colors17.xml" ContentType="application/vnd.ms-office.chartcolorstyle+xml"/>
  <Override PartName="/ppt/tags/tag198.xml" ContentType="application/vnd.openxmlformats-officedocument.presentationml.tags+xml"/>
  <Override PartName="/ppt/charts/chart21.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4.xml" ContentType="application/vnd.openxmlformats-officedocument.themeOverride+xml"/>
  <Override PartName="/ppt/tags/tag199.xml" ContentType="application/vnd.openxmlformats-officedocument.presentationml.tags+xml"/>
  <Override PartName="/ppt/charts/chart22.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5.xml" ContentType="application/vnd.openxmlformats-officedocument.themeOverride+xml"/>
  <Override PartName="/ppt/charts/chart2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13.xml" ContentType="application/vnd.openxmlformats-officedocument.presentationml.notesSlide+xml"/>
  <Override PartName="/ppt/tags/tag203.xml" ContentType="application/vnd.openxmlformats-officedocument.presentationml.tags+xml"/>
  <Override PartName="/ppt/notesSlides/notesSlide14.xml" ContentType="application/vnd.openxmlformats-officedocument.presentationml.notesSlide+xml"/>
  <Override PartName="/ppt/tags/tag204.xml" ContentType="application/vnd.openxmlformats-officedocument.presentationml.tags+xml"/>
  <Override PartName="/ppt/notesSlides/notesSlide15.xml" ContentType="application/vnd.openxmlformats-officedocument.presentationml.notesSlide+xml"/>
  <Override PartName="/ppt/tags/tag205.xml" ContentType="application/vnd.openxmlformats-officedocument.presentationml.tags+xml"/>
  <Override PartName="/ppt/notesSlides/notesSlide16.xml" ContentType="application/vnd.openxmlformats-officedocument.presentationml.notesSlide+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tags/tag206.xml" ContentType="application/vnd.openxmlformats-officedocument.presentationml.tags+xml"/>
  <Override PartName="/ppt/notesSlides/notesSlide17.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8" r:id="rId1"/>
    <p:sldMasterId id="2147483971" r:id="rId2"/>
    <p:sldMasterId id="2147484123" r:id="rId3"/>
    <p:sldMasterId id="2147484159" r:id="rId4"/>
    <p:sldMasterId id="2147484219" r:id="rId5"/>
    <p:sldMasterId id="2147484266" r:id="rId6"/>
    <p:sldMasterId id="2147484329" r:id="rId7"/>
  </p:sldMasterIdLst>
  <p:notesMasterIdLst>
    <p:notesMasterId r:id="rId40"/>
  </p:notesMasterIdLst>
  <p:sldIdLst>
    <p:sldId id="301" r:id="rId8"/>
    <p:sldId id="2147472201" r:id="rId9"/>
    <p:sldId id="2147471490" r:id="rId10"/>
    <p:sldId id="2147483213" r:id="rId11"/>
    <p:sldId id="266" r:id="rId12"/>
    <p:sldId id="2147483214" r:id="rId13"/>
    <p:sldId id="2147475823" r:id="rId14"/>
    <p:sldId id="267" r:id="rId15"/>
    <p:sldId id="268" r:id="rId16"/>
    <p:sldId id="2147483215" r:id="rId17"/>
    <p:sldId id="2147480661" r:id="rId18"/>
    <p:sldId id="2147483644" r:id="rId19"/>
    <p:sldId id="2147483645" r:id="rId20"/>
    <p:sldId id="2147483206" r:id="rId21"/>
    <p:sldId id="2147483646" r:id="rId22"/>
    <p:sldId id="2147483647" r:id="rId23"/>
    <p:sldId id="265" r:id="rId24"/>
    <p:sldId id="269" r:id="rId25"/>
    <p:sldId id="2147483219" r:id="rId26"/>
    <p:sldId id="2147483220" r:id="rId27"/>
    <p:sldId id="2147470853" r:id="rId28"/>
    <p:sldId id="2147472841" r:id="rId29"/>
    <p:sldId id="2147472846" r:id="rId30"/>
    <p:sldId id="2147470846" r:id="rId31"/>
    <p:sldId id="2147483216" r:id="rId32"/>
    <p:sldId id="270" r:id="rId33"/>
    <p:sldId id="271" r:id="rId34"/>
    <p:sldId id="2147483642" r:id="rId35"/>
    <p:sldId id="272" r:id="rId36"/>
    <p:sldId id="273" r:id="rId37"/>
    <p:sldId id="5375" r:id="rId38"/>
    <p:sldId id="279" r:id="rId3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608A19-C3D3-43E6-860E-454302617F17}">
          <p14:sldIdLst/>
        </p14:section>
        <p14:section name="+ Default" id="{F767800A-ADD0-4DAA-9FE3-81336A50E7DD}">
          <p14:sldIdLst>
            <p14:sldId id="301"/>
            <p14:sldId id="2147472201"/>
            <p14:sldId id="2147471490"/>
            <p14:sldId id="2147483213"/>
            <p14:sldId id="266"/>
            <p14:sldId id="2147483214"/>
            <p14:sldId id="2147475823"/>
            <p14:sldId id="267"/>
            <p14:sldId id="268"/>
            <p14:sldId id="2147483215"/>
            <p14:sldId id="2147480661"/>
            <p14:sldId id="2147483644"/>
            <p14:sldId id="2147483645"/>
            <p14:sldId id="2147483206"/>
            <p14:sldId id="2147483646"/>
            <p14:sldId id="2147483647"/>
            <p14:sldId id="265"/>
            <p14:sldId id="269"/>
            <p14:sldId id="2147483219"/>
            <p14:sldId id="2147483220"/>
            <p14:sldId id="2147470853"/>
            <p14:sldId id="2147472841"/>
            <p14:sldId id="2147472846"/>
            <p14:sldId id="2147470846"/>
            <p14:sldId id="2147483216"/>
            <p14:sldId id="270"/>
            <p14:sldId id="271"/>
            <p14:sldId id="2147483642"/>
            <p14:sldId id="272"/>
            <p14:sldId id="273"/>
            <p14:sldId id="5375"/>
            <p14:sldId id="27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60"/>
  </p:normalViewPr>
  <p:slideViewPr>
    <p:cSldViewPr snapToGrid="0">
      <p:cViewPr varScale="1">
        <p:scale>
          <a:sx n="59" d="100"/>
          <a:sy n="59" d="100"/>
        </p:scale>
        <p:origin x="924"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0" Type="http://schemas.openxmlformats.org/officeDocument/2006/relationships/slide" Target="slides/slide13.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Marie Carrey" userId="f9afc4aa67827740" providerId="LiveId" clId="{89FC2E44-86AF-4521-902E-CA8F8113BB76}"/>
    <pc:docChg chg="delSld delMainMaster modSection">
      <pc:chgData name="Ann-Marie Carrey" userId="f9afc4aa67827740" providerId="LiveId" clId="{89FC2E44-86AF-4521-902E-CA8F8113BB76}" dt="2026-07-02T10:43:00.811" v="0" actId="2696"/>
      <pc:docMkLst>
        <pc:docMk/>
      </pc:docMkLst>
      <pc:sldChg chg="del">
        <pc:chgData name="Ann-Marie Carrey" userId="f9afc4aa67827740" providerId="LiveId" clId="{89FC2E44-86AF-4521-902E-CA8F8113BB76}" dt="2026-07-02T10:43:00.811" v="0" actId="2696"/>
        <pc:sldMkLst>
          <pc:docMk/>
          <pc:sldMk cId="4242663512" sldId="855"/>
        </pc:sldMkLst>
      </pc:sldChg>
      <pc:sldMasterChg chg="del delSldLayout">
        <pc:chgData name="Ann-Marie Carrey" userId="f9afc4aa67827740" providerId="LiveId" clId="{89FC2E44-86AF-4521-902E-CA8F8113BB76}" dt="2026-07-02T10:43:00.811" v="0" actId="2696"/>
        <pc:sldMasterMkLst>
          <pc:docMk/>
          <pc:sldMasterMk cId="1309362835" sldId="2147483660"/>
        </pc:sldMasterMkLst>
        <pc:sldLayoutChg chg="del">
          <pc:chgData name="Ann-Marie Carrey" userId="f9afc4aa67827740" providerId="LiveId" clId="{89FC2E44-86AF-4521-902E-CA8F8113BB76}" dt="2026-07-02T10:43:00.811" v="0" actId="2696"/>
          <pc:sldLayoutMkLst>
            <pc:docMk/>
            <pc:sldMasterMk cId="1309362835" sldId="2147483660"/>
            <pc:sldLayoutMk cId="2255194032" sldId="2147483661"/>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3712746618" sldId="2147483662"/>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2330848341" sldId="2147483663"/>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690858678" sldId="2147483664"/>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2834901061" sldId="2147483665"/>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862210021" sldId="2147483666"/>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355981256" sldId="2147483667"/>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876836970" sldId="2147483668"/>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4261172940" sldId="2147483669"/>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542828602" sldId="2147483670"/>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292947661" sldId="2147483671"/>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4003740012" sldId="2147483672"/>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3446958211" sldId="2147483673"/>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1276912988" sldId="2147483674"/>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1634750569" sldId="2147483675"/>
          </pc:sldLayoutMkLst>
        </pc:sldLayoutChg>
        <pc:sldLayoutChg chg="del">
          <pc:chgData name="Ann-Marie Carrey" userId="f9afc4aa67827740" providerId="LiveId" clId="{89FC2E44-86AF-4521-902E-CA8F8113BB76}" dt="2026-07-02T10:43:00.811" v="0" actId="2696"/>
          <pc:sldLayoutMkLst>
            <pc:docMk/>
            <pc:sldMasterMk cId="1309362835" sldId="2147483660"/>
            <pc:sldLayoutMk cId="2615938847" sldId="2147483676"/>
          </pc:sldLayoutMkLst>
        </pc:sldLayoutChg>
      </pc:sldMasterChg>
    </pc:docChg>
  </pc:docChgLst>
  <pc:docChgLst>
    <pc:chgData name="Ingrid Cruickshank" userId="5a5f459abdc2fb5c" providerId="LiveId" clId="{235A252F-ADF7-4EB3-AC49-03FD09E1C522}"/>
    <pc:docChg chg="delSld delMainMaster delSection modSection">
      <pc:chgData name="Ingrid Cruickshank" userId="5a5f459abdc2fb5c" providerId="LiveId" clId="{235A252F-ADF7-4EB3-AC49-03FD09E1C522}" dt="2026-06-30T11:45:37.195" v="67" actId="17851"/>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quintiles-my.sharepoint.com/personal/rnarasimullu_in_imshealth_com/Documents/Desktop/Regular_Updates/1.UK/Weight%20Management/Obesity%20raw%20data.xlsx" TargetMode="Externa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8.xlsx"/></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19.xlsx"/></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GB" dirty="0"/>
              <a:t>Active Pharmacie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7.3651896888449003E-2"/>
          <c:y val="0.1149080944126"/>
          <c:w val="0.86672513896375891"/>
          <c:h val="0.81929451433131106"/>
        </c:manualLayout>
      </c:layout>
      <c:barChart>
        <c:barDir val="col"/>
        <c:grouping val="clustered"/>
        <c:varyColors val="0"/>
        <c:ser>
          <c:idx val="0"/>
          <c:order val="0"/>
          <c:tx>
            <c:strRef>
              <c:f>Sheet1!$B$1</c:f>
              <c:strCache>
                <c:ptCount val="1"/>
                <c:pt idx="0">
                  <c:v>Active Stores</c:v>
                </c:pt>
              </c:strCache>
            </c:strRef>
          </c:tx>
          <c:spPr>
            <a:solidFill>
              <a:srgbClr val="959CA0"/>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5-2F88-4389-B441-68302BDFE229}"/>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A-2F88-4389-B441-68302BDFE229}"/>
              </c:ext>
            </c:extLst>
          </c:dPt>
          <c:dPt>
            <c:idx val="24"/>
            <c:invertIfNegative val="0"/>
            <c:bubble3D val="0"/>
            <c:spPr>
              <a:solidFill>
                <a:schemeClr val="accent2"/>
              </a:solidFill>
              <a:ln>
                <a:noFill/>
              </a:ln>
              <a:effectLst/>
            </c:spPr>
            <c:extLst>
              <c:ext xmlns:c16="http://schemas.microsoft.com/office/drawing/2014/chart" uri="{C3380CC4-5D6E-409C-BE32-E72D297353CC}">
                <c16:uniqueId val="{00000009-2F88-4389-B441-68302BDFE229}"/>
              </c:ext>
            </c:extLst>
          </c:dPt>
          <c:dPt>
            <c:idx val="36"/>
            <c:invertIfNegative val="0"/>
            <c:bubble3D val="0"/>
            <c:spPr>
              <a:solidFill>
                <a:schemeClr val="accent2"/>
              </a:solidFill>
              <a:ln>
                <a:noFill/>
              </a:ln>
              <a:effectLst/>
            </c:spPr>
            <c:extLst>
              <c:ext xmlns:c16="http://schemas.microsoft.com/office/drawing/2014/chart" uri="{C3380CC4-5D6E-409C-BE32-E72D297353CC}">
                <c16:uniqueId val="{0000000B-2F88-4389-B441-68302BDFE229}"/>
              </c:ext>
            </c:extLst>
          </c:dPt>
          <c:dPt>
            <c:idx val="48"/>
            <c:invertIfNegative val="0"/>
            <c:bubble3D val="0"/>
            <c:spPr>
              <a:solidFill>
                <a:schemeClr val="accent2"/>
              </a:solidFill>
              <a:ln>
                <a:noFill/>
              </a:ln>
              <a:effectLst/>
            </c:spPr>
            <c:extLst>
              <c:ext xmlns:c16="http://schemas.microsoft.com/office/drawing/2014/chart" uri="{C3380CC4-5D6E-409C-BE32-E72D297353CC}">
                <c16:uniqueId val="{00000004-2F88-4389-B441-68302BDFE229}"/>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88-4389-B441-68302BDFE229}"/>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F88-4389-B441-68302BDFE229}"/>
                </c:ext>
              </c:extLst>
            </c:dLbl>
            <c:dLbl>
              <c:idx val="2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F88-4389-B441-68302BDFE229}"/>
                </c:ext>
              </c:extLst>
            </c:dLbl>
            <c:dLbl>
              <c:idx val="3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F88-4389-B441-68302BDFE229}"/>
                </c:ext>
              </c:extLst>
            </c:dLbl>
            <c:dLbl>
              <c:idx val="4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F88-4389-B441-68302BDFE229}"/>
                </c:ext>
              </c:extLst>
            </c:dLbl>
            <c:numFmt formatCode="0.0,&quot;k&quot;" sourceLinked="0"/>
            <c:spPr>
              <a:solidFill>
                <a:schemeClr val="accent2"/>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B$2:$B$50</c:f>
              <c:numCache>
                <c:formatCode>General</c:formatCode>
                <c:ptCount val="49"/>
                <c:pt idx="0">
                  <c:v>11137</c:v>
                </c:pt>
                <c:pt idx="1">
                  <c:v>11123</c:v>
                </c:pt>
                <c:pt idx="2">
                  <c:v>11120</c:v>
                </c:pt>
                <c:pt idx="3">
                  <c:v>11124</c:v>
                </c:pt>
                <c:pt idx="4">
                  <c:v>11111</c:v>
                </c:pt>
                <c:pt idx="5">
                  <c:v>11101</c:v>
                </c:pt>
                <c:pt idx="6">
                  <c:v>11096</c:v>
                </c:pt>
                <c:pt idx="7">
                  <c:v>11087</c:v>
                </c:pt>
                <c:pt idx="8">
                  <c:v>11080</c:v>
                </c:pt>
                <c:pt idx="9">
                  <c:v>11070</c:v>
                </c:pt>
                <c:pt idx="10">
                  <c:v>11074</c:v>
                </c:pt>
                <c:pt idx="11">
                  <c:v>11079</c:v>
                </c:pt>
                <c:pt idx="12">
                  <c:v>11077</c:v>
                </c:pt>
                <c:pt idx="13">
                  <c:v>11076</c:v>
                </c:pt>
                <c:pt idx="14">
                  <c:v>11089</c:v>
                </c:pt>
                <c:pt idx="15">
                  <c:v>11023</c:v>
                </c:pt>
                <c:pt idx="16">
                  <c:v>10984</c:v>
                </c:pt>
                <c:pt idx="17">
                  <c:v>10963</c:v>
                </c:pt>
                <c:pt idx="18">
                  <c:v>10980</c:v>
                </c:pt>
                <c:pt idx="19">
                  <c:v>10904</c:v>
                </c:pt>
                <c:pt idx="20">
                  <c:v>10849</c:v>
                </c:pt>
                <c:pt idx="21">
                  <c:v>10733</c:v>
                </c:pt>
                <c:pt idx="22">
                  <c:v>10693</c:v>
                </c:pt>
                <c:pt idx="23">
                  <c:v>10691</c:v>
                </c:pt>
                <c:pt idx="24">
                  <c:v>10647</c:v>
                </c:pt>
                <c:pt idx="25">
                  <c:v>10599</c:v>
                </c:pt>
                <c:pt idx="26">
                  <c:v>10566</c:v>
                </c:pt>
                <c:pt idx="27">
                  <c:v>10535</c:v>
                </c:pt>
                <c:pt idx="28">
                  <c:v>10550</c:v>
                </c:pt>
                <c:pt idx="29">
                  <c:v>10541</c:v>
                </c:pt>
                <c:pt idx="30">
                  <c:v>10518</c:v>
                </c:pt>
                <c:pt idx="31">
                  <c:v>10515</c:v>
                </c:pt>
                <c:pt idx="32">
                  <c:v>10500</c:v>
                </c:pt>
                <c:pt idx="33">
                  <c:v>10505</c:v>
                </c:pt>
                <c:pt idx="34">
                  <c:v>10481</c:v>
                </c:pt>
                <c:pt idx="35">
                  <c:v>10477</c:v>
                </c:pt>
                <c:pt idx="36">
                  <c:v>10495</c:v>
                </c:pt>
                <c:pt idx="37">
                  <c:v>10486</c:v>
                </c:pt>
                <c:pt idx="38">
                  <c:v>10444</c:v>
                </c:pt>
                <c:pt idx="39">
                  <c:v>10449</c:v>
                </c:pt>
                <c:pt idx="40">
                  <c:v>10448</c:v>
                </c:pt>
                <c:pt idx="41">
                  <c:v>10437</c:v>
                </c:pt>
                <c:pt idx="42">
                  <c:v>10446</c:v>
                </c:pt>
                <c:pt idx="43">
                  <c:v>10433</c:v>
                </c:pt>
                <c:pt idx="44">
                  <c:v>10438</c:v>
                </c:pt>
                <c:pt idx="45">
                  <c:v>10433</c:v>
                </c:pt>
                <c:pt idx="46">
                  <c:v>10420</c:v>
                </c:pt>
                <c:pt idx="47">
                  <c:v>10433</c:v>
                </c:pt>
                <c:pt idx="48">
                  <c:v>10432</c:v>
                </c:pt>
              </c:numCache>
            </c:numRef>
          </c:val>
          <c:extLst>
            <c:ext xmlns:c16="http://schemas.microsoft.com/office/drawing/2014/chart" uri="{C3380CC4-5D6E-409C-BE32-E72D297353CC}">
              <c16:uniqueId val="{00000000-2F88-4389-B441-68302BDFE229}"/>
            </c:ext>
          </c:extLst>
        </c:ser>
        <c:dLbls>
          <c:showLegendKey val="0"/>
          <c:showVal val="0"/>
          <c:showCatName val="0"/>
          <c:showSerName val="0"/>
          <c:showPercent val="0"/>
          <c:showBubbleSize val="0"/>
        </c:dLbls>
        <c:gapWidth val="50"/>
        <c:overlap val="-27"/>
        <c:axId val="1699676783"/>
        <c:axId val="1699673423"/>
      </c:barChart>
      <c:dateAx>
        <c:axId val="169967678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699673423"/>
        <c:crosses val="autoZero"/>
        <c:auto val="1"/>
        <c:lblOffset val="100"/>
        <c:baseTimeUnit val="months"/>
        <c:majorUnit val="12"/>
        <c:majorTimeUnit val="months"/>
      </c:dateAx>
      <c:valAx>
        <c:axId val="1699673423"/>
        <c:scaling>
          <c:orientation val="minMax"/>
          <c:max val="11600"/>
        </c:scaling>
        <c:delete val="0"/>
        <c:axPos val="l"/>
        <c:majorGridlines>
          <c:spPr>
            <a:ln w="6350" cap="flat" cmpd="sng" algn="ctr">
              <a:solidFill>
                <a:schemeClr val="tx1">
                  <a:lumMod val="15000"/>
                  <a:lumOff val="85000"/>
                </a:schemeClr>
              </a:solidFill>
              <a:prstDash val="dash"/>
              <a:round/>
            </a:ln>
            <a:effectLst/>
          </c:spPr>
        </c:majorGridlines>
        <c:numFmt formatCode="General" sourceLinked="1"/>
        <c:majorTickMark val="none"/>
        <c:minorTickMark val="none"/>
        <c:tickLblPos val="none"/>
        <c:spPr>
          <a:noFill/>
          <a:ln w="25400">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967678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solidFill>
        <a:schemeClr val="tx1"/>
      </a:solid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rgbClr val="000000"/>
                </a:solidFill>
                <a:latin typeface="+mn-lt"/>
                <a:ea typeface="+mn-ea"/>
                <a:cs typeface="+mn-cs"/>
              </a:defRPr>
            </a:pPr>
            <a:r>
              <a:rPr lang="en-GB" sz="1800" b="1">
                <a:solidFill>
                  <a:srgbClr val="000000"/>
                </a:solidFill>
              </a:rPr>
              <a:t>Fees by Service</a:t>
            </a:r>
          </a:p>
        </c:rich>
      </c:tx>
      <c:layout>
        <c:manualLayout>
          <c:xMode val="edge"/>
          <c:yMode val="edge"/>
          <c:x val="7.7754521106722485E-2"/>
          <c:y val="0"/>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8.8039863383680847E-2"/>
          <c:y val="8.744646678694934E-2"/>
          <c:w val="0.75041798754619171"/>
          <c:h val="0.72051087119873269"/>
        </c:manualLayout>
      </c:layout>
      <c:barChart>
        <c:barDir val="col"/>
        <c:grouping val="stacked"/>
        <c:varyColors val="0"/>
        <c:ser>
          <c:idx val="0"/>
          <c:order val="0"/>
          <c:tx>
            <c:strRef>
              <c:f>Sheet1!$B$1</c:f>
              <c:strCache>
                <c:ptCount val="1"/>
                <c:pt idx="0">
                  <c:v>NMS</c:v>
                </c:pt>
              </c:strCache>
            </c:strRef>
          </c:tx>
          <c:spPr>
            <a:solidFill>
              <a:schemeClr val="accent1"/>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B$2:$B$58</c:f>
              <c:numCache>
                <c:formatCode>[&lt;995000]0.0,"k";0.0,,"m"</c:formatCode>
                <c:ptCount val="37"/>
                <c:pt idx="0">
                  <c:v>7682304</c:v>
                </c:pt>
                <c:pt idx="1">
                  <c:v>8919456</c:v>
                </c:pt>
                <c:pt idx="2">
                  <c:v>8100792</c:v>
                </c:pt>
                <c:pt idx="3">
                  <c:v>8225252</c:v>
                </c:pt>
                <c:pt idx="4">
                  <c:v>8602048</c:v>
                </c:pt>
                <c:pt idx="5">
                  <c:v>8851276</c:v>
                </c:pt>
                <c:pt idx="6">
                  <c:v>8937936</c:v>
                </c:pt>
                <c:pt idx="7">
                  <c:v>8339520</c:v>
                </c:pt>
                <c:pt idx="8">
                  <c:v>9008832</c:v>
                </c:pt>
                <c:pt idx="9">
                  <c:v>9936248</c:v>
                </c:pt>
                <c:pt idx="10">
                  <c:v>10140536</c:v>
                </c:pt>
                <c:pt idx="11">
                  <c:v>10418072</c:v>
                </c:pt>
                <c:pt idx="12">
                  <c:v>10976000</c:v>
                </c:pt>
                <c:pt idx="13">
                  <c:v>11535888</c:v>
                </c:pt>
                <c:pt idx="14">
                  <c:v>11900168</c:v>
                </c:pt>
                <c:pt idx="15">
                  <c:v>12326860</c:v>
                </c:pt>
                <c:pt idx="16">
                  <c:v>11767336</c:v>
                </c:pt>
                <c:pt idx="17">
                  <c:v>13004292</c:v>
                </c:pt>
                <c:pt idx="18">
                  <c:v>12514964</c:v>
                </c:pt>
                <c:pt idx="19">
                  <c:v>12256580</c:v>
                </c:pt>
                <c:pt idx="20">
                  <c:v>13546204</c:v>
                </c:pt>
                <c:pt idx="21">
                  <c:v>13546204</c:v>
                </c:pt>
                <c:pt idx="22">
                  <c:v>13866020</c:v>
                </c:pt>
                <c:pt idx="23">
                  <c:v>14034048</c:v>
                </c:pt>
                <c:pt idx="24">
                  <c:v>14241808</c:v>
                </c:pt>
                <c:pt idx="25">
                  <c:v>15244152</c:v>
                </c:pt>
                <c:pt idx="26">
                  <c:v>12293694</c:v>
                </c:pt>
                <c:pt idx="27">
                  <c:v>12802034</c:v>
                </c:pt>
                <c:pt idx="28">
                  <c:v>13003648</c:v>
                </c:pt>
                <c:pt idx="29">
                  <c:v>14075488</c:v>
                </c:pt>
                <c:pt idx="30">
                  <c:v>12844776</c:v>
                </c:pt>
                <c:pt idx="31">
                  <c:v>13316996</c:v>
                </c:pt>
                <c:pt idx="32">
                  <c:v>13769322</c:v>
                </c:pt>
                <c:pt idx="33">
                  <c:v>13588358</c:v>
                </c:pt>
                <c:pt idx="34">
                  <c:v>15543514</c:v>
                </c:pt>
                <c:pt idx="35">
                  <c:v>14828184</c:v>
                </c:pt>
                <c:pt idx="36">
                  <c:v>15289358</c:v>
                </c:pt>
              </c:numCache>
            </c:numRef>
          </c:val>
          <c:extLst>
            <c:ext xmlns:c16="http://schemas.microsoft.com/office/drawing/2014/chart" uri="{C3380CC4-5D6E-409C-BE32-E72D297353CC}">
              <c16:uniqueId val="{00000000-099B-4BD7-AEF1-03F21A06A984}"/>
            </c:ext>
          </c:extLst>
        </c:ser>
        <c:ser>
          <c:idx val="1"/>
          <c:order val="1"/>
          <c:tx>
            <c:strRef>
              <c:f>Sheet1!$C$1</c:f>
              <c:strCache>
                <c:ptCount val="1"/>
                <c:pt idx="0">
                  <c:v>MUR</c:v>
                </c:pt>
              </c:strCache>
            </c:strRef>
          </c:tx>
          <c:spPr>
            <a:solidFill>
              <a:schemeClr val="accent2"/>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C$2:$C$58</c:f>
            </c:numRef>
          </c:val>
          <c:extLst>
            <c:ext xmlns:c16="http://schemas.microsoft.com/office/drawing/2014/chart" uri="{C3380CC4-5D6E-409C-BE32-E72D297353CC}">
              <c16:uniqueId val="{00000001-099B-4BD7-AEF1-03F21A06A984}"/>
            </c:ext>
          </c:extLst>
        </c:ser>
        <c:ser>
          <c:idx val="2"/>
          <c:order val="2"/>
          <c:tx>
            <c:strRef>
              <c:f>Sheet1!$D$1</c:f>
              <c:strCache>
                <c:ptCount val="1"/>
                <c:pt idx="0">
                  <c:v>Flu Vaccinations</c:v>
                </c:pt>
              </c:strCache>
            </c:strRef>
          </c:tx>
          <c:spPr>
            <a:solidFill>
              <a:schemeClr val="accent5"/>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D$2:$D$58</c:f>
              <c:numCache>
                <c:formatCode>[&lt;995000]0.0,"k";0.0,,"m"</c:formatCode>
                <c:ptCount val="37"/>
                <c:pt idx="0">
                  <c:v>151593.92000000225</c:v>
                </c:pt>
                <c:pt idx="1">
                  <c:v>46884.520000001183</c:v>
                </c:pt>
                <c:pt idx="2">
                  <c:v>0</c:v>
                </c:pt>
                <c:pt idx="3">
                  <c:v>0</c:v>
                </c:pt>
                <c:pt idx="4">
                  <c:v>0</c:v>
                </c:pt>
                <c:pt idx="5">
                  <c:v>0</c:v>
                </c:pt>
                <c:pt idx="6">
                  <c:v>0</c:v>
                </c:pt>
                <c:pt idx="7">
                  <c:v>12032307.560000001</c:v>
                </c:pt>
                <c:pt idx="8">
                  <c:v>17313301.719999999</c:v>
                </c:pt>
                <c:pt idx="9">
                  <c:v>5250740.5199999996</c:v>
                </c:pt>
                <c:pt idx="10">
                  <c:v>1290905</c:v>
                </c:pt>
                <c:pt idx="11">
                  <c:v>204801.24</c:v>
                </c:pt>
                <c:pt idx="12">
                  <c:v>50649.46</c:v>
                </c:pt>
                <c:pt idx="13">
                  <c:v>11534.32</c:v>
                </c:pt>
                <c:pt idx="14">
                  <c:v>0</c:v>
                </c:pt>
                <c:pt idx="15">
                  <c:v>0</c:v>
                </c:pt>
                <c:pt idx="16">
                  <c:v>0</c:v>
                </c:pt>
                <c:pt idx="17">
                  <c:v>0</c:v>
                </c:pt>
                <c:pt idx="18">
                  <c:v>0</c:v>
                </c:pt>
                <c:pt idx="19">
                  <c:v>19801.86</c:v>
                </c:pt>
                <c:pt idx="20">
                  <c:v>30128496.460000001</c:v>
                </c:pt>
                <c:pt idx="21">
                  <c:v>6295746.0800000001</c:v>
                </c:pt>
                <c:pt idx="22">
                  <c:v>2046182.62</c:v>
                </c:pt>
                <c:pt idx="23">
                  <c:v>391381.32</c:v>
                </c:pt>
                <c:pt idx="24">
                  <c:v>59913.32</c:v>
                </c:pt>
                <c:pt idx="25">
                  <c:v>16899.12</c:v>
                </c:pt>
                <c:pt idx="26">
                  <c:v>0</c:v>
                </c:pt>
                <c:pt idx="27">
                  <c:v>0</c:v>
                </c:pt>
                <c:pt idx="28">
                  <c:v>0</c:v>
                </c:pt>
                <c:pt idx="29">
                  <c:v>0</c:v>
                </c:pt>
                <c:pt idx="30">
                  <c:v>0</c:v>
                </c:pt>
                <c:pt idx="31">
                  <c:v>8554.9399999999569</c:v>
                </c:pt>
                <c:pt idx="32">
                  <c:v>32063254.099999007</c:v>
                </c:pt>
                <c:pt idx="33">
                  <c:v>7714362.0600002343</c:v>
                </c:pt>
                <c:pt idx="34">
                  <c:v>3601897.9800001099</c:v>
                </c:pt>
                <c:pt idx="35">
                  <c:v>272953.3599999898</c:v>
                </c:pt>
                <c:pt idx="36">
                  <c:v>39852.800000001815</c:v>
                </c:pt>
              </c:numCache>
            </c:numRef>
          </c:val>
          <c:extLst>
            <c:ext xmlns:c16="http://schemas.microsoft.com/office/drawing/2014/chart" uri="{C3380CC4-5D6E-409C-BE32-E72D297353CC}">
              <c16:uniqueId val="{00000002-099B-4BD7-AEF1-03F21A06A984}"/>
            </c:ext>
          </c:extLst>
        </c:ser>
        <c:ser>
          <c:idx val="3"/>
          <c:order val="3"/>
          <c:tx>
            <c:strRef>
              <c:f>Sheet1!$E$1</c:f>
              <c:strCache>
                <c:ptCount val="1"/>
                <c:pt idx="0">
                  <c:v>C-19 Delivery</c:v>
                </c:pt>
              </c:strCache>
            </c:strRef>
          </c:tx>
          <c:spPr>
            <a:solidFill>
              <a:schemeClr val="accent4"/>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E$2:$E$58</c:f>
            </c:numRef>
          </c:val>
          <c:extLst>
            <c:ext xmlns:c16="http://schemas.microsoft.com/office/drawing/2014/chart" uri="{C3380CC4-5D6E-409C-BE32-E72D297353CC}">
              <c16:uniqueId val="{00000004-099B-4BD7-AEF1-03F21A06A984}"/>
            </c:ext>
          </c:extLst>
        </c:ser>
        <c:ser>
          <c:idx val="4"/>
          <c:order val="4"/>
          <c:tx>
            <c:strRef>
              <c:f>Sheet1!$F$1</c:f>
              <c:strCache>
                <c:ptCount val="1"/>
                <c:pt idx="0">
                  <c:v>CPCS</c:v>
                </c:pt>
              </c:strCache>
            </c:strRef>
          </c:tx>
          <c:spPr>
            <a:solidFill>
              <a:schemeClr val="tx1"/>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F$2:$F$58</c:f>
              <c:numCache>
                <c:formatCode>[&lt;995000]0.0,"k";0.0,,"m"</c:formatCode>
                <c:ptCount val="37"/>
                <c:pt idx="0">
                  <c:v>1739150</c:v>
                </c:pt>
                <c:pt idx="1">
                  <c:v>1886206</c:v>
                </c:pt>
                <c:pt idx="2">
                  <c:v>2120454</c:v>
                </c:pt>
                <c:pt idx="3">
                  <c:v>2217572</c:v>
                </c:pt>
                <c:pt idx="4">
                  <c:v>2344734</c:v>
                </c:pt>
                <c:pt idx="5">
                  <c:v>2048900</c:v>
                </c:pt>
                <c:pt idx="6">
                  <c:v>2185022</c:v>
                </c:pt>
                <c:pt idx="7">
                  <c:v>2192162</c:v>
                </c:pt>
                <c:pt idx="8">
                  <c:v>2303574</c:v>
                </c:pt>
                <c:pt idx="9">
                  <c:v>2239706</c:v>
                </c:pt>
                <c:pt idx="10">
                  <c:v>2739282</c:v>
                </c:pt>
                <c:pt idx="11">
                  <c:v>2486680</c:v>
                </c:pt>
              </c:numCache>
            </c:numRef>
          </c:val>
          <c:extLst>
            <c:ext xmlns:c16="http://schemas.microsoft.com/office/drawing/2014/chart" uri="{C3380CC4-5D6E-409C-BE32-E72D297353CC}">
              <c16:uniqueId val="{00000005-099B-4BD7-AEF1-03F21A06A984}"/>
            </c:ext>
          </c:extLst>
        </c:ser>
        <c:ser>
          <c:idx val="5"/>
          <c:order val="5"/>
          <c:tx>
            <c:strRef>
              <c:f>Sheet1!$G$1</c:f>
              <c:strCache>
                <c:ptCount val="1"/>
                <c:pt idx="0">
                  <c:v>Hep-C Ab Test</c:v>
                </c:pt>
              </c:strCache>
            </c:strRef>
          </c:tx>
          <c:spPr>
            <a:solidFill>
              <a:schemeClr val="accent6"/>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G$2:$G$58</c:f>
            </c:numRef>
          </c:val>
          <c:extLst>
            <c:ext xmlns:c16="http://schemas.microsoft.com/office/drawing/2014/chart" uri="{C3380CC4-5D6E-409C-BE32-E72D297353CC}">
              <c16:uniqueId val="{00000006-099B-4BD7-AEF1-03F21A06A984}"/>
            </c:ext>
          </c:extLst>
        </c:ser>
        <c:ser>
          <c:idx val="9"/>
          <c:order val="6"/>
          <c:tx>
            <c:strRef>
              <c:f>Sheet1!$H$1</c:f>
              <c:strCache>
                <c:ptCount val="1"/>
                <c:pt idx="0">
                  <c:v>DMS</c:v>
                </c:pt>
              </c:strCache>
            </c:strRef>
          </c:tx>
          <c:spPr>
            <a:solidFill>
              <a:schemeClr val="bg2">
                <a:lumMod val="50000"/>
              </a:schemeClr>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H$2:$H$58</c:f>
              <c:numCache>
                <c:formatCode>[&lt;995000]0.0,"k";0.0,,"m"</c:formatCode>
                <c:ptCount val="37"/>
                <c:pt idx="0">
                  <c:v>383656</c:v>
                </c:pt>
                <c:pt idx="1">
                  <c:v>352627</c:v>
                </c:pt>
                <c:pt idx="2">
                  <c:v>366643</c:v>
                </c:pt>
                <c:pt idx="3">
                  <c:v>338058</c:v>
                </c:pt>
                <c:pt idx="4">
                  <c:v>395231</c:v>
                </c:pt>
                <c:pt idx="5">
                  <c:v>430337</c:v>
                </c:pt>
                <c:pt idx="6">
                  <c:v>403253</c:v>
                </c:pt>
                <c:pt idx="7">
                  <c:v>371972</c:v>
                </c:pt>
                <c:pt idx="8">
                  <c:v>369345</c:v>
                </c:pt>
                <c:pt idx="9">
                  <c:v>414702</c:v>
                </c:pt>
                <c:pt idx="10">
                  <c:v>470922</c:v>
                </c:pt>
                <c:pt idx="11">
                  <c:v>460595</c:v>
                </c:pt>
                <c:pt idx="12">
                  <c:v>502554</c:v>
                </c:pt>
                <c:pt idx="13">
                  <c:v>492820</c:v>
                </c:pt>
                <c:pt idx="14">
                  <c:v>468016</c:v>
                </c:pt>
                <c:pt idx="15">
                  <c:v>508245</c:v>
                </c:pt>
                <c:pt idx="16">
                  <c:v>516313</c:v>
                </c:pt>
                <c:pt idx="17">
                  <c:v>547281</c:v>
                </c:pt>
                <c:pt idx="18">
                  <c:v>547440</c:v>
                </c:pt>
                <c:pt idx="19">
                  <c:v>525295</c:v>
                </c:pt>
                <c:pt idx="20">
                  <c:v>505781</c:v>
                </c:pt>
                <c:pt idx="21">
                  <c:v>563286</c:v>
                </c:pt>
                <c:pt idx="22">
                  <c:v>564322</c:v>
                </c:pt>
                <c:pt idx="23">
                  <c:v>546261</c:v>
                </c:pt>
                <c:pt idx="24">
                  <c:v>569557</c:v>
                </c:pt>
                <c:pt idx="25">
                  <c:v>549078</c:v>
                </c:pt>
                <c:pt idx="26">
                  <c:v>535508</c:v>
                </c:pt>
                <c:pt idx="27">
                  <c:v>532227</c:v>
                </c:pt>
                <c:pt idx="28">
                  <c:v>580127</c:v>
                </c:pt>
                <c:pt idx="29">
                  <c:v>606514</c:v>
                </c:pt>
                <c:pt idx="30">
                  <c:v>614263</c:v>
                </c:pt>
                <c:pt idx="31">
                  <c:v>554888</c:v>
                </c:pt>
                <c:pt idx="32">
                  <c:v>568632</c:v>
                </c:pt>
                <c:pt idx="33">
                  <c:v>600403</c:v>
                </c:pt>
                <c:pt idx="34">
                  <c:v>634024</c:v>
                </c:pt>
                <c:pt idx="35">
                  <c:v>608158</c:v>
                </c:pt>
                <c:pt idx="36">
                  <c:v>668141</c:v>
                </c:pt>
              </c:numCache>
            </c:numRef>
          </c:val>
          <c:extLst>
            <c:ext xmlns:c16="http://schemas.microsoft.com/office/drawing/2014/chart" uri="{C3380CC4-5D6E-409C-BE32-E72D297353CC}">
              <c16:uniqueId val="{00000002-CAFC-43BA-9749-A2422F12D019}"/>
            </c:ext>
          </c:extLst>
        </c:ser>
        <c:ser>
          <c:idx val="6"/>
          <c:order val="7"/>
          <c:tx>
            <c:strRef>
              <c:f>Sheet1!$I$1</c:f>
              <c:strCache>
                <c:ptCount val="1"/>
                <c:pt idx="0">
                  <c:v>C-19 LFT</c:v>
                </c:pt>
              </c:strCache>
            </c:strRef>
          </c:tx>
          <c:spPr>
            <a:solidFill>
              <a:schemeClr val="accent1">
                <a:lumMod val="60000"/>
              </a:schemeClr>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I$2:$I$58</c:f>
            </c:numRef>
          </c:val>
          <c:extLst>
            <c:ext xmlns:c16="http://schemas.microsoft.com/office/drawing/2014/chart" uri="{C3380CC4-5D6E-409C-BE32-E72D297353CC}">
              <c16:uniqueId val="{00000007-099B-4BD7-AEF1-03F21A06A984}"/>
            </c:ext>
          </c:extLst>
        </c:ser>
        <c:ser>
          <c:idx val="7"/>
          <c:order val="8"/>
          <c:tx>
            <c:strRef>
              <c:f>Sheet1!$J$1</c:f>
              <c:strCache>
                <c:ptCount val="1"/>
                <c:pt idx="0">
                  <c:v>ABPM</c:v>
                </c:pt>
              </c:strCache>
            </c:strRef>
          </c:tx>
          <c:spPr>
            <a:solidFill>
              <a:schemeClr val="tx2"/>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J$2:$J$58</c:f>
              <c:numCache>
                <c:formatCode>[&lt;995000]0.0,"k";0.0,,"m"</c:formatCode>
                <c:ptCount val="37"/>
                <c:pt idx="0">
                  <c:v>337275</c:v>
                </c:pt>
                <c:pt idx="1">
                  <c:v>454500</c:v>
                </c:pt>
                <c:pt idx="2">
                  <c:v>348795</c:v>
                </c:pt>
                <c:pt idx="3">
                  <c:v>355545</c:v>
                </c:pt>
                <c:pt idx="4">
                  <c:v>379260</c:v>
                </c:pt>
                <c:pt idx="5">
                  <c:v>405090</c:v>
                </c:pt>
                <c:pt idx="6">
                  <c:v>287685</c:v>
                </c:pt>
                <c:pt idx="7">
                  <c:v>277830</c:v>
                </c:pt>
                <c:pt idx="8">
                  <c:v>421200</c:v>
                </c:pt>
                <c:pt idx="9">
                  <c:v>457560</c:v>
                </c:pt>
                <c:pt idx="10">
                  <c:v>395595</c:v>
                </c:pt>
                <c:pt idx="11">
                  <c:v>531405</c:v>
                </c:pt>
                <c:pt idx="12">
                  <c:v>651915</c:v>
                </c:pt>
                <c:pt idx="13">
                  <c:v>721980</c:v>
                </c:pt>
                <c:pt idx="14">
                  <c:v>787005</c:v>
                </c:pt>
                <c:pt idx="15">
                  <c:v>719775</c:v>
                </c:pt>
                <c:pt idx="16">
                  <c:v>671445</c:v>
                </c:pt>
                <c:pt idx="17">
                  <c:v>733320</c:v>
                </c:pt>
                <c:pt idx="18">
                  <c:v>667665</c:v>
                </c:pt>
                <c:pt idx="19">
                  <c:v>729720</c:v>
                </c:pt>
                <c:pt idx="20">
                  <c:v>921015</c:v>
                </c:pt>
                <c:pt idx="21">
                  <c:v>921015</c:v>
                </c:pt>
                <c:pt idx="22">
                  <c:v>770400</c:v>
                </c:pt>
                <c:pt idx="23">
                  <c:v>999675</c:v>
                </c:pt>
                <c:pt idx="24">
                  <c:v>1136295</c:v>
                </c:pt>
                <c:pt idx="25">
                  <c:v>1174590</c:v>
                </c:pt>
                <c:pt idx="26">
                  <c:v>1254520.3500000001</c:v>
                </c:pt>
                <c:pt idx="27">
                  <c:v>1245113.1000000001</c:v>
                </c:pt>
                <c:pt idx="28">
                  <c:v>1267843.05</c:v>
                </c:pt>
                <c:pt idx="29">
                  <c:v>1384086.1500000001</c:v>
                </c:pt>
                <c:pt idx="30">
                  <c:v>1169295.75</c:v>
                </c:pt>
                <c:pt idx="31">
                  <c:v>1409155.2</c:v>
                </c:pt>
                <c:pt idx="32">
                  <c:v>1686236.85</c:v>
                </c:pt>
                <c:pt idx="33">
                  <c:v>1590791.4000000001</c:v>
                </c:pt>
                <c:pt idx="34">
                  <c:v>1452428.55</c:v>
                </c:pt>
                <c:pt idx="35">
                  <c:v>1679168.7</c:v>
                </c:pt>
                <c:pt idx="36">
                  <c:v>1851499.35</c:v>
                </c:pt>
              </c:numCache>
            </c:numRef>
          </c:val>
          <c:extLst>
            <c:ext xmlns:c16="http://schemas.microsoft.com/office/drawing/2014/chart" uri="{C3380CC4-5D6E-409C-BE32-E72D297353CC}">
              <c16:uniqueId val="{00000008-099B-4BD7-AEF1-03F21A06A984}"/>
            </c:ext>
          </c:extLst>
        </c:ser>
        <c:ser>
          <c:idx val="8"/>
          <c:order val="9"/>
          <c:tx>
            <c:strRef>
              <c:f>Sheet1!$K$1</c:f>
              <c:strCache>
                <c:ptCount val="1"/>
                <c:pt idx="0">
                  <c:v>BP Checks</c:v>
                </c:pt>
              </c:strCache>
            </c:strRef>
          </c:tx>
          <c:spPr>
            <a:solidFill>
              <a:srgbClr val="830065"/>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K$2:$K$58</c:f>
              <c:numCache>
                <c:formatCode>[&lt;995000]0.0,"k";0.0,,"m"</c:formatCode>
                <c:ptCount val="37"/>
                <c:pt idx="0">
                  <c:v>1519785</c:v>
                </c:pt>
                <c:pt idx="1">
                  <c:v>1798695</c:v>
                </c:pt>
                <c:pt idx="2">
                  <c:v>1754415</c:v>
                </c:pt>
                <c:pt idx="3">
                  <c:v>2212200</c:v>
                </c:pt>
                <c:pt idx="4">
                  <c:v>2338710</c:v>
                </c:pt>
                <c:pt idx="5">
                  <c:v>2431020</c:v>
                </c:pt>
                <c:pt idx="6">
                  <c:v>1882320</c:v>
                </c:pt>
                <c:pt idx="7">
                  <c:v>2158980</c:v>
                </c:pt>
                <c:pt idx="8">
                  <c:v>2623410</c:v>
                </c:pt>
                <c:pt idx="9">
                  <c:v>2112525</c:v>
                </c:pt>
                <c:pt idx="10">
                  <c:v>1515225</c:v>
                </c:pt>
                <c:pt idx="11">
                  <c:v>1982670</c:v>
                </c:pt>
                <c:pt idx="12">
                  <c:v>2340135</c:v>
                </c:pt>
                <c:pt idx="13">
                  <c:v>2549385</c:v>
                </c:pt>
                <c:pt idx="14">
                  <c:v>2903805</c:v>
                </c:pt>
                <c:pt idx="15">
                  <c:v>3262080</c:v>
                </c:pt>
                <c:pt idx="16">
                  <c:v>3141840</c:v>
                </c:pt>
                <c:pt idx="17">
                  <c:v>3695100</c:v>
                </c:pt>
                <c:pt idx="18">
                  <c:v>3509475</c:v>
                </c:pt>
                <c:pt idx="19">
                  <c:v>3451275</c:v>
                </c:pt>
                <c:pt idx="20">
                  <c:v>3750765</c:v>
                </c:pt>
                <c:pt idx="21">
                  <c:v>3750765</c:v>
                </c:pt>
                <c:pt idx="22">
                  <c:v>2831610</c:v>
                </c:pt>
                <c:pt idx="23">
                  <c:v>3421440</c:v>
                </c:pt>
                <c:pt idx="24">
                  <c:v>3751965</c:v>
                </c:pt>
                <c:pt idx="25">
                  <c:v>3869130</c:v>
                </c:pt>
                <c:pt idx="26">
                  <c:v>2850580</c:v>
                </c:pt>
                <c:pt idx="27">
                  <c:v>2597650</c:v>
                </c:pt>
                <c:pt idx="28">
                  <c:v>2623850</c:v>
                </c:pt>
                <c:pt idx="29">
                  <c:v>2866460</c:v>
                </c:pt>
                <c:pt idx="30">
                  <c:v>2420360</c:v>
                </c:pt>
                <c:pt idx="31">
                  <c:v>2631630</c:v>
                </c:pt>
                <c:pt idx="32">
                  <c:v>3820670</c:v>
                </c:pt>
                <c:pt idx="33">
                  <c:v>2599040</c:v>
                </c:pt>
                <c:pt idx="34">
                  <c:v>2282330</c:v>
                </c:pt>
                <c:pt idx="35">
                  <c:v>2374550</c:v>
                </c:pt>
                <c:pt idx="36">
                  <c:v>2450820</c:v>
                </c:pt>
              </c:numCache>
            </c:numRef>
          </c:val>
          <c:extLst>
            <c:ext xmlns:c16="http://schemas.microsoft.com/office/drawing/2014/chart" uri="{C3380CC4-5D6E-409C-BE32-E72D297353CC}">
              <c16:uniqueId val="{00000001-CAFC-43BA-9749-A2422F12D019}"/>
            </c:ext>
          </c:extLst>
        </c:ser>
        <c:ser>
          <c:idx val="10"/>
          <c:order val="10"/>
          <c:tx>
            <c:strRef>
              <c:f>Sheet1!$L$1</c:f>
              <c:strCache>
                <c:ptCount val="1"/>
                <c:pt idx="0">
                  <c:v>Contraception</c:v>
                </c:pt>
              </c:strCache>
            </c:strRef>
          </c:tx>
          <c:spPr>
            <a:solidFill>
              <a:srgbClr val="DB6CB2"/>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L$2:$L$58</c:f>
              <c:numCache>
                <c:formatCode>General</c:formatCode>
                <c:ptCount val="37"/>
                <c:pt idx="2" formatCode="[&lt;995000]0.0,&quot;k&quot;;0.0,,&quot;m&quot;">
                  <c:v>306</c:v>
                </c:pt>
                <c:pt idx="3" formatCode="[&lt;995000]0.0,&quot;k&quot;;0.0,,&quot;m&quot;">
                  <c:v>16974</c:v>
                </c:pt>
                <c:pt idx="4" formatCode="[&lt;995000]0.0,&quot;k&quot;;0.0,,&quot;m&quot;">
                  <c:v>28710</c:v>
                </c:pt>
                <c:pt idx="5" formatCode="[&lt;995000]0.0,&quot;k&quot;;0.0,,&quot;m&quot;">
                  <c:v>31734</c:v>
                </c:pt>
                <c:pt idx="6" formatCode="[&lt;995000]0.0,&quot;k&quot;;0.0,,&quot;m&quot;">
                  <c:v>38178</c:v>
                </c:pt>
                <c:pt idx="7" formatCode="[&lt;995000]0.0,&quot;k&quot;;0.0,,&quot;m&quot;">
                  <c:v>41400</c:v>
                </c:pt>
                <c:pt idx="8" formatCode="[&lt;995000]0.0,&quot;k&quot;;0.0,,&quot;m&quot;">
                  <c:v>55710</c:v>
                </c:pt>
                <c:pt idx="9" formatCode="[&lt;995000]0.0,&quot;k&quot;;0.0,,&quot;m&quot;">
                  <c:v>69516</c:v>
                </c:pt>
                <c:pt idx="10" formatCode="[&lt;995000]0.0,&quot;k&quot;;0.0,,&quot;m&quot;">
                  <c:v>92574</c:v>
                </c:pt>
                <c:pt idx="11" formatCode="[&lt;995000]0.0,&quot;k&quot;;0.0,,&quot;m&quot;">
                  <c:v>162216</c:v>
                </c:pt>
                <c:pt idx="12" formatCode="[&lt;995000]0.0,&quot;k&quot;;0.0,,&quot;m&quot;">
                  <c:v>200772</c:v>
                </c:pt>
                <c:pt idx="13" formatCode="[&lt;995000]0.0,&quot;k&quot;;0.0,,&quot;m&quot;">
                  <c:v>246006</c:v>
                </c:pt>
                <c:pt idx="14" formatCode="[&lt;995000]0.0,&quot;k&quot;;0.0,,&quot;m&quot;">
                  <c:v>320202</c:v>
                </c:pt>
                <c:pt idx="15" formatCode="[&lt;995000]0.0,&quot;k&quot;;0.0,,&quot;m&quot;">
                  <c:v>374130</c:v>
                </c:pt>
                <c:pt idx="16" formatCode="[&lt;995000]0.0,&quot;k&quot;;0.0,,&quot;m&quot;">
                  <c:v>392580</c:v>
                </c:pt>
                <c:pt idx="17" formatCode="[&lt;995000]0.0,&quot;k&quot;;0.0,,&quot;m&quot;">
                  <c:v>490608</c:v>
                </c:pt>
                <c:pt idx="18" formatCode="[&lt;995000]0.0,&quot;k&quot;;0.0,,&quot;m&quot;">
                  <c:v>504846</c:v>
                </c:pt>
                <c:pt idx="19" formatCode="[&lt;995000]0.0,&quot;k&quot;;0.0,,&quot;m&quot;">
                  <c:v>612702</c:v>
                </c:pt>
                <c:pt idx="20" formatCode="[&lt;995000]0.0,&quot;k&quot;;0.0,,&quot;m&quot;">
                  <c:v>642672</c:v>
                </c:pt>
                <c:pt idx="21" formatCode="[&lt;995000]0.0,&quot;k&quot;;0.0,,&quot;m&quot;">
                  <c:v>691560</c:v>
                </c:pt>
                <c:pt idx="22" formatCode="[&lt;995000]0.0,&quot;k&quot;;0.0,,&quot;m&quot;">
                  <c:v>731556</c:v>
                </c:pt>
                <c:pt idx="23" formatCode="[&lt;995000]0.0,&quot;k&quot;;0.0,,&quot;m&quot;">
                  <c:v>872172</c:v>
                </c:pt>
                <c:pt idx="24" formatCode="[&lt;995000]0.0,&quot;k&quot;;0.0,,&quot;m&quot;">
                  <c:v>834858</c:v>
                </c:pt>
                <c:pt idx="25" formatCode="[&lt;995000]0.0,&quot;k&quot;;0.0,,&quot;m&quot;">
                  <c:v>961236</c:v>
                </c:pt>
                <c:pt idx="26" formatCode="[&lt;995000]0.0,&quot;k&quot;;0.0,,&quot;m&quot;">
                  <c:v>1510375</c:v>
                </c:pt>
                <c:pt idx="27" formatCode="[&lt;995000]0.0,&quot;k&quot;;0.0,,&quot;m&quot;">
                  <c:v>1710375</c:v>
                </c:pt>
                <c:pt idx="28" formatCode="[&lt;995000]0.0,&quot;k&quot;;0.0,,&quot;m&quot;">
                  <c:v>1842750</c:v>
                </c:pt>
                <c:pt idx="29" formatCode="[&lt;995000]0.0,&quot;k&quot;;0.0,,&quot;m&quot;">
                  <c:v>2083925</c:v>
                </c:pt>
                <c:pt idx="30" formatCode="[&lt;995000]0.0,&quot;k&quot;;0.0,,&quot;m&quot;">
                  <c:v>1940300</c:v>
                </c:pt>
                <c:pt idx="31" formatCode="[&lt;995000]0.0,&quot;k&quot;;0.0,,&quot;m&quot;">
                  <c:v>2174175</c:v>
                </c:pt>
                <c:pt idx="32" formatCode="[&lt;995000]0.0,&quot;k&quot;;0.0,,&quot;m&quot;">
                  <c:v>2219275</c:v>
                </c:pt>
                <c:pt idx="33" formatCode="[&lt;995000]0.0,&quot;k&quot;;0.0,,&quot;m&quot;">
                  <c:v>2167225</c:v>
                </c:pt>
                <c:pt idx="34" formatCode="[&lt;995000]0.0,&quot;k&quot;;0.0,,&quot;m&quot;">
                  <c:v>2434475</c:v>
                </c:pt>
                <c:pt idx="35" formatCode="[&lt;995000]0.0,&quot;k&quot;;0.0,,&quot;m&quot;">
                  <c:v>2426500</c:v>
                </c:pt>
                <c:pt idx="36" formatCode="[&lt;995000]0.0,&quot;k&quot;;0.0,,&quot;m&quot;">
                  <c:v>1973375</c:v>
                </c:pt>
              </c:numCache>
            </c:numRef>
          </c:val>
          <c:extLst>
            <c:ext xmlns:c16="http://schemas.microsoft.com/office/drawing/2014/chart" uri="{C3380CC4-5D6E-409C-BE32-E72D297353CC}">
              <c16:uniqueId val="{00000000-DF61-479E-B49F-EBD73443901C}"/>
            </c:ext>
          </c:extLst>
        </c:ser>
        <c:ser>
          <c:idx val="11"/>
          <c:order val="11"/>
          <c:tx>
            <c:strRef>
              <c:f>Sheet1!$M$1</c:f>
              <c:strCache>
                <c:ptCount val="1"/>
                <c:pt idx="0">
                  <c:v>Pharmacy First</c:v>
                </c:pt>
              </c:strCache>
            </c:strRef>
          </c:tx>
          <c:spPr>
            <a:solidFill>
              <a:schemeClr val="accent3"/>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M$2:$M$58</c:f>
              <c:numCache>
                <c:formatCode>General</c:formatCode>
                <c:ptCount val="37"/>
                <c:pt idx="12" formatCode="[&lt;995000]0.0,&quot;k&quot;;0.0,,&quot;m&quot;">
                  <c:v>1879125</c:v>
                </c:pt>
                <c:pt idx="13" formatCode="[&lt;995000]0.0,&quot;k&quot;;0.0,,&quot;m&quot;">
                  <c:v>2165835</c:v>
                </c:pt>
                <c:pt idx="14" formatCode="[&lt;995000]0.0,&quot;k&quot;;0.0,,&quot;m&quot;">
                  <c:v>2304690</c:v>
                </c:pt>
                <c:pt idx="15" formatCode="[&lt;995000]0.0,&quot;k&quot;;0.0,,&quot;m&quot;">
                  <c:v>2526705</c:v>
                </c:pt>
                <c:pt idx="16" formatCode="[&lt;995000]0.0,&quot;k&quot;;0.0,,&quot;m&quot;">
                  <c:v>2471055</c:v>
                </c:pt>
                <c:pt idx="17" formatCode="[&lt;995000]0.0,&quot;k&quot;;0.0,,&quot;m&quot;">
                  <c:v>2792850</c:v>
                </c:pt>
                <c:pt idx="18" formatCode="[&lt;995000]0.0,&quot;k&quot;;0.0,,&quot;m&quot;">
                  <c:v>2700525</c:v>
                </c:pt>
                <c:pt idx="19" formatCode="[&lt;995000]0.0,&quot;k&quot;;0.0,,&quot;m&quot;">
                  <c:v>2633550</c:v>
                </c:pt>
                <c:pt idx="20" formatCode="[&lt;995000]0.0,&quot;k&quot;;0.0,,&quot;m&quot;">
                  <c:v>2981910</c:v>
                </c:pt>
                <c:pt idx="21" formatCode="[&lt;995000]0.0,&quot;k&quot;;0.0,,&quot;m&quot;">
                  <c:v>3170790</c:v>
                </c:pt>
                <c:pt idx="22" formatCode="[&lt;995000]0.0,&quot;k&quot;;0.0,,&quot;m&quot;">
                  <c:v>3889845</c:v>
                </c:pt>
                <c:pt idx="23" formatCode="[&lt;995000]0.0,&quot;k&quot;;0.0,,&quot;m&quot;">
                  <c:v>3569085</c:v>
                </c:pt>
                <c:pt idx="24" formatCode="[&lt;995000]0.0,&quot;k&quot;;0.0,,&quot;m&quot;">
                  <c:v>3702195</c:v>
                </c:pt>
                <c:pt idx="25" formatCode="[&lt;995000]0.0,&quot;k&quot;;0.0,,&quot;m&quot;">
                  <c:v>3977970</c:v>
                </c:pt>
                <c:pt idx="26" formatCode="[&lt;995000]0.0,&quot;k&quot;;0.0,,&quot;m&quot;">
                  <c:v>4102780</c:v>
                </c:pt>
                <c:pt idx="27" formatCode="[&lt;995000]0.0,&quot;k&quot;;0.0,,&quot;m&quot;">
                  <c:v>4115309</c:v>
                </c:pt>
                <c:pt idx="28" formatCode="[&lt;995000]0.0,&quot;k&quot;;0.0,,&quot;m&quot;">
                  <c:v>4329764</c:v>
                </c:pt>
                <c:pt idx="29" formatCode="[&lt;995000]0.0,&quot;k&quot;;0.0,,&quot;m&quot;">
                  <c:v>5082881</c:v>
                </c:pt>
                <c:pt idx="30" formatCode="[&lt;995000]0.0,&quot;k&quot;;0.0,,&quot;m&quot;">
                  <c:v>4306032</c:v>
                </c:pt>
                <c:pt idx="31" formatCode="[&lt;995000]0.0,&quot;k&quot;;0.0,,&quot;m&quot;">
                  <c:v>4255627</c:v>
                </c:pt>
                <c:pt idx="32" formatCode="[&lt;995000]0.0,&quot;k&quot;;0.0,,&quot;m&quot;">
                  <c:v>4677142</c:v>
                </c:pt>
                <c:pt idx="33" formatCode="[&lt;995000]0.0,&quot;k&quot;;0.0,,&quot;m&quot;">
                  <c:v>4789801</c:v>
                </c:pt>
                <c:pt idx="34" formatCode="[&lt;995000]0.0,&quot;k&quot;;0.0,,&quot;m&quot;">
                  <c:v>5989423</c:v>
                </c:pt>
                <c:pt idx="35" formatCode="[&lt;995000]0.0,&quot;k&quot;;0.0,,&quot;m&quot;">
                  <c:v>5204006</c:v>
                </c:pt>
                <c:pt idx="36" formatCode="[&lt;995000]0.0,&quot;k&quot;;0.0,,&quot;m&quot;">
                  <c:v>5298730</c:v>
                </c:pt>
              </c:numCache>
            </c:numRef>
          </c:val>
          <c:extLst>
            <c:ext xmlns:c16="http://schemas.microsoft.com/office/drawing/2014/chart" uri="{C3380CC4-5D6E-409C-BE32-E72D297353CC}">
              <c16:uniqueId val="{00000001-A0D0-4BE3-AA2D-F0A0362FE24D}"/>
            </c:ext>
          </c:extLst>
        </c:ser>
        <c:ser>
          <c:idx val="12"/>
          <c:order val="12"/>
          <c:tx>
            <c:strRef>
              <c:f>Sheet1!$N$1</c:f>
              <c:strCache>
                <c:ptCount val="1"/>
                <c:pt idx="0">
                  <c:v>C-19 Vaccinations</c:v>
                </c:pt>
              </c:strCache>
            </c:strRef>
          </c:tx>
          <c:spPr>
            <a:solidFill>
              <a:schemeClr val="accent6"/>
            </a:solidFill>
            <a:ln>
              <a:noFill/>
            </a:ln>
            <a:effectLst/>
          </c:spPr>
          <c:invertIfNegative val="0"/>
          <c:cat>
            <c:numRef>
              <c:f>Sheet1!$A$2:$A$58</c:f>
              <c:numCache>
                <c:formatCode>mmm\-yy</c:formatCode>
                <c:ptCount val="37"/>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N$2:$N$58</c:f>
              <c:numCache>
                <c:formatCode>General</c:formatCode>
                <c:ptCount val="37"/>
                <c:pt idx="31" formatCode="[&lt;995000]0.0,&quot;k&quot;;0.0,,&quot;m&quot;">
                  <c:v>2246.92</c:v>
                </c:pt>
                <c:pt idx="32" formatCode="[&lt;995000]0.0,&quot;k&quot;;0.0,,&quot;m&quot;">
                  <c:v>12328148.82</c:v>
                </c:pt>
                <c:pt idx="33" formatCode="[&lt;995000]0.0,&quot;k&quot;;0.0,,&quot;m&quot;">
                  <c:v>2587599.8199999998</c:v>
                </c:pt>
                <c:pt idx="34" formatCode="[&lt;995000]0.0,&quot;k&quot;;0.0,,&quot;m&quot;">
                  <c:v>874338.4</c:v>
                </c:pt>
                <c:pt idx="35" formatCode="[&lt;995000]0.0,&quot;k&quot;;0.0,,&quot;m&quot;">
                  <c:v>95298.06</c:v>
                </c:pt>
                <c:pt idx="36" formatCode="[&lt;995000]0.0,&quot;k&quot;;0.0,,&quot;m&quot;">
                  <c:v>5941.52</c:v>
                </c:pt>
              </c:numCache>
            </c:numRef>
          </c:val>
          <c:extLst>
            <c:ext xmlns:c16="http://schemas.microsoft.com/office/drawing/2014/chart" uri="{C3380CC4-5D6E-409C-BE32-E72D297353CC}">
              <c16:uniqueId val="{00000000-4D87-496A-AFC2-28B89C2A226F}"/>
            </c:ext>
          </c:extLst>
        </c:ser>
        <c:dLbls>
          <c:showLegendKey val="0"/>
          <c:showVal val="0"/>
          <c:showCatName val="0"/>
          <c:showSerName val="0"/>
          <c:showPercent val="0"/>
          <c:showBubbleSize val="0"/>
        </c:dLbls>
        <c:gapWidth val="25"/>
        <c:overlap val="100"/>
        <c:axId val="606971632"/>
        <c:axId val="203734688"/>
      </c:barChart>
      <c:dateAx>
        <c:axId val="606971632"/>
        <c:scaling>
          <c:orientation val="minMax"/>
        </c:scaling>
        <c:delete val="0"/>
        <c:axPos val="b"/>
        <c:numFmt formatCode="mmm\-yy" sourceLinked="1"/>
        <c:majorTickMark val="none"/>
        <c:minorTickMark val="none"/>
        <c:tickLblPos val="nextTo"/>
        <c:spPr>
          <a:noFill/>
          <a:ln w="38100"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rgbClr val="000000"/>
                </a:solidFill>
                <a:latin typeface="+mn-lt"/>
                <a:ea typeface="+mn-ea"/>
                <a:cs typeface="+mn-cs"/>
              </a:defRPr>
            </a:pPr>
            <a:endParaRPr lang="en-US"/>
          </a:p>
        </c:txPr>
        <c:crossAx val="203734688"/>
        <c:crosses val="autoZero"/>
        <c:auto val="1"/>
        <c:lblOffset val="100"/>
        <c:baseTimeUnit val="months"/>
        <c:majorUnit val="3"/>
        <c:majorTimeUnit val="months"/>
      </c:dateAx>
      <c:valAx>
        <c:axId val="203734688"/>
        <c:scaling>
          <c:orientation val="minMax"/>
          <c:min val="0"/>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GB" sz="1400" b="1">
                    <a:solidFill>
                      <a:srgbClr val="000000"/>
                    </a:solidFill>
                  </a:rPr>
                  <a:t>Fees</a:t>
                </a:r>
              </a:p>
            </c:rich>
          </c:tx>
          <c:layout>
            <c:manualLayout>
              <c:xMode val="edge"/>
              <c:yMode val="edge"/>
              <c:x val="1.7825765894295081E-3"/>
              <c:y val="0.39279630386799241"/>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quot;m&quot;" sourceLinked="0"/>
        <c:majorTickMark val="none"/>
        <c:minorTickMark val="none"/>
        <c:tickLblPos val="nextTo"/>
        <c:spPr>
          <a:noFill/>
          <a:ln w="38100">
            <a:solidFill>
              <a:schemeClr val="bg1">
                <a:lumMod val="85000"/>
              </a:schemeClr>
            </a:solidFill>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crossAx val="606971632"/>
        <c:crosses val="autoZero"/>
        <c:crossBetween val="between"/>
      </c:valAx>
      <c:spPr>
        <a:noFill/>
        <a:ln>
          <a:noFill/>
        </a:ln>
        <a:effectLst/>
      </c:spPr>
    </c:plotArea>
    <c:legend>
      <c:legendPos val="r"/>
      <c:layout>
        <c:manualLayout>
          <c:xMode val="edge"/>
          <c:yMode val="edge"/>
          <c:x val="0.86238365097396141"/>
          <c:y val="0.21524339613612153"/>
          <c:w val="0.13761634902603856"/>
          <c:h val="0.59675438235622535"/>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baseline="0" dirty="0"/>
              <a:t>Average interventions per store and fees</a:t>
            </a:r>
            <a:endParaRPr lang="en-US" sz="1400" b="1" dirty="0"/>
          </a:p>
        </c:rich>
      </c:tx>
      <c:layout>
        <c:manualLayout>
          <c:xMode val="edge"/>
          <c:yMode val="edge"/>
          <c:x val="1.6888361810773005E-2"/>
          <c:y val="1.525746980292434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26291412548748"/>
          <c:y val="0.12081373172282263"/>
          <c:w val="0.84459251429441728"/>
          <c:h val="0.7305656977238939"/>
        </c:manualLayout>
      </c:layout>
      <c:scatterChart>
        <c:scatterStyle val="lineMarker"/>
        <c:varyColors val="0"/>
        <c:ser>
          <c:idx val="0"/>
          <c:order val="0"/>
          <c:tx>
            <c:strRef>
              <c:f>Sheet1!$B$1</c:f>
              <c:strCache>
                <c:ptCount val="1"/>
                <c:pt idx="0">
                  <c:v>Fee</c:v>
                </c:pt>
              </c:strCache>
            </c:strRef>
          </c:tx>
          <c:spPr>
            <a:ln w="25400" cap="rnd">
              <a:noFill/>
              <a:round/>
            </a:ln>
            <a:effectLst/>
          </c:spPr>
          <c:marker>
            <c:symbol val="circle"/>
            <c:size val="5"/>
            <c:spPr>
              <a:solidFill>
                <a:schemeClr val="accent1"/>
              </a:solidFill>
              <a:ln w="25400">
                <a:solidFill>
                  <a:schemeClr val="accent1"/>
                </a:solidFill>
              </a:ln>
              <a:effectLst/>
            </c:spPr>
          </c:marker>
          <c:dLbls>
            <c:dLbl>
              <c:idx val="0"/>
              <c:layout>
                <c:manualLayout>
                  <c:x val="-3.9635048439617175E-2"/>
                  <c:y val="-3.8183758802344286E-2"/>
                </c:manualLayout>
              </c:layout>
              <c:tx>
                <c:rich>
                  <a:bodyPr/>
                  <a:lstStyle/>
                  <a:p>
                    <a:fld id="{B08B08DF-AE2D-41A4-B1A7-E8CB1231E8C0}"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5C4-4CAC-9D1D-B62D40EC9A87}"/>
                </c:ext>
              </c:extLst>
            </c:dLbl>
            <c:dLbl>
              <c:idx val="1"/>
              <c:tx>
                <c:rich>
                  <a:bodyPr/>
                  <a:lstStyle/>
                  <a:p>
                    <a:fld id="{731FA845-C9DC-4AC6-A654-E7CE96F336A8}"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5C4-4CAC-9D1D-B62D40EC9A87}"/>
                </c:ext>
              </c:extLst>
            </c:dLbl>
            <c:dLbl>
              <c:idx val="2"/>
              <c:tx>
                <c:rich>
                  <a:bodyPr/>
                  <a:lstStyle/>
                  <a:p>
                    <a:fld id="{8B9FDA63-8D23-4AD9-BDA7-15C5CB5217F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5C4-4CAC-9D1D-B62D40EC9A87}"/>
                </c:ext>
              </c:extLst>
            </c:dLbl>
            <c:dLbl>
              <c:idx val="3"/>
              <c:tx>
                <c:rich>
                  <a:bodyPr/>
                  <a:lstStyle/>
                  <a:p>
                    <a:fld id="{B76E209D-3FFE-4F7D-BF03-19E17C78177D}"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5C4-4CAC-9D1D-B62D40EC9A87}"/>
                </c:ext>
              </c:extLst>
            </c:dLbl>
            <c:dLbl>
              <c:idx val="4"/>
              <c:tx>
                <c:rich>
                  <a:bodyPr/>
                  <a:lstStyle/>
                  <a:p>
                    <a:fld id="{2F9B4A92-7E1F-4A5D-A6C1-ABB9F824AE06}"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5C4-4CAC-9D1D-B62D40EC9A87}"/>
                </c:ext>
              </c:extLst>
            </c:dLbl>
            <c:dLbl>
              <c:idx val="5"/>
              <c:tx>
                <c:rich>
                  <a:bodyPr/>
                  <a:lstStyle/>
                  <a:p>
                    <a:fld id="{C055FB52-63CC-42BD-BA6D-895907D264BC}"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5C4-4CAC-9D1D-B62D40EC9A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power"/>
            <c:dispRSqr val="0"/>
            <c:dispEq val="0"/>
          </c:trendline>
          <c:xVal>
            <c:numRef>
              <c:f>Sheet1!$A$2:$A$7</c:f>
              <c:numCache>
                <c:formatCode>General</c:formatCode>
                <c:ptCount val="6"/>
                <c:pt idx="0">
                  <c:v>109</c:v>
                </c:pt>
                <c:pt idx="1">
                  <c:v>5</c:v>
                </c:pt>
                <c:pt idx="2">
                  <c:v>5</c:v>
                </c:pt>
                <c:pt idx="3">
                  <c:v>28</c:v>
                </c:pt>
                <c:pt idx="4">
                  <c:v>32</c:v>
                </c:pt>
                <c:pt idx="5">
                  <c:v>11</c:v>
                </c:pt>
              </c:numCache>
            </c:numRef>
          </c:xVal>
          <c:yVal>
            <c:numRef>
              <c:f>Sheet1!$B$2:$B$7</c:f>
              <c:numCache>
                <c:formatCode>General</c:formatCode>
                <c:ptCount val="6"/>
                <c:pt idx="0">
                  <c:v>14</c:v>
                </c:pt>
                <c:pt idx="1">
                  <c:v>35</c:v>
                </c:pt>
                <c:pt idx="2">
                  <c:v>50.85</c:v>
                </c:pt>
                <c:pt idx="3">
                  <c:v>10</c:v>
                </c:pt>
                <c:pt idx="4">
                  <c:v>17</c:v>
                </c:pt>
                <c:pt idx="5">
                  <c:v>25</c:v>
                </c:pt>
              </c:numCache>
            </c:numRef>
          </c:yVal>
          <c:smooth val="0"/>
          <c:extLst>
            <c:ext xmlns:c15="http://schemas.microsoft.com/office/drawing/2012/chart" uri="{02D57815-91ED-43cb-92C2-25804820EDAC}">
              <c15:datalabelsRange>
                <c15:f>Sheet1!$C$2:$C$7</c15:f>
                <c15:dlblRangeCache>
                  <c:ptCount val="6"/>
                  <c:pt idx="0">
                    <c:v>NMS</c:v>
                  </c:pt>
                  <c:pt idx="1">
                    <c:v>DMS</c:v>
                  </c:pt>
                  <c:pt idx="2">
                    <c:v>ABPM</c:v>
                  </c:pt>
                  <c:pt idx="3">
                    <c:v>BP Checks</c:v>
                  </c:pt>
                  <c:pt idx="4">
                    <c:v>Pharmacy First</c:v>
                  </c:pt>
                  <c:pt idx="5">
                    <c:v>Contraception</c:v>
                  </c:pt>
                </c15:dlblRangeCache>
              </c15:datalabelsRange>
            </c:ext>
            <c:ext xmlns:c16="http://schemas.microsoft.com/office/drawing/2014/chart" uri="{C3380CC4-5D6E-409C-BE32-E72D297353CC}">
              <c16:uniqueId val="{00000000-2776-4960-92EA-8F1372BE046B}"/>
            </c:ext>
          </c:extLst>
        </c:ser>
        <c:dLbls>
          <c:showLegendKey val="0"/>
          <c:showVal val="0"/>
          <c:showCatName val="0"/>
          <c:showSerName val="0"/>
          <c:showPercent val="0"/>
          <c:showBubbleSize val="0"/>
        </c:dLbls>
        <c:axId val="1927394735"/>
        <c:axId val="1927401455"/>
      </c:scatterChart>
      <c:valAx>
        <c:axId val="1927394735"/>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Interventions per providing store</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27401455"/>
        <c:crosses val="autoZero"/>
        <c:crossBetween val="midCat"/>
      </c:valAx>
      <c:valAx>
        <c:axId val="192740145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Fee per consultation</a:t>
                </a:r>
              </a:p>
            </c:rich>
          </c:tx>
          <c:layout>
            <c:manualLayout>
              <c:xMode val="edge"/>
              <c:yMode val="edge"/>
              <c:x val="1.3871182466728275E-2"/>
              <c:y val="0.31136671488854739"/>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27394735"/>
        <c:crosses val="autoZero"/>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sz="1400" b="1"/>
              <a:t>Monthly average number of Pharmacy First Consultations</a:t>
            </a:r>
          </a:p>
        </c:rich>
      </c:tx>
      <c:layout>
        <c:manualLayout>
          <c:xMode val="edge"/>
          <c:yMode val="edge"/>
          <c:x val="0.18322866377880279"/>
          <c:y val="8.3878961273352714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024540072908143"/>
          <c:y val="0.12090120342004952"/>
          <c:w val="0.72741276021086798"/>
          <c:h val="0.78719460915122175"/>
        </c:manualLayout>
      </c:layout>
      <c:barChart>
        <c:barDir val="col"/>
        <c:grouping val="percentStacked"/>
        <c:varyColors val="0"/>
        <c:ser>
          <c:idx val="0"/>
          <c:order val="0"/>
          <c:tx>
            <c:strRef>
              <c:f>Sheet1!$B$1</c:f>
              <c:strCache>
                <c:ptCount val="1"/>
                <c:pt idx="0">
                  <c:v>1-9 per month</c:v>
                </c:pt>
              </c:strCache>
            </c:strRef>
          </c:tx>
          <c:spPr>
            <a:solidFill>
              <a:schemeClr val="accent1"/>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4-D30C-48CE-9C72-05553CE1C23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SPs</c:v>
                </c:pt>
                <c:pt idx="1">
                  <c:v>Independents</c:v>
                </c:pt>
                <c:pt idx="2">
                  <c:v>Regional Chains</c:v>
                </c:pt>
                <c:pt idx="3">
                  <c:v>National Chains</c:v>
                </c:pt>
                <c:pt idx="4">
                  <c:v>Supermarkets</c:v>
                </c:pt>
              </c:strCache>
            </c:strRef>
          </c:cat>
          <c:val>
            <c:numRef>
              <c:f>Sheet1!$B$2:$B$6</c:f>
              <c:numCache>
                <c:formatCode>0%</c:formatCode>
                <c:ptCount val="5"/>
                <c:pt idx="0">
                  <c:v>0.73575129533678751</c:v>
                </c:pt>
                <c:pt idx="1">
                  <c:v>0.19772239643505529</c:v>
                </c:pt>
                <c:pt idx="2">
                  <c:v>9.547356409281095E-2</c:v>
                </c:pt>
                <c:pt idx="3">
                  <c:v>2.6770775237032907E-2</c:v>
                </c:pt>
                <c:pt idx="4">
                  <c:v>5.4644808743169399E-3</c:v>
                </c:pt>
              </c:numCache>
            </c:numRef>
          </c:val>
          <c:extLst>
            <c:ext xmlns:c16="http://schemas.microsoft.com/office/drawing/2014/chart" uri="{C3380CC4-5D6E-409C-BE32-E72D297353CC}">
              <c16:uniqueId val="{00000000-D30C-48CE-9C72-05553CE1C23A}"/>
            </c:ext>
          </c:extLst>
        </c:ser>
        <c:ser>
          <c:idx val="1"/>
          <c:order val="1"/>
          <c:tx>
            <c:strRef>
              <c:f>Sheet1!$C$1</c:f>
              <c:strCache>
                <c:ptCount val="1"/>
                <c:pt idx="0">
                  <c:v>10-19 per month</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SPs</c:v>
                </c:pt>
                <c:pt idx="1">
                  <c:v>Independents</c:v>
                </c:pt>
                <c:pt idx="2">
                  <c:v>Regional Chains</c:v>
                </c:pt>
                <c:pt idx="3">
                  <c:v>National Chains</c:v>
                </c:pt>
                <c:pt idx="4">
                  <c:v>Supermarkets</c:v>
                </c:pt>
              </c:strCache>
            </c:strRef>
          </c:cat>
          <c:val>
            <c:numRef>
              <c:f>Sheet1!$C$2:$C$6</c:f>
              <c:numCache>
                <c:formatCode>0%</c:formatCode>
                <c:ptCount val="5"/>
                <c:pt idx="0">
                  <c:v>8.8082901554404139E-2</c:v>
                </c:pt>
                <c:pt idx="1">
                  <c:v>0.17032513616108269</c:v>
                </c:pt>
                <c:pt idx="2">
                  <c:v>0.15405096995055154</c:v>
                </c:pt>
                <c:pt idx="3">
                  <c:v>0.15002788622420524</c:v>
                </c:pt>
                <c:pt idx="4">
                  <c:v>5.2823315118397086E-2</c:v>
                </c:pt>
              </c:numCache>
            </c:numRef>
          </c:val>
          <c:extLst>
            <c:ext xmlns:c16="http://schemas.microsoft.com/office/drawing/2014/chart" uri="{C3380CC4-5D6E-409C-BE32-E72D297353CC}">
              <c16:uniqueId val="{00000001-D30C-48CE-9C72-05553CE1C23A}"/>
            </c:ext>
          </c:extLst>
        </c:ser>
        <c:ser>
          <c:idx val="2"/>
          <c:order val="2"/>
          <c:tx>
            <c:strRef>
              <c:f>Sheet1!$D$1</c:f>
              <c:strCache>
                <c:ptCount val="1"/>
                <c:pt idx="0">
                  <c:v>20-29 per mont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SPs</c:v>
                </c:pt>
                <c:pt idx="1">
                  <c:v>Independents</c:v>
                </c:pt>
                <c:pt idx="2">
                  <c:v>Regional Chains</c:v>
                </c:pt>
                <c:pt idx="3">
                  <c:v>National Chains</c:v>
                </c:pt>
                <c:pt idx="4">
                  <c:v>Supermarkets</c:v>
                </c:pt>
              </c:strCache>
            </c:strRef>
          </c:cat>
          <c:val>
            <c:numRef>
              <c:f>Sheet1!$D$2:$D$6</c:f>
              <c:numCache>
                <c:formatCode>0%</c:formatCode>
                <c:ptCount val="5"/>
                <c:pt idx="0">
                  <c:v>0.10362694300518134</c:v>
                </c:pt>
                <c:pt idx="1">
                  <c:v>0.38735764977719095</c:v>
                </c:pt>
                <c:pt idx="2">
                  <c:v>0.45606694560669458</c:v>
                </c:pt>
                <c:pt idx="3">
                  <c:v>0.52063580591187952</c:v>
                </c:pt>
                <c:pt idx="4">
                  <c:v>0.53825136612021862</c:v>
                </c:pt>
              </c:numCache>
            </c:numRef>
          </c:val>
          <c:extLst>
            <c:ext xmlns:c16="http://schemas.microsoft.com/office/drawing/2014/chart" uri="{C3380CC4-5D6E-409C-BE32-E72D297353CC}">
              <c16:uniqueId val="{00000002-D30C-48CE-9C72-05553CE1C23A}"/>
            </c:ext>
          </c:extLst>
        </c:ser>
        <c:ser>
          <c:idx val="3"/>
          <c:order val="3"/>
          <c:tx>
            <c:strRef>
              <c:f>Sheet1!$E$1</c:f>
              <c:strCache>
                <c:ptCount val="1"/>
                <c:pt idx="0">
                  <c:v>30+ per month</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SPs</c:v>
                </c:pt>
                <c:pt idx="1">
                  <c:v>Independents</c:v>
                </c:pt>
                <c:pt idx="2">
                  <c:v>Regional Chains</c:v>
                </c:pt>
                <c:pt idx="3">
                  <c:v>National Chains</c:v>
                </c:pt>
                <c:pt idx="4">
                  <c:v>Supermarkets</c:v>
                </c:pt>
              </c:strCache>
            </c:strRef>
          </c:cat>
          <c:val>
            <c:numRef>
              <c:f>Sheet1!$E$2:$E$6</c:f>
              <c:numCache>
                <c:formatCode>0%</c:formatCode>
                <c:ptCount val="5"/>
                <c:pt idx="0">
                  <c:v>7.2538860103626937E-2</c:v>
                </c:pt>
                <c:pt idx="1">
                  <c:v>0.24459481762667107</c:v>
                </c:pt>
                <c:pt idx="2">
                  <c:v>0.29440852034994297</c:v>
                </c:pt>
                <c:pt idx="3">
                  <c:v>0.30256553262688229</c:v>
                </c:pt>
                <c:pt idx="4">
                  <c:v>0.40346083788706738</c:v>
                </c:pt>
              </c:numCache>
            </c:numRef>
          </c:val>
          <c:extLst>
            <c:ext xmlns:c16="http://schemas.microsoft.com/office/drawing/2014/chart" uri="{C3380CC4-5D6E-409C-BE32-E72D297353CC}">
              <c16:uniqueId val="{00000003-D30C-48CE-9C72-05553CE1C23A}"/>
            </c:ext>
          </c:extLst>
        </c:ser>
        <c:dLbls>
          <c:showLegendKey val="0"/>
          <c:showVal val="0"/>
          <c:showCatName val="0"/>
          <c:showSerName val="0"/>
          <c:showPercent val="0"/>
          <c:showBubbleSize val="0"/>
        </c:dLbls>
        <c:gapWidth val="100"/>
        <c:overlap val="100"/>
        <c:axId val="62779488"/>
        <c:axId val="62763168"/>
      </c:barChart>
      <c:catAx>
        <c:axId val="62779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2763168"/>
        <c:crosses val="autoZero"/>
        <c:auto val="1"/>
        <c:lblAlgn val="ctr"/>
        <c:lblOffset val="100"/>
        <c:noMultiLvlLbl val="0"/>
      </c:catAx>
      <c:valAx>
        <c:axId val="627631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 of pharmacie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22225">
            <a:solidFill>
              <a:srgbClr val="CACED0"/>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2779488"/>
        <c:crosses val="autoZero"/>
        <c:crossBetween val="between"/>
        <c:majorUnit val="0.2"/>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400" b="1">
                <a:solidFill>
                  <a:schemeClr val="tx1"/>
                </a:solidFill>
              </a:rPr>
              <a:t>Pharmacy First % of Eligible Dispensed Item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1"/>
          <c:order val="1"/>
          <c:tx>
            <c:strRef>
              <c:f>Sheet1!$C$1</c:f>
              <c:strCache>
                <c:ptCount val="1"/>
                <c:pt idx="0">
                  <c:v>Total Eligible Items</c:v>
                </c:pt>
              </c:strCache>
            </c:strRef>
          </c:tx>
          <c:spPr>
            <a:solidFill>
              <a:schemeClr val="accent2"/>
            </a:solidFill>
            <a:ln>
              <a:noFill/>
            </a:ln>
            <a:effectLst/>
          </c:spPr>
          <c:invertIfNegative val="0"/>
          <c:cat>
            <c:numRef>
              <c:f>Sheet1!$A$2:$A$26</c:f>
              <c:numCache>
                <c:formatCode>mmm\ yy</c:formatCode>
                <c:ptCount val="25"/>
                <c:pt idx="0">
                  <c:v>45323</c:v>
                </c:pt>
                <c:pt idx="1">
                  <c:v>45352</c:v>
                </c:pt>
                <c:pt idx="2">
                  <c:v>45383</c:v>
                </c:pt>
                <c:pt idx="3">
                  <c:v>45413</c:v>
                </c:pt>
                <c:pt idx="4">
                  <c:v>45444</c:v>
                </c:pt>
                <c:pt idx="5">
                  <c:v>45474</c:v>
                </c:pt>
                <c:pt idx="6">
                  <c:v>45505</c:v>
                </c:pt>
                <c:pt idx="7">
                  <c:v>45536</c:v>
                </c:pt>
                <c:pt idx="8">
                  <c:v>45566</c:v>
                </c:pt>
                <c:pt idx="9">
                  <c:v>45597</c:v>
                </c:pt>
                <c:pt idx="10">
                  <c:v>45627</c:v>
                </c:pt>
                <c:pt idx="11">
                  <c:v>45658</c:v>
                </c:pt>
                <c:pt idx="12">
                  <c:v>45689</c:v>
                </c:pt>
                <c:pt idx="13">
                  <c:v>45717</c:v>
                </c:pt>
                <c:pt idx="14">
                  <c:v>45748</c:v>
                </c:pt>
                <c:pt idx="15">
                  <c:v>45778</c:v>
                </c:pt>
                <c:pt idx="16">
                  <c:v>45809</c:v>
                </c:pt>
                <c:pt idx="17">
                  <c:v>45839</c:v>
                </c:pt>
                <c:pt idx="18">
                  <c:v>45870</c:v>
                </c:pt>
                <c:pt idx="19">
                  <c:v>45901</c:v>
                </c:pt>
                <c:pt idx="20">
                  <c:v>45931</c:v>
                </c:pt>
                <c:pt idx="21">
                  <c:v>45962</c:v>
                </c:pt>
                <c:pt idx="22">
                  <c:v>45992</c:v>
                </c:pt>
                <c:pt idx="23">
                  <c:v>46023</c:v>
                </c:pt>
                <c:pt idx="24">
                  <c:v>46054</c:v>
                </c:pt>
              </c:numCache>
            </c:numRef>
          </c:cat>
          <c:val>
            <c:numRef>
              <c:f>Sheet1!$C$2:$C$26</c:f>
              <c:numCache>
                <c:formatCode>0.0,,"m"</c:formatCode>
                <c:ptCount val="25"/>
                <c:pt idx="0">
                  <c:v>3085011</c:v>
                </c:pt>
                <c:pt idx="1">
                  <c:v>3101808</c:v>
                </c:pt>
                <c:pt idx="2">
                  <c:v>3007630</c:v>
                </c:pt>
                <c:pt idx="3">
                  <c:v>2928727</c:v>
                </c:pt>
                <c:pt idx="4">
                  <c:v>2663286</c:v>
                </c:pt>
                <c:pt idx="5">
                  <c:v>2799258</c:v>
                </c:pt>
                <c:pt idx="6">
                  <c:v>2417021</c:v>
                </c:pt>
                <c:pt idx="7">
                  <c:v>2489201</c:v>
                </c:pt>
                <c:pt idx="8">
                  <c:v>2953401</c:v>
                </c:pt>
                <c:pt idx="9">
                  <c:v>2984606</c:v>
                </c:pt>
                <c:pt idx="10">
                  <c:v>3365542</c:v>
                </c:pt>
                <c:pt idx="11">
                  <c:v>3251725</c:v>
                </c:pt>
                <c:pt idx="12">
                  <c:v>2803035</c:v>
                </c:pt>
                <c:pt idx="13">
                  <c:v>2862334</c:v>
                </c:pt>
                <c:pt idx="14">
                  <c:v>2681451</c:v>
                </c:pt>
                <c:pt idx="15">
                  <c:v>2598627</c:v>
                </c:pt>
                <c:pt idx="16">
                  <c:v>2532195</c:v>
                </c:pt>
                <c:pt idx="17">
                  <c:v>2600588</c:v>
                </c:pt>
                <c:pt idx="18">
                  <c:v>2292142</c:v>
                </c:pt>
                <c:pt idx="19">
                  <c:v>2544540</c:v>
                </c:pt>
                <c:pt idx="20">
                  <c:v>2892269</c:v>
                </c:pt>
                <c:pt idx="21">
                  <c:v>2765606</c:v>
                </c:pt>
                <c:pt idx="22">
                  <c:v>3298779</c:v>
                </c:pt>
                <c:pt idx="23">
                  <c:v>3082100</c:v>
                </c:pt>
                <c:pt idx="24">
                  <c:v>2749355</c:v>
                </c:pt>
              </c:numCache>
            </c:numRef>
          </c:val>
          <c:extLst>
            <c:ext xmlns:c16="http://schemas.microsoft.com/office/drawing/2014/chart" uri="{C3380CC4-5D6E-409C-BE32-E72D297353CC}">
              <c16:uniqueId val="{00000000-E4FE-4690-8371-264EA9A8DCED}"/>
            </c:ext>
          </c:extLst>
        </c:ser>
        <c:dLbls>
          <c:showLegendKey val="0"/>
          <c:showVal val="0"/>
          <c:showCatName val="0"/>
          <c:showSerName val="0"/>
          <c:showPercent val="0"/>
          <c:showBubbleSize val="0"/>
        </c:dLbls>
        <c:gapWidth val="50"/>
        <c:axId val="1328092128"/>
        <c:axId val="1328101728"/>
      </c:barChart>
      <c:lineChart>
        <c:grouping val="stacked"/>
        <c:varyColors val="0"/>
        <c:ser>
          <c:idx val="0"/>
          <c:order val="0"/>
          <c:tx>
            <c:strRef>
              <c:f>Sheet1!$B$1</c:f>
              <c:strCache>
                <c:ptCount val="1"/>
                <c:pt idx="0">
                  <c:v>PF % of Eligible Item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4.5537970782501332E-2"/>
                  <c:y val="-6.4099902944483464E-2"/>
                </c:manualLayout>
              </c:layout>
              <c:tx>
                <c:rich>
                  <a:bodyPr/>
                  <a:lstStyle/>
                  <a:p>
                    <a:fld id="{82D4EA61-4CBE-4839-9C31-7CA479889716}"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4FE-4690-8371-264EA9A8DCED}"/>
                </c:ext>
              </c:extLst>
            </c:dLbl>
            <c:dLbl>
              <c:idx val="2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92-40EF-BF3F-45B3B7140CB7}"/>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6</c:f>
              <c:numCache>
                <c:formatCode>mmm\ yy</c:formatCode>
                <c:ptCount val="25"/>
                <c:pt idx="0">
                  <c:v>45323</c:v>
                </c:pt>
                <c:pt idx="1">
                  <c:v>45352</c:v>
                </c:pt>
                <c:pt idx="2">
                  <c:v>45383</c:v>
                </c:pt>
                <c:pt idx="3">
                  <c:v>45413</c:v>
                </c:pt>
                <c:pt idx="4">
                  <c:v>45444</c:v>
                </c:pt>
                <c:pt idx="5">
                  <c:v>45474</c:v>
                </c:pt>
                <c:pt idx="6">
                  <c:v>45505</c:v>
                </c:pt>
                <c:pt idx="7">
                  <c:v>45536</c:v>
                </c:pt>
                <c:pt idx="8">
                  <c:v>45566</c:v>
                </c:pt>
                <c:pt idx="9">
                  <c:v>45597</c:v>
                </c:pt>
                <c:pt idx="10">
                  <c:v>45627</c:v>
                </c:pt>
                <c:pt idx="11">
                  <c:v>45658</c:v>
                </c:pt>
                <c:pt idx="12">
                  <c:v>45689</c:v>
                </c:pt>
                <c:pt idx="13">
                  <c:v>45717</c:v>
                </c:pt>
                <c:pt idx="14">
                  <c:v>45748</c:v>
                </c:pt>
                <c:pt idx="15">
                  <c:v>45778</c:v>
                </c:pt>
                <c:pt idx="16">
                  <c:v>45809</c:v>
                </c:pt>
                <c:pt idx="17">
                  <c:v>45839</c:v>
                </c:pt>
                <c:pt idx="18">
                  <c:v>45870</c:v>
                </c:pt>
                <c:pt idx="19">
                  <c:v>45901</c:v>
                </c:pt>
                <c:pt idx="20">
                  <c:v>45931</c:v>
                </c:pt>
                <c:pt idx="21">
                  <c:v>45962</c:v>
                </c:pt>
                <c:pt idx="22">
                  <c:v>45992</c:v>
                </c:pt>
                <c:pt idx="23">
                  <c:v>46023</c:v>
                </c:pt>
                <c:pt idx="24">
                  <c:v>46054</c:v>
                </c:pt>
              </c:numCache>
            </c:numRef>
          </c:cat>
          <c:val>
            <c:numRef>
              <c:f>Sheet1!$B$2:$B$26</c:f>
              <c:numCache>
                <c:formatCode>0.0%</c:formatCode>
                <c:ptCount val="25"/>
                <c:pt idx="0">
                  <c:v>3.0610911922194117E-2</c:v>
                </c:pt>
                <c:pt idx="1">
                  <c:v>3.6561579569077129E-2</c:v>
                </c:pt>
                <c:pt idx="2">
                  <c:v>4.0407563430342165E-2</c:v>
                </c:pt>
                <c:pt idx="3">
                  <c:v>4.6182863749335459E-2</c:v>
                </c:pt>
                <c:pt idx="4">
                  <c:v>4.9745690098622529E-2</c:v>
                </c:pt>
                <c:pt idx="5">
                  <c:v>5.3436303477564409E-2</c:v>
                </c:pt>
                <c:pt idx="6">
                  <c:v>5.9656080770502204E-2</c:v>
                </c:pt>
                <c:pt idx="7">
                  <c:v>5.4018136743477121E-2</c:v>
                </c:pt>
                <c:pt idx="8">
                  <c:v>5.1696671058213906E-2</c:v>
                </c:pt>
                <c:pt idx="9">
                  <c:v>5.4177000247268819E-2</c:v>
                </c:pt>
                <c:pt idx="10">
                  <c:v>5.9474224359701941E-2</c:v>
                </c:pt>
                <c:pt idx="11">
                  <c:v>5.4868723523668207E-2</c:v>
                </c:pt>
                <c:pt idx="12">
                  <c:v>6.5378063420542379E-2</c:v>
                </c:pt>
                <c:pt idx="13">
                  <c:v>6.8646426308040923E-2</c:v>
                </c:pt>
                <c:pt idx="14">
                  <c:v>6.7175570241634106E-2</c:v>
                </c:pt>
                <c:pt idx="15">
                  <c:v>6.9492851417306142E-2</c:v>
                </c:pt>
                <c:pt idx="16">
                  <c:v>7.5746141193707442E-2</c:v>
                </c:pt>
                <c:pt idx="17">
                  <c:v>8.819351623555903E-2</c:v>
                </c:pt>
                <c:pt idx="18">
                  <c:v>8.4260922752604328E-2</c:v>
                </c:pt>
                <c:pt idx="19">
                  <c:v>7.2472038167998937E-2</c:v>
                </c:pt>
                <c:pt idx="20">
                  <c:v>6.914640374045429E-2</c:v>
                </c:pt>
                <c:pt idx="21">
                  <c:v>7.2598555253351349E-2</c:v>
                </c:pt>
                <c:pt idx="22">
                  <c:v>7.714399782464966E-2</c:v>
                </c:pt>
                <c:pt idx="23">
                  <c:v>7.0775120859154467E-2</c:v>
                </c:pt>
                <c:pt idx="24">
                  <c:v>8.0065324412453107E-2</c:v>
                </c:pt>
              </c:numCache>
            </c:numRef>
          </c:val>
          <c:smooth val="1"/>
          <c:extLst>
            <c:ext xmlns:c16="http://schemas.microsoft.com/office/drawing/2014/chart" uri="{C3380CC4-5D6E-409C-BE32-E72D297353CC}">
              <c16:uniqueId val="{00000000-F192-454A-9AE2-080DD1578E0B}"/>
            </c:ext>
          </c:extLst>
        </c:ser>
        <c:dLbls>
          <c:showLegendKey val="0"/>
          <c:showVal val="0"/>
          <c:showCatName val="0"/>
          <c:showSerName val="0"/>
          <c:showPercent val="0"/>
          <c:showBubbleSize val="0"/>
        </c:dLbls>
        <c:marker val="1"/>
        <c:smooth val="0"/>
        <c:axId val="1768683247"/>
        <c:axId val="1768681807"/>
      </c:lineChart>
      <c:dateAx>
        <c:axId val="1328092128"/>
        <c:scaling>
          <c:orientation val="minMax"/>
        </c:scaling>
        <c:delete val="0"/>
        <c:axPos val="b"/>
        <c:numFmt formatCode="mmm\ yy" sourceLinked="1"/>
        <c:majorTickMark val="none"/>
        <c:minorTickMark val="none"/>
        <c:tickLblPos val="nextTo"/>
        <c:spPr>
          <a:noFill/>
          <a:ln w="25400"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en-US"/>
          </a:p>
        </c:txPr>
        <c:crossAx val="1328101728"/>
        <c:crosses val="autoZero"/>
        <c:auto val="1"/>
        <c:lblOffset val="100"/>
        <c:baseTimeUnit val="months"/>
        <c:majorUnit val="3"/>
        <c:majorTimeUnit val="months"/>
      </c:dateAx>
      <c:valAx>
        <c:axId val="1328101728"/>
        <c:scaling>
          <c:orientation val="minMax"/>
        </c:scaling>
        <c:delete val="0"/>
        <c:axPos val="l"/>
        <c:majorGridlines>
          <c:spPr>
            <a:ln w="6350"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a:solidFill>
                      <a:schemeClr val="tx1"/>
                    </a:solidFill>
                  </a:rPr>
                  <a:t>Total Eligible Item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quot;m&quot;" sourceLinked="0"/>
        <c:majorTickMark val="none"/>
        <c:minorTickMark val="none"/>
        <c:tickLblPos val="nextTo"/>
        <c:spPr>
          <a:noFill/>
          <a:ln w="25400">
            <a:solidFill>
              <a:schemeClr val="tx1">
                <a:lumMod val="15000"/>
                <a:lumOff val="85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328092128"/>
        <c:crosses val="autoZero"/>
        <c:crossBetween val="between"/>
      </c:valAx>
      <c:valAx>
        <c:axId val="1768681807"/>
        <c:scaling>
          <c:orientation val="minMax"/>
          <c:max val="0.30000000000000004"/>
        </c:scaling>
        <c:delete val="0"/>
        <c:axPos val="r"/>
        <c:numFmt formatCode="0%" sourceLinked="0"/>
        <c:majorTickMark val="none"/>
        <c:minorTickMark val="none"/>
        <c:tickLblPos val="none"/>
        <c:spPr>
          <a:noFill/>
          <a:ln w="25400">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68683247"/>
        <c:crosses val="max"/>
        <c:crossBetween val="between"/>
      </c:valAx>
      <c:dateAx>
        <c:axId val="1768683247"/>
        <c:scaling>
          <c:orientation val="minMax"/>
        </c:scaling>
        <c:delete val="1"/>
        <c:axPos val="b"/>
        <c:numFmt formatCode="mmm\ yy" sourceLinked="1"/>
        <c:majorTickMark val="out"/>
        <c:minorTickMark val="none"/>
        <c:tickLblPos val="nextTo"/>
        <c:crossAx val="1768681807"/>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241830065359478E-2"/>
          <c:y val="2.6196473551637279E-2"/>
          <c:w val="0.95751633986928109"/>
          <c:h val="0.94760705289672542"/>
        </c:manualLayout>
      </c:layout>
      <c:barChart>
        <c:barDir val="col"/>
        <c:grouping val="stacked"/>
        <c:varyColors val="0"/>
        <c:ser>
          <c:idx val="0"/>
          <c:order val="0"/>
          <c:spPr>
            <a:solidFill>
              <a:schemeClr val="accent1"/>
            </a:solidFill>
            <a:ln>
              <a:noFill/>
            </a:ln>
          </c:spPr>
          <c:invertIfNegative val="0"/>
          <c:val>
            <c:numRef>
              <c:f>Sheet1!$A$1:$C$1</c:f>
              <c:numCache>
                <c:formatCode>#,##0_);\(#,##0\)</c:formatCode>
                <c:ptCount val="3"/>
                <c:pt idx="0">
                  <c:v>34981406692</c:v>
                </c:pt>
                <c:pt idx="1">
                  <c:v>37571119515</c:v>
                </c:pt>
                <c:pt idx="2">
                  <c:v>40065657307</c:v>
                </c:pt>
              </c:numCache>
            </c:numRef>
          </c:val>
          <c:extLst>
            <c:ext xmlns:c16="http://schemas.microsoft.com/office/drawing/2014/chart" uri="{C3380CC4-5D6E-409C-BE32-E72D297353CC}">
              <c16:uniqueId val="{00000000-2F26-4BFF-BFA3-22A0FFFC778B}"/>
            </c:ext>
          </c:extLst>
        </c:ser>
        <c:ser>
          <c:idx val="1"/>
          <c:order val="1"/>
          <c:spPr>
            <a:solidFill>
              <a:schemeClr val="accent2"/>
            </a:solidFill>
            <a:ln>
              <a:noFill/>
            </a:ln>
          </c:spPr>
          <c:invertIfNegative val="0"/>
          <c:val>
            <c:numRef>
              <c:f>Sheet1!$A$2:$C$2</c:f>
              <c:numCache>
                <c:formatCode>#,##0_);\(#,##0\)</c:formatCode>
                <c:ptCount val="3"/>
                <c:pt idx="0">
                  <c:v>466795326</c:v>
                </c:pt>
                <c:pt idx="1">
                  <c:v>1075826865</c:v>
                </c:pt>
                <c:pt idx="2">
                  <c:v>3016705213</c:v>
                </c:pt>
              </c:numCache>
            </c:numRef>
          </c:val>
          <c:extLst>
            <c:ext xmlns:c16="http://schemas.microsoft.com/office/drawing/2014/chart" uri="{C3380CC4-5D6E-409C-BE32-E72D297353CC}">
              <c16:uniqueId val="{00000001-2F26-4BFF-BFA3-22A0FFFC778B}"/>
            </c:ext>
          </c:extLst>
        </c:ser>
        <c:dLbls>
          <c:showLegendKey val="0"/>
          <c:showVal val="0"/>
          <c:showCatName val="0"/>
          <c:showSerName val="0"/>
          <c:showPercent val="0"/>
          <c:showBubbleSize val="0"/>
        </c:dLbls>
        <c:gapWidth val="80"/>
        <c:overlap val="100"/>
        <c:axId val="924382751"/>
        <c:axId val="1"/>
      </c:barChart>
      <c:catAx>
        <c:axId val="9243827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in val="0"/>
        </c:scaling>
        <c:delete val="0"/>
        <c:axPos val="l"/>
        <c:majorGridlines>
          <c:spPr>
            <a:ln>
              <a:noFill/>
            </a:ln>
          </c:spPr>
        </c:majorGridlines>
        <c:numFmt formatCode="#,##0_);\(#,##0\)"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924382751"/>
        <c:crosses val="min"/>
        <c:crossBetween val="between"/>
        <c:majorUnit val="50000000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438559842462554"/>
          <c:y val="0.10952097677561887"/>
          <c:w val="0.73732519856916157"/>
          <c:h val="0.56750121130014286"/>
        </c:manualLayout>
      </c:layout>
      <c:areaChart>
        <c:grouping val="stacked"/>
        <c:varyColors val="0"/>
        <c:ser>
          <c:idx val="2"/>
          <c:order val="0"/>
          <c:tx>
            <c:strRef>
              <c:f>Sheet1!$B$1</c:f>
              <c:strCache>
                <c:ptCount val="1"/>
                <c:pt idx="0">
                  <c:v>Treatments</c:v>
                </c:pt>
              </c:strCache>
            </c:strRef>
          </c:tx>
          <c:spPr>
            <a:solidFill>
              <a:schemeClr val="accent3"/>
            </a:solidFill>
            <a:ln w="25400">
              <a:noFill/>
            </a:ln>
            <a:effectLst/>
          </c:spPr>
          <c:cat>
            <c:numRef>
              <c:f>Sheet1!$A$2:$A$122</c:f>
              <c:numCache>
                <c:formatCode>mmm\-yy</c:formatCode>
                <c:ptCount val="6"/>
                <c:pt idx="0">
                  <c:v>42370</c:v>
                </c:pt>
                <c:pt idx="1">
                  <c:v>43101</c:v>
                </c:pt>
                <c:pt idx="2">
                  <c:v>43831</c:v>
                </c:pt>
                <c:pt idx="3">
                  <c:v>44562</c:v>
                </c:pt>
                <c:pt idx="4">
                  <c:v>45292</c:v>
                </c:pt>
                <c:pt idx="5">
                  <c:v>46023</c:v>
                </c:pt>
              </c:numCache>
            </c:numRef>
          </c:cat>
          <c:val>
            <c:numRef>
              <c:f>Sheet1!$B$2:$B$122</c:f>
            </c:numRef>
          </c:val>
          <c:extLst>
            <c:ext xmlns:c16="http://schemas.microsoft.com/office/drawing/2014/chart" uri="{C3380CC4-5D6E-409C-BE32-E72D297353CC}">
              <c16:uniqueId val="{00000000-35F3-4D11-A39C-F905972A44FB}"/>
            </c:ext>
          </c:extLst>
        </c:ser>
        <c:ser>
          <c:idx val="0"/>
          <c:order val="1"/>
          <c:tx>
            <c:strRef>
              <c:f>Sheet1!$C$1</c:f>
              <c:strCache>
                <c:ptCount val="1"/>
                <c:pt idx="0">
                  <c:v>Waiting over 18 weeks</c:v>
                </c:pt>
              </c:strCache>
            </c:strRef>
          </c:tx>
          <c:spPr>
            <a:solidFill>
              <a:schemeClr val="accent1"/>
            </a:solidFill>
            <a:ln>
              <a:noFill/>
            </a:ln>
            <a:effectLst/>
          </c:spPr>
          <c:dLbls>
            <c:dLbl>
              <c:idx val="0"/>
              <c:layout>
                <c:manualLayout>
                  <c:x val="3.323108384458077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F3-4D11-A39C-F905972A44FB}"/>
                </c:ext>
              </c:extLst>
            </c:dLbl>
            <c:dLbl>
              <c:idx val="1"/>
              <c:delete val="1"/>
              <c:extLst>
                <c:ext xmlns:c15="http://schemas.microsoft.com/office/drawing/2012/chart" uri="{CE6537A1-D6FC-4f65-9D91-7224C49458BB}"/>
                <c:ext xmlns:c16="http://schemas.microsoft.com/office/drawing/2014/chart" uri="{C3380CC4-5D6E-409C-BE32-E72D297353CC}">
                  <c16:uniqueId val="{00000002-35F3-4D11-A39C-F905972A44FB}"/>
                </c:ext>
              </c:extLst>
            </c:dLbl>
            <c:dLbl>
              <c:idx val="2"/>
              <c:delete val="1"/>
              <c:extLst>
                <c:ext xmlns:c15="http://schemas.microsoft.com/office/drawing/2012/chart" uri="{CE6537A1-D6FC-4f65-9D91-7224C49458BB}"/>
                <c:ext xmlns:c16="http://schemas.microsoft.com/office/drawing/2014/chart" uri="{C3380CC4-5D6E-409C-BE32-E72D297353CC}">
                  <c16:uniqueId val="{00000003-35F3-4D11-A39C-F905972A44FB}"/>
                </c:ext>
              </c:extLst>
            </c:dLbl>
            <c:dLbl>
              <c:idx val="3"/>
              <c:delete val="1"/>
              <c:extLst>
                <c:ext xmlns:c15="http://schemas.microsoft.com/office/drawing/2012/chart" uri="{CE6537A1-D6FC-4f65-9D91-7224C49458BB}"/>
                <c:ext xmlns:c16="http://schemas.microsoft.com/office/drawing/2014/chart" uri="{C3380CC4-5D6E-409C-BE32-E72D297353CC}">
                  <c16:uniqueId val="{00000004-35F3-4D11-A39C-F905972A44FB}"/>
                </c:ext>
              </c:extLst>
            </c:dLbl>
            <c:dLbl>
              <c:idx val="4"/>
              <c:delete val="1"/>
              <c:extLst>
                <c:ext xmlns:c15="http://schemas.microsoft.com/office/drawing/2012/chart" uri="{CE6537A1-D6FC-4f65-9D91-7224C49458BB}"/>
                <c:ext xmlns:c16="http://schemas.microsoft.com/office/drawing/2014/chart" uri="{C3380CC4-5D6E-409C-BE32-E72D297353CC}">
                  <c16:uniqueId val="{00000005-35F3-4D11-A39C-F905972A44FB}"/>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2</c:f>
              <c:numCache>
                <c:formatCode>mmm\-yy</c:formatCode>
                <c:ptCount val="6"/>
                <c:pt idx="0">
                  <c:v>42370</c:v>
                </c:pt>
                <c:pt idx="1">
                  <c:v>43101</c:v>
                </c:pt>
                <c:pt idx="2">
                  <c:v>43831</c:v>
                </c:pt>
                <c:pt idx="3">
                  <c:v>44562</c:v>
                </c:pt>
                <c:pt idx="4">
                  <c:v>45292</c:v>
                </c:pt>
                <c:pt idx="5">
                  <c:v>46023</c:v>
                </c:pt>
              </c:numCache>
            </c:numRef>
          </c:cat>
          <c:val>
            <c:numRef>
              <c:f>Sheet1!$C$2:$C$122</c:f>
              <c:numCache>
                <c:formatCode>0.0,,"m"</c:formatCode>
                <c:ptCount val="6"/>
                <c:pt idx="0">
                  <c:v>297908</c:v>
                </c:pt>
                <c:pt idx="1">
                  <c:v>482475</c:v>
                </c:pt>
                <c:pt idx="2">
                  <c:v>767166</c:v>
                </c:pt>
                <c:pt idx="3">
                  <c:v>2301176</c:v>
                </c:pt>
                <c:pt idx="4">
                  <c:v>3254643</c:v>
                </c:pt>
                <c:pt idx="5">
                  <c:v>2790993</c:v>
                </c:pt>
              </c:numCache>
            </c:numRef>
          </c:val>
          <c:extLst>
            <c:ext xmlns:c16="http://schemas.microsoft.com/office/drawing/2014/chart" uri="{C3380CC4-5D6E-409C-BE32-E72D297353CC}">
              <c16:uniqueId val="{00000006-35F3-4D11-A39C-F905972A44FB}"/>
            </c:ext>
          </c:extLst>
        </c:ser>
        <c:ser>
          <c:idx val="1"/>
          <c:order val="2"/>
          <c:tx>
            <c:strRef>
              <c:f>Sheet1!$D$1</c:f>
              <c:strCache>
                <c:ptCount val="1"/>
                <c:pt idx="0">
                  <c:v>Waiting under 18 weeks</c:v>
                </c:pt>
              </c:strCache>
            </c:strRef>
          </c:tx>
          <c:spPr>
            <a:solidFill>
              <a:schemeClr val="accent2"/>
            </a:solidFill>
            <a:ln w="25400">
              <a:noFill/>
            </a:ln>
            <a:effectLst/>
          </c:spPr>
          <c:dLbls>
            <c:dLbl>
              <c:idx val="0"/>
              <c:layout>
                <c:manualLayout>
                  <c:x val="3.323108384458077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5F3-4D11-A39C-F905972A44FB}"/>
                </c:ext>
              </c:extLst>
            </c:dLbl>
            <c:dLbl>
              <c:idx val="1"/>
              <c:delete val="1"/>
              <c:extLst>
                <c:ext xmlns:c15="http://schemas.microsoft.com/office/drawing/2012/chart" uri="{CE6537A1-D6FC-4f65-9D91-7224C49458BB}"/>
                <c:ext xmlns:c16="http://schemas.microsoft.com/office/drawing/2014/chart" uri="{C3380CC4-5D6E-409C-BE32-E72D297353CC}">
                  <c16:uniqueId val="{00000008-35F3-4D11-A39C-F905972A44FB}"/>
                </c:ext>
              </c:extLst>
            </c:dLbl>
            <c:dLbl>
              <c:idx val="2"/>
              <c:delete val="1"/>
              <c:extLst>
                <c:ext xmlns:c15="http://schemas.microsoft.com/office/drawing/2012/chart" uri="{CE6537A1-D6FC-4f65-9D91-7224C49458BB}"/>
                <c:ext xmlns:c16="http://schemas.microsoft.com/office/drawing/2014/chart" uri="{C3380CC4-5D6E-409C-BE32-E72D297353CC}">
                  <c16:uniqueId val="{00000009-35F3-4D11-A39C-F905972A44FB}"/>
                </c:ext>
              </c:extLst>
            </c:dLbl>
            <c:dLbl>
              <c:idx val="3"/>
              <c:delete val="1"/>
              <c:extLst>
                <c:ext xmlns:c15="http://schemas.microsoft.com/office/drawing/2012/chart" uri="{CE6537A1-D6FC-4f65-9D91-7224C49458BB}"/>
                <c:ext xmlns:c16="http://schemas.microsoft.com/office/drawing/2014/chart" uri="{C3380CC4-5D6E-409C-BE32-E72D297353CC}">
                  <c16:uniqueId val="{0000000A-35F3-4D11-A39C-F905972A44FB}"/>
                </c:ext>
              </c:extLst>
            </c:dLbl>
            <c:dLbl>
              <c:idx val="4"/>
              <c:delete val="1"/>
              <c:extLst>
                <c:ext xmlns:c15="http://schemas.microsoft.com/office/drawing/2012/chart" uri="{CE6537A1-D6FC-4f65-9D91-7224C49458BB}"/>
                <c:ext xmlns:c16="http://schemas.microsoft.com/office/drawing/2014/chart" uri="{C3380CC4-5D6E-409C-BE32-E72D297353CC}">
                  <c16:uniqueId val="{0000000B-35F3-4D11-A39C-F905972A44FB}"/>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2</c:f>
              <c:numCache>
                <c:formatCode>mmm\-yy</c:formatCode>
                <c:ptCount val="6"/>
                <c:pt idx="0">
                  <c:v>42370</c:v>
                </c:pt>
                <c:pt idx="1">
                  <c:v>43101</c:v>
                </c:pt>
                <c:pt idx="2">
                  <c:v>43831</c:v>
                </c:pt>
                <c:pt idx="3">
                  <c:v>44562</c:v>
                </c:pt>
                <c:pt idx="4">
                  <c:v>45292</c:v>
                </c:pt>
                <c:pt idx="5">
                  <c:v>46023</c:v>
                </c:pt>
              </c:numCache>
            </c:numRef>
          </c:cat>
          <c:val>
            <c:numRef>
              <c:f>Sheet1!$D$2:$D$122</c:f>
              <c:numCache>
                <c:formatCode>0.0,,"m"</c:formatCode>
                <c:ptCount val="6"/>
                <c:pt idx="0">
                  <c:v>3226794</c:v>
                </c:pt>
                <c:pt idx="1">
                  <c:v>3501481</c:v>
                </c:pt>
                <c:pt idx="2">
                  <c:v>3798855</c:v>
                </c:pt>
                <c:pt idx="3">
                  <c:v>3826817</c:v>
                </c:pt>
                <c:pt idx="4">
                  <c:v>4321271</c:v>
                </c:pt>
                <c:pt idx="5">
                  <c:v>4456221</c:v>
                </c:pt>
              </c:numCache>
            </c:numRef>
          </c:val>
          <c:extLst>
            <c:ext xmlns:c16="http://schemas.microsoft.com/office/drawing/2014/chart" uri="{C3380CC4-5D6E-409C-BE32-E72D297353CC}">
              <c16:uniqueId val="{0000000C-35F3-4D11-A39C-F905972A44FB}"/>
            </c:ext>
          </c:extLst>
        </c:ser>
        <c:dLbls>
          <c:showLegendKey val="0"/>
          <c:showVal val="0"/>
          <c:showCatName val="0"/>
          <c:showSerName val="0"/>
          <c:showPercent val="0"/>
          <c:showBubbleSize val="0"/>
        </c:dLbls>
        <c:axId val="788896128"/>
        <c:axId val="788897088"/>
      </c:areaChart>
      <c:catAx>
        <c:axId val="788896128"/>
        <c:scaling>
          <c:orientation val="minMax"/>
        </c:scaling>
        <c:delete val="0"/>
        <c:axPos val="b"/>
        <c:numFmt formatCode="mmm\-yy" sourceLinked="1"/>
        <c:majorTickMark val="none"/>
        <c:minorTickMark val="none"/>
        <c:tickLblPos val="nextTo"/>
        <c:spPr>
          <a:noFill/>
          <a:ln w="254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88897088"/>
        <c:crosses val="autoZero"/>
        <c:auto val="0"/>
        <c:lblAlgn val="ctr"/>
        <c:lblOffset val="100"/>
        <c:noMultiLvlLbl val="0"/>
      </c:catAx>
      <c:valAx>
        <c:axId val="788897088"/>
        <c:scaling>
          <c:orientation val="minMax"/>
          <c:max val="8000000"/>
        </c:scaling>
        <c:delete val="0"/>
        <c:axPos val="l"/>
        <c:majorGridlines>
          <c:spPr>
            <a:ln w="6350"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sz="1000" b="1">
                    <a:solidFill>
                      <a:schemeClr val="tx1"/>
                    </a:solidFill>
                  </a:rPr>
                  <a:t>Waiting  list </a:t>
                </a:r>
              </a:p>
            </c:rich>
          </c:tx>
          <c:layout>
            <c:manualLayout>
              <c:xMode val="edge"/>
              <c:yMode val="edge"/>
              <c:x val="7.3925810189873053E-3"/>
              <c:y val="0.12912590750260539"/>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quot;m&quot;" sourceLinked="0"/>
        <c:majorTickMark val="none"/>
        <c:minorTickMark val="none"/>
        <c:tickLblPos val="nextTo"/>
        <c:spPr>
          <a:noFill/>
          <a:ln w="25400">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788896128"/>
        <c:crosses val="autoZero"/>
        <c:crossBetween val="midCat"/>
      </c:valAx>
      <c:spPr>
        <a:noFill/>
        <a:ln>
          <a:noFill/>
        </a:ln>
        <a:effectLst/>
      </c:spPr>
    </c:plotArea>
    <c:legend>
      <c:legendPos val="b"/>
      <c:layout>
        <c:manualLayout>
          <c:xMode val="edge"/>
          <c:yMode val="edge"/>
          <c:x val="0"/>
          <c:y val="0.84763946242447119"/>
          <c:w val="1"/>
          <c:h val="0.1395197050418463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12700">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86223733584619"/>
          <c:y val="5.5846557641833224E-2"/>
          <c:w val="0.80453858593356486"/>
          <c:h val="0.59578706507840362"/>
        </c:manualLayout>
      </c:layout>
      <c:lineChart>
        <c:grouping val="standard"/>
        <c:varyColors val="0"/>
        <c:ser>
          <c:idx val="0"/>
          <c:order val="0"/>
          <c:tx>
            <c:strRef>
              <c:f>Sheet1!$B$1</c:f>
              <c:strCache>
                <c:ptCount val="1"/>
                <c:pt idx="0">
                  <c:v>Type 1 (Major)</c:v>
                </c:pt>
              </c:strCache>
            </c:strRef>
          </c:tx>
          <c:spPr>
            <a:ln w="28575" cap="rnd">
              <a:solidFill>
                <a:schemeClr val="accent4"/>
              </a:solidFill>
              <a:round/>
            </a:ln>
            <a:effectLst/>
          </c:spPr>
          <c:marker>
            <c:symbol val="none"/>
          </c:marker>
          <c:dLbls>
            <c:dLbl>
              <c:idx val="0"/>
              <c:layout>
                <c:manualLayout>
                  <c:x val="-2.83387934172462E-2"/>
                  <c:y val="-8.91117688541537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CC-4F15-ABEE-C00F1BF86792}"/>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CC-4F15-ABEE-C00F1BF86792}"/>
                </c:ext>
              </c:extLst>
            </c:dLbl>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22</c:f>
              <c:numCache>
                <c:formatCode>General</c:formatCode>
                <c:ptCount val="11"/>
                <c:pt idx="0" formatCode="mmm\-yy">
                  <c:v>42370</c:v>
                </c:pt>
                <c:pt idx="2" formatCode="mmm\-yy">
                  <c:v>43101</c:v>
                </c:pt>
                <c:pt idx="4" formatCode="mmm\-yy">
                  <c:v>43831</c:v>
                </c:pt>
                <c:pt idx="6" formatCode="mmm\-yy">
                  <c:v>44562</c:v>
                </c:pt>
                <c:pt idx="8" formatCode="mmm\-yy">
                  <c:v>45292</c:v>
                </c:pt>
                <c:pt idx="10" formatCode="mmm\-yy">
                  <c:v>46023</c:v>
                </c:pt>
              </c:numCache>
            </c:numRef>
          </c:cat>
          <c:val>
            <c:numRef>
              <c:f>Sheet1!$B$2:$B$122</c:f>
              <c:numCache>
                <c:formatCode>0.0,"k"</c:formatCode>
                <c:ptCount val="11"/>
                <c:pt idx="0">
                  <c:v>40322.741935483871</c:v>
                </c:pt>
                <c:pt idx="1">
                  <c:v>39908.93548387097</c:v>
                </c:pt>
                <c:pt idx="2">
                  <c:v>40549.225806451614</c:v>
                </c:pt>
                <c:pt idx="3">
                  <c:v>43366.258064516129</c:v>
                </c:pt>
                <c:pt idx="4">
                  <c:v>42814</c:v>
                </c:pt>
                <c:pt idx="5">
                  <c:v>30361.096774193549</c:v>
                </c:pt>
                <c:pt idx="6">
                  <c:v>40239.258064516129</c:v>
                </c:pt>
                <c:pt idx="7">
                  <c:v>40125.741935483871</c:v>
                </c:pt>
                <c:pt idx="8">
                  <c:v>45095.967741935485</c:v>
                </c:pt>
                <c:pt idx="9">
                  <c:v>43839.548387096773</c:v>
                </c:pt>
                <c:pt idx="10">
                  <c:v>46313.774193548386</c:v>
                </c:pt>
              </c:numCache>
            </c:numRef>
          </c:val>
          <c:smooth val="1"/>
          <c:extLst>
            <c:ext xmlns:c16="http://schemas.microsoft.com/office/drawing/2014/chart" uri="{C3380CC4-5D6E-409C-BE32-E72D297353CC}">
              <c16:uniqueId val="{00000002-98CC-4F15-ABEE-C00F1BF86792}"/>
            </c:ext>
          </c:extLst>
        </c:ser>
        <c:ser>
          <c:idx val="1"/>
          <c:order val="1"/>
          <c:tx>
            <c:strRef>
              <c:f>Sheet1!$C$1</c:f>
              <c:strCache>
                <c:ptCount val="1"/>
                <c:pt idx="0">
                  <c:v>Type 2 (Single Specialty)</c:v>
                </c:pt>
              </c:strCache>
            </c:strRef>
          </c:tx>
          <c:spPr>
            <a:ln w="28575" cap="rnd">
              <a:solidFill>
                <a:schemeClr val="accent2"/>
              </a:solidFill>
              <a:round/>
            </a:ln>
            <a:effectLst/>
          </c:spPr>
          <c:marker>
            <c:symbol val="none"/>
          </c:marker>
          <c:cat>
            <c:numRef>
              <c:f>Sheet1!$A$2:$A$122</c:f>
              <c:numCache>
                <c:formatCode>General</c:formatCode>
                <c:ptCount val="11"/>
                <c:pt idx="0" formatCode="mmm\-yy">
                  <c:v>42370</c:v>
                </c:pt>
                <c:pt idx="2" formatCode="mmm\-yy">
                  <c:v>43101</c:v>
                </c:pt>
                <c:pt idx="4" formatCode="mmm\-yy">
                  <c:v>43831</c:v>
                </c:pt>
                <c:pt idx="6" formatCode="mmm\-yy">
                  <c:v>44562</c:v>
                </c:pt>
                <c:pt idx="8" formatCode="mmm\-yy">
                  <c:v>45292</c:v>
                </c:pt>
                <c:pt idx="10" formatCode="mmm\-yy">
                  <c:v>46023</c:v>
                </c:pt>
              </c:numCache>
            </c:numRef>
          </c:cat>
          <c:val>
            <c:numRef>
              <c:f>Sheet1!$C$2:$C$122</c:f>
            </c:numRef>
          </c:val>
          <c:smooth val="0"/>
          <c:extLst>
            <c:ext xmlns:c16="http://schemas.microsoft.com/office/drawing/2014/chart" uri="{C3380CC4-5D6E-409C-BE32-E72D297353CC}">
              <c16:uniqueId val="{00000003-98CC-4F15-ABEE-C00F1BF86792}"/>
            </c:ext>
          </c:extLst>
        </c:ser>
        <c:ser>
          <c:idx val="2"/>
          <c:order val="2"/>
          <c:tx>
            <c:strRef>
              <c:f>Sheet1!$D$1</c:f>
              <c:strCache>
                <c:ptCount val="1"/>
                <c:pt idx="0">
                  <c:v>Type 3 (Minor)</c:v>
                </c:pt>
              </c:strCache>
            </c:strRef>
          </c:tx>
          <c:spPr>
            <a:ln w="28575" cap="rnd">
              <a:solidFill>
                <a:schemeClr val="accent3"/>
              </a:solidFill>
              <a:round/>
            </a:ln>
            <a:effectLst/>
          </c:spPr>
          <c:marker>
            <c:symbol val="none"/>
          </c:marker>
          <c:dLbls>
            <c:dLbl>
              <c:idx val="0"/>
              <c:layout>
                <c:manualLayout>
                  <c:x val="-3.6449093498349218E-2"/>
                  <c:y val="9.5531925111657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8CC-4F15-ABEE-C00F1BF86792}"/>
                </c:ext>
              </c:extLst>
            </c:dLbl>
            <c:dLbl>
              <c:idx val="1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8CC-4F15-ABEE-C00F1BF86792}"/>
                </c:ext>
              </c:extLst>
            </c:dLbl>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22</c:f>
              <c:numCache>
                <c:formatCode>General</c:formatCode>
                <c:ptCount val="11"/>
                <c:pt idx="0" formatCode="mmm\-yy">
                  <c:v>42370</c:v>
                </c:pt>
                <c:pt idx="2" formatCode="mmm\-yy">
                  <c:v>43101</c:v>
                </c:pt>
                <c:pt idx="4" formatCode="mmm\-yy">
                  <c:v>43831</c:v>
                </c:pt>
                <c:pt idx="6" formatCode="mmm\-yy">
                  <c:v>44562</c:v>
                </c:pt>
                <c:pt idx="8" formatCode="mmm\-yy">
                  <c:v>45292</c:v>
                </c:pt>
                <c:pt idx="10" formatCode="mmm\-yy">
                  <c:v>46023</c:v>
                </c:pt>
              </c:numCache>
            </c:numRef>
          </c:cat>
          <c:val>
            <c:numRef>
              <c:f>Sheet1!$D$2:$D$122</c:f>
              <c:numCache>
                <c:formatCode>0.0,"k"</c:formatCode>
                <c:ptCount val="11"/>
                <c:pt idx="0">
                  <c:v>19667.967741935485</c:v>
                </c:pt>
                <c:pt idx="1">
                  <c:v>19679.225806451614</c:v>
                </c:pt>
                <c:pt idx="2">
                  <c:v>22357.193548387098</c:v>
                </c:pt>
                <c:pt idx="3">
                  <c:v>23272.354838709678</c:v>
                </c:pt>
                <c:pt idx="4">
                  <c:v>23802.516129032258</c:v>
                </c:pt>
                <c:pt idx="5">
                  <c:v>11092.516129032258</c:v>
                </c:pt>
                <c:pt idx="6">
                  <c:v>19071.870967741936</c:v>
                </c:pt>
                <c:pt idx="7">
                  <c:v>22011.741935483871</c:v>
                </c:pt>
                <c:pt idx="8">
                  <c:v>25484.354838709678</c:v>
                </c:pt>
                <c:pt idx="9">
                  <c:v>26116.709677419356</c:v>
                </c:pt>
                <c:pt idx="10">
                  <c:v>26897.709677419356</c:v>
                </c:pt>
              </c:numCache>
            </c:numRef>
          </c:val>
          <c:smooth val="1"/>
          <c:extLst>
            <c:ext xmlns:c16="http://schemas.microsoft.com/office/drawing/2014/chart" uri="{C3380CC4-5D6E-409C-BE32-E72D297353CC}">
              <c16:uniqueId val="{00000006-98CC-4F15-ABEE-C00F1BF86792}"/>
            </c:ext>
          </c:extLst>
        </c:ser>
        <c:dLbls>
          <c:showLegendKey val="0"/>
          <c:showVal val="0"/>
          <c:showCatName val="0"/>
          <c:showSerName val="0"/>
          <c:showPercent val="0"/>
          <c:showBubbleSize val="0"/>
        </c:dLbls>
        <c:smooth val="0"/>
        <c:axId val="788896128"/>
        <c:axId val="788897088"/>
      </c:lineChart>
      <c:catAx>
        <c:axId val="788896128"/>
        <c:scaling>
          <c:orientation val="minMax"/>
        </c:scaling>
        <c:delete val="0"/>
        <c:axPos val="b"/>
        <c:numFmt formatCode="mmm\-yy" sourceLinked="1"/>
        <c:majorTickMark val="none"/>
        <c:minorTickMark val="none"/>
        <c:tickLblPos val="nextTo"/>
        <c:spPr>
          <a:noFill/>
          <a:ln w="254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88897088"/>
        <c:crosses val="autoZero"/>
        <c:auto val="0"/>
        <c:lblAlgn val="ctr"/>
        <c:lblOffset val="100"/>
        <c:noMultiLvlLbl val="0"/>
      </c:catAx>
      <c:valAx>
        <c:axId val="788897088"/>
        <c:scaling>
          <c:orientation val="minMax"/>
          <c:max val="60000"/>
        </c:scaling>
        <c:delete val="0"/>
        <c:axPos val="l"/>
        <c:majorGridlines>
          <c:spPr>
            <a:ln w="6350"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sz="1000" b="1">
                    <a:solidFill>
                      <a:schemeClr val="tx1"/>
                    </a:solidFill>
                  </a:rPr>
                  <a:t>Avg. daily attendance</a:t>
                </a:r>
              </a:p>
            </c:rich>
          </c:tx>
          <c:layout>
            <c:manualLayout>
              <c:xMode val="edge"/>
              <c:yMode val="edge"/>
              <c:x val="1.7524113166835741E-2"/>
              <c:y val="7.9935495122956099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quot;k&quot;" sourceLinked="0"/>
        <c:majorTickMark val="none"/>
        <c:minorTickMark val="none"/>
        <c:tickLblPos val="nextTo"/>
        <c:spPr>
          <a:noFill/>
          <a:ln w="25400">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788896128"/>
        <c:crosses val="autoZero"/>
        <c:crossBetween val="between"/>
      </c:valAx>
      <c:spPr>
        <a:noFill/>
        <a:ln>
          <a:noFill/>
        </a:ln>
        <a:effectLst/>
      </c:spPr>
    </c:plotArea>
    <c:legend>
      <c:legendPos val="b"/>
      <c:layout>
        <c:manualLayout>
          <c:xMode val="edge"/>
          <c:yMode val="edge"/>
          <c:x val="0.1844644049251562"/>
          <c:y val="0.890451308970994"/>
          <c:w val="0.79585700881747878"/>
          <c:h val="0.1095485922417214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12700">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800" b="1" i="0" u="none" strike="noStrike" kern="1200" spc="0" baseline="0">
                <a:solidFill>
                  <a:sysClr val="windowText" lastClr="000000">
                    <a:lumMod val="65000"/>
                    <a:lumOff val="35000"/>
                  </a:sysClr>
                </a:solidFill>
                <a:effectLst/>
                <a:latin typeface="Arial" panose="020B0604020202020204" pitchFamily="34" charset="0"/>
                <a:cs typeface="Arial" panose="020B0604020202020204" pitchFamily="34" charset="0"/>
              </a:rPr>
              <a:t>Public/private UK weight management uptake</a:t>
            </a:r>
            <a:endParaRPr lang="en-US" sz="1800">
              <a:latin typeface="Arial" panose="020B0604020202020204" pitchFamily="34" charset="0"/>
              <a:cs typeface="Arial" panose="020B0604020202020204" pitchFamily="34" charset="0"/>
            </a:endParaRPr>
          </a:p>
        </c:rich>
      </c:tx>
      <c:layout>
        <c:manualLayout>
          <c:xMode val="edge"/>
          <c:yMode val="edge"/>
          <c:x val="2.524077701599739E-2"/>
          <c:y val="5.0678316137247978E-2"/>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9.0595470821255658E-2"/>
          <c:y val="0.16175177134374999"/>
          <c:w val="0.89786382063045811"/>
          <c:h val="0.66792190791871686"/>
        </c:manualLayout>
      </c:layout>
      <c:barChart>
        <c:barDir val="col"/>
        <c:grouping val="stacked"/>
        <c:varyColors val="0"/>
        <c:ser>
          <c:idx val="0"/>
          <c:order val="0"/>
          <c:tx>
            <c:strRef>
              <c:f>Calculation!$B$16</c:f>
              <c:strCache>
                <c:ptCount val="1"/>
                <c:pt idx="0">
                  <c:v>NHS reimbursed (primary care)</c:v>
                </c:pt>
              </c:strCache>
            </c:strRef>
          </c:tx>
          <c:spPr>
            <a:solidFill>
              <a:srgbClr val="005587"/>
            </a:solidFill>
            <a:ln>
              <a:noFill/>
            </a:ln>
            <a:effectLst/>
          </c:spPr>
          <c:invertIfNegative val="0"/>
          <c:dPt>
            <c:idx val="22"/>
            <c:invertIfNegative val="0"/>
            <c:bubble3D val="0"/>
            <c:spPr>
              <a:solidFill>
                <a:srgbClr val="005587">
                  <a:alpha val="50000"/>
                </a:srgbClr>
              </a:solidFill>
              <a:ln>
                <a:noFill/>
              </a:ln>
              <a:effectLst/>
            </c:spPr>
            <c:extLst>
              <c:ext xmlns:c16="http://schemas.microsoft.com/office/drawing/2014/chart" uri="{C3380CC4-5D6E-409C-BE32-E72D297353CC}">
                <c16:uniqueId val="{00000001-B79B-4E82-B06E-25A82A9E2C56}"/>
              </c:ext>
            </c:extLst>
          </c:dPt>
          <c:dPt>
            <c:idx val="23"/>
            <c:invertIfNegative val="0"/>
            <c:bubble3D val="0"/>
            <c:spPr>
              <a:solidFill>
                <a:srgbClr val="005587">
                  <a:alpha val="50000"/>
                </a:srgbClr>
              </a:solidFill>
              <a:ln>
                <a:noFill/>
              </a:ln>
              <a:effectLst/>
            </c:spPr>
            <c:extLst>
              <c:ext xmlns:c16="http://schemas.microsoft.com/office/drawing/2014/chart" uri="{C3380CC4-5D6E-409C-BE32-E72D297353CC}">
                <c16:uniqueId val="{00000003-B79B-4E82-B06E-25A82A9E2C56}"/>
              </c:ext>
            </c:extLst>
          </c:dPt>
          <c:cat>
            <c:numRef>
              <c:f>Calculation!$C$7:$Z$7</c:f>
              <c:numCache>
                <c:formatCode>mmm\-yy</c:formatCode>
                <c:ptCount val="24"/>
                <c:pt idx="0">
                  <c:v>45413</c:v>
                </c:pt>
                <c:pt idx="1">
                  <c:v>45444</c:v>
                </c:pt>
                <c:pt idx="2">
                  <c:v>45474</c:v>
                </c:pt>
                <c:pt idx="3">
                  <c:v>45505</c:v>
                </c:pt>
                <c:pt idx="4">
                  <c:v>45536</c:v>
                </c:pt>
                <c:pt idx="5">
                  <c:v>45566</c:v>
                </c:pt>
                <c:pt idx="6">
                  <c:v>45597</c:v>
                </c:pt>
                <c:pt idx="7">
                  <c:v>45627</c:v>
                </c:pt>
                <c:pt idx="8">
                  <c:v>45658</c:v>
                </c:pt>
                <c:pt idx="9">
                  <c:v>45689</c:v>
                </c:pt>
                <c:pt idx="10">
                  <c:v>45717</c:v>
                </c:pt>
                <c:pt idx="11">
                  <c:v>45748</c:v>
                </c:pt>
                <c:pt idx="12">
                  <c:v>45778</c:v>
                </c:pt>
                <c:pt idx="13">
                  <c:v>45809</c:v>
                </c:pt>
                <c:pt idx="14">
                  <c:v>45839</c:v>
                </c:pt>
                <c:pt idx="15">
                  <c:v>45870</c:v>
                </c:pt>
                <c:pt idx="16">
                  <c:v>45901</c:v>
                </c:pt>
                <c:pt idx="17">
                  <c:v>45931</c:v>
                </c:pt>
                <c:pt idx="18">
                  <c:v>45962</c:v>
                </c:pt>
                <c:pt idx="19">
                  <c:v>45992</c:v>
                </c:pt>
                <c:pt idx="20">
                  <c:v>46023</c:v>
                </c:pt>
                <c:pt idx="21">
                  <c:v>46054</c:v>
                </c:pt>
                <c:pt idx="22">
                  <c:v>46082</c:v>
                </c:pt>
                <c:pt idx="23">
                  <c:v>46113</c:v>
                </c:pt>
              </c:numCache>
            </c:numRef>
          </c:cat>
          <c:val>
            <c:numRef>
              <c:f>Calculation!$C$16:$Z$16</c:f>
              <c:numCache>
                <c:formatCode>_-* #,##0_-;\-* #,##0_-;_-* "-"??_-;_-@_-</c:formatCode>
                <c:ptCount val="24"/>
                <c:pt idx="0">
                  <c:v>26794</c:v>
                </c:pt>
                <c:pt idx="1">
                  <c:v>41555</c:v>
                </c:pt>
                <c:pt idx="2">
                  <c:v>63263</c:v>
                </c:pt>
                <c:pt idx="3">
                  <c:v>76901</c:v>
                </c:pt>
                <c:pt idx="4">
                  <c:v>89705</c:v>
                </c:pt>
                <c:pt idx="5">
                  <c:v>113771</c:v>
                </c:pt>
                <c:pt idx="6">
                  <c:v>124342</c:v>
                </c:pt>
                <c:pt idx="7">
                  <c:v>139431</c:v>
                </c:pt>
                <c:pt idx="8">
                  <c:v>158691</c:v>
                </c:pt>
                <c:pt idx="9">
                  <c:v>157543</c:v>
                </c:pt>
                <c:pt idx="10">
                  <c:v>183728</c:v>
                </c:pt>
                <c:pt idx="11">
                  <c:v>200074</c:v>
                </c:pt>
                <c:pt idx="12">
                  <c:v>224714</c:v>
                </c:pt>
                <c:pt idx="13">
                  <c:v>236211</c:v>
                </c:pt>
                <c:pt idx="14">
                  <c:v>269435</c:v>
                </c:pt>
                <c:pt idx="15">
                  <c:v>227423</c:v>
                </c:pt>
                <c:pt idx="16">
                  <c:v>316133</c:v>
                </c:pt>
                <c:pt idx="17">
                  <c:v>311421</c:v>
                </c:pt>
                <c:pt idx="18">
                  <c:v>294046</c:v>
                </c:pt>
                <c:pt idx="19">
                  <c:v>330702</c:v>
                </c:pt>
                <c:pt idx="20">
                  <c:v>326826</c:v>
                </c:pt>
                <c:pt idx="21">
                  <c:v>297546</c:v>
                </c:pt>
                <c:pt idx="22">
                  <c:v>0</c:v>
                </c:pt>
                <c:pt idx="23">
                  <c:v>0</c:v>
                </c:pt>
              </c:numCache>
            </c:numRef>
          </c:val>
          <c:extLst>
            <c:ext xmlns:c16="http://schemas.microsoft.com/office/drawing/2014/chart" uri="{C3380CC4-5D6E-409C-BE32-E72D297353CC}">
              <c16:uniqueId val="{00000004-B79B-4E82-B06E-25A82A9E2C56}"/>
            </c:ext>
          </c:extLst>
        </c:ser>
        <c:ser>
          <c:idx val="1"/>
          <c:order val="1"/>
          <c:tx>
            <c:strRef>
              <c:f>Calculation!$B$17</c:f>
              <c:strCache>
                <c:ptCount val="1"/>
                <c:pt idx="0">
                  <c:v>NHS reimbursed (secondary care)</c:v>
                </c:pt>
              </c:strCache>
            </c:strRef>
          </c:tx>
          <c:spPr>
            <a:solidFill>
              <a:schemeClr val="accent2"/>
            </a:solidFill>
            <a:ln>
              <a:noFill/>
            </a:ln>
            <a:effectLst/>
          </c:spPr>
          <c:invertIfNegative val="0"/>
          <c:dPt>
            <c:idx val="23"/>
            <c:invertIfNegative val="0"/>
            <c:bubble3D val="0"/>
            <c:spPr>
              <a:solidFill>
                <a:srgbClr val="C0504D">
                  <a:alpha val="50000"/>
                </a:srgbClr>
              </a:solidFill>
              <a:ln>
                <a:noFill/>
              </a:ln>
              <a:effectLst/>
            </c:spPr>
            <c:extLst>
              <c:ext xmlns:c16="http://schemas.microsoft.com/office/drawing/2014/chart" uri="{C3380CC4-5D6E-409C-BE32-E72D297353CC}">
                <c16:uniqueId val="{00000006-B79B-4E82-B06E-25A82A9E2C56}"/>
              </c:ext>
            </c:extLst>
          </c:dPt>
          <c:cat>
            <c:numRef>
              <c:f>Calculation!$C$7:$Z$7</c:f>
              <c:numCache>
                <c:formatCode>mmm\-yy</c:formatCode>
                <c:ptCount val="24"/>
                <c:pt idx="0">
                  <c:v>45413</c:v>
                </c:pt>
                <c:pt idx="1">
                  <c:v>45444</c:v>
                </c:pt>
                <c:pt idx="2">
                  <c:v>45474</c:v>
                </c:pt>
                <c:pt idx="3">
                  <c:v>45505</c:v>
                </c:pt>
                <c:pt idx="4">
                  <c:v>45536</c:v>
                </c:pt>
                <c:pt idx="5">
                  <c:v>45566</c:v>
                </c:pt>
                <c:pt idx="6">
                  <c:v>45597</c:v>
                </c:pt>
                <c:pt idx="7">
                  <c:v>45627</c:v>
                </c:pt>
                <c:pt idx="8">
                  <c:v>45658</c:v>
                </c:pt>
                <c:pt idx="9">
                  <c:v>45689</c:v>
                </c:pt>
                <c:pt idx="10">
                  <c:v>45717</c:v>
                </c:pt>
                <c:pt idx="11">
                  <c:v>45748</c:v>
                </c:pt>
                <c:pt idx="12">
                  <c:v>45778</c:v>
                </c:pt>
                <c:pt idx="13">
                  <c:v>45809</c:v>
                </c:pt>
                <c:pt idx="14">
                  <c:v>45839</c:v>
                </c:pt>
                <c:pt idx="15">
                  <c:v>45870</c:v>
                </c:pt>
                <c:pt idx="16">
                  <c:v>45901</c:v>
                </c:pt>
                <c:pt idx="17">
                  <c:v>45931</c:v>
                </c:pt>
                <c:pt idx="18">
                  <c:v>45962</c:v>
                </c:pt>
                <c:pt idx="19">
                  <c:v>45992</c:v>
                </c:pt>
                <c:pt idx="20">
                  <c:v>46023</c:v>
                </c:pt>
                <c:pt idx="21">
                  <c:v>46054</c:v>
                </c:pt>
                <c:pt idx="22">
                  <c:v>46082</c:v>
                </c:pt>
                <c:pt idx="23">
                  <c:v>46113</c:v>
                </c:pt>
              </c:numCache>
            </c:numRef>
          </c:cat>
          <c:val>
            <c:numRef>
              <c:f>Calculation!$C$17:$Z$17</c:f>
              <c:numCache>
                <c:formatCode>_-* #,##0_-;\-* #,##0_-;_-* "-"??_-;_-@_-</c:formatCode>
                <c:ptCount val="24"/>
                <c:pt idx="0">
                  <c:v>2999.2550000000001</c:v>
                </c:pt>
                <c:pt idx="1">
                  <c:v>3210.01</c:v>
                </c:pt>
                <c:pt idx="2">
                  <c:v>4215.3150000000005</c:v>
                </c:pt>
                <c:pt idx="3">
                  <c:v>3724.9825000000001</c:v>
                </c:pt>
                <c:pt idx="4">
                  <c:v>4961.3975</c:v>
                </c:pt>
                <c:pt idx="5">
                  <c:v>5999.5324999999993</c:v>
                </c:pt>
                <c:pt idx="6">
                  <c:v>5503.7325000000001</c:v>
                </c:pt>
                <c:pt idx="7">
                  <c:v>5810.76</c:v>
                </c:pt>
                <c:pt idx="8">
                  <c:v>7118.2</c:v>
                </c:pt>
                <c:pt idx="9">
                  <c:v>6398.5375000000004</c:v>
                </c:pt>
                <c:pt idx="10">
                  <c:v>6581.6150000000007</c:v>
                </c:pt>
                <c:pt idx="11">
                  <c:v>7200.6979999999994</c:v>
                </c:pt>
                <c:pt idx="12">
                  <c:v>7283.0789999999997</c:v>
                </c:pt>
                <c:pt idx="13">
                  <c:v>7420.2615000000005</c:v>
                </c:pt>
                <c:pt idx="14">
                  <c:v>7813.7795000000006</c:v>
                </c:pt>
                <c:pt idx="15">
                  <c:v>7584.0769999999993</c:v>
                </c:pt>
                <c:pt idx="16">
                  <c:v>9289.5084999999999</c:v>
                </c:pt>
                <c:pt idx="17">
                  <c:v>8982.7785000000003</c:v>
                </c:pt>
                <c:pt idx="18">
                  <c:v>8107.49</c:v>
                </c:pt>
                <c:pt idx="19">
                  <c:v>8599.8163999999997</c:v>
                </c:pt>
                <c:pt idx="20">
                  <c:v>8785.5930000000008</c:v>
                </c:pt>
                <c:pt idx="21">
                  <c:v>8103.1459999999997</c:v>
                </c:pt>
                <c:pt idx="22">
                  <c:v>8671.601999999999</c:v>
                </c:pt>
                <c:pt idx="23">
                  <c:v>0</c:v>
                </c:pt>
              </c:numCache>
            </c:numRef>
          </c:val>
          <c:extLst>
            <c:ext xmlns:c16="http://schemas.microsoft.com/office/drawing/2014/chart" uri="{C3380CC4-5D6E-409C-BE32-E72D297353CC}">
              <c16:uniqueId val="{00000007-B79B-4E82-B06E-25A82A9E2C56}"/>
            </c:ext>
          </c:extLst>
        </c:ser>
        <c:ser>
          <c:idx val="2"/>
          <c:order val="2"/>
          <c:tx>
            <c:strRef>
              <c:f>Calculation!$B$18</c:f>
              <c:strCache>
                <c:ptCount val="1"/>
                <c:pt idx="0">
                  <c:v>Private market</c:v>
                </c:pt>
              </c:strCache>
            </c:strRef>
          </c:tx>
          <c:spPr>
            <a:solidFill>
              <a:srgbClr val="43B02A"/>
            </a:solidFill>
            <a:ln>
              <a:noFill/>
            </a:ln>
            <a:effectLst/>
          </c:spPr>
          <c:invertIfNegative val="0"/>
          <c:dLbls>
            <c:dLbl>
              <c:idx val="0"/>
              <c:layout>
                <c:manualLayout>
                  <c:x val="0"/>
                  <c:y val="-3.5609146829619368E-2"/>
                </c:manualLayout>
              </c:layout>
              <c:tx>
                <c:strRef>
                  <c:f>Calculation!$C$19</c:f>
                  <c:strCache>
                    <c:ptCount val="1"/>
                    <c:pt idx="0">
                      <c:v> 299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F582563A-7BD0-441E-B416-C7859EB9FFB1}</c15:txfldGUID>
                      <c15:f>Calculation!$C$19</c15:f>
                      <c15:dlblFieldTableCache>
                        <c:ptCount val="1"/>
                        <c:pt idx="0">
                          <c:v> 299k </c:v>
                        </c:pt>
                      </c15:dlblFieldTableCache>
                    </c15:dlblFTEntry>
                  </c15:dlblFieldTable>
                  <c15:showDataLabelsRange val="0"/>
                </c:ext>
                <c:ext xmlns:c16="http://schemas.microsoft.com/office/drawing/2014/chart" uri="{C3380CC4-5D6E-409C-BE32-E72D297353CC}">
                  <c16:uniqueId val="{00000008-B79B-4E82-B06E-25A82A9E2C56}"/>
                </c:ext>
              </c:extLst>
            </c:dLbl>
            <c:dLbl>
              <c:idx val="1"/>
              <c:layout>
                <c:manualLayout>
                  <c:x val="-1.6958043620781506E-3"/>
                  <c:y val="-4.6983991865881633E-2"/>
                </c:manualLayout>
              </c:layout>
              <c:tx>
                <c:strRef>
                  <c:f>Calculation!$D$19</c:f>
                  <c:strCache>
                    <c:ptCount val="1"/>
                    <c:pt idx="0">
                      <c:v> 352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176C61B2-0B99-449D-8A1C-409CE7F6A7DA}</c15:txfldGUID>
                      <c15:f>Calculation!$D$19</c15:f>
                      <c15:dlblFieldTableCache>
                        <c:ptCount val="1"/>
                        <c:pt idx="0">
                          <c:v> 352k </c:v>
                        </c:pt>
                      </c15:dlblFieldTableCache>
                    </c15:dlblFTEntry>
                  </c15:dlblFieldTable>
                  <c15:showDataLabelsRange val="0"/>
                </c:ext>
                <c:ext xmlns:c16="http://schemas.microsoft.com/office/drawing/2014/chart" uri="{C3380CC4-5D6E-409C-BE32-E72D297353CC}">
                  <c16:uniqueId val="{00000009-B79B-4E82-B06E-25A82A9E2C56}"/>
                </c:ext>
              </c:extLst>
            </c:dLbl>
            <c:dLbl>
              <c:idx val="2"/>
              <c:layout>
                <c:manualLayout>
                  <c:x val="2.7488871463227536E-3"/>
                  <c:y val="-4.8774097494570033E-2"/>
                </c:manualLayout>
              </c:layout>
              <c:tx>
                <c:strRef>
                  <c:f>Calculation!$E$19</c:f>
                  <c:strCache>
                    <c:ptCount val="1"/>
                    <c:pt idx="0">
                      <c:v> 493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1D648D23-30F1-4463-A1E7-DE371AE1FA8F}</c15:txfldGUID>
                      <c15:f>Calculation!$E$19</c15:f>
                      <c15:dlblFieldTableCache>
                        <c:ptCount val="1"/>
                        <c:pt idx="0">
                          <c:v> 493k </c:v>
                        </c:pt>
                      </c15:dlblFieldTableCache>
                    </c15:dlblFTEntry>
                  </c15:dlblFieldTable>
                  <c15:showDataLabelsRange val="0"/>
                </c:ext>
                <c:ext xmlns:c16="http://schemas.microsoft.com/office/drawing/2014/chart" uri="{C3380CC4-5D6E-409C-BE32-E72D297353CC}">
                  <c16:uniqueId val="{0000000A-B79B-4E82-B06E-25A82A9E2C56}"/>
                </c:ext>
              </c:extLst>
            </c:dLbl>
            <c:dLbl>
              <c:idx val="3"/>
              <c:layout>
                <c:manualLayout>
                  <c:x val="-4.3331847669984651E-4"/>
                  <c:y val="-5.9300653296716292E-2"/>
                </c:manualLayout>
              </c:layout>
              <c:tx>
                <c:strRef>
                  <c:f>Calculation!$F$19</c:f>
                  <c:strCache>
                    <c:ptCount val="1"/>
                    <c:pt idx="0">
                      <c:v> 520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9F87C5DC-BEBF-4C8C-9306-CD309349A77C}</c15:txfldGUID>
                      <c15:f>Calculation!$F$19</c15:f>
                      <c15:dlblFieldTableCache>
                        <c:ptCount val="1"/>
                        <c:pt idx="0">
                          <c:v> 520k </c:v>
                        </c:pt>
                      </c15:dlblFieldTableCache>
                    </c15:dlblFTEntry>
                  </c15:dlblFieldTable>
                  <c15:showDataLabelsRange val="0"/>
                </c:ext>
                <c:ext xmlns:c16="http://schemas.microsoft.com/office/drawing/2014/chart" uri="{C3380CC4-5D6E-409C-BE32-E72D297353CC}">
                  <c16:uniqueId val="{0000000B-B79B-4E82-B06E-25A82A9E2C56}"/>
                </c:ext>
              </c:extLst>
            </c:dLbl>
            <c:dLbl>
              <c:idx val="4"/>
              <c:layout>
                <c:manualLayout>
                  <c:x val="-1.8383854086214116E-3"/>
                  <c:y val="-6.2466642683178114E-2"/>
                </c:manualLayout>
              </c:layout>
              <c:tx>
                <c:strRef>
                  <c:f>Calculation!$G$19</c:f>
                  <c:strCache>
                    <c:ptCount val="1"/>
                    <c:pt idx="0">
                      <c:v> 612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5AF71663-F759-424B-9FB4-AB8D09B9E1DA}</c15:txfldGUID>
                      <c15:f>Calculation!$G$19</c15:f>
                      <c15:dlblFieldTableCache>
                        <c:ptCount val="1"/>
                        <c:pt idx="0">
                          <c:v> 612k </c:v>
                        </c:pt>
                      </c15:dlblFieldTableCache>
                    </c15:dlblFTEntry>
                  </c15:dlblFieldTable>
                  <c15:showDataLabelsRange val="0"/>
                </c:ext>
                <c:ext xmlns:c16="http://schemas.microsoft.com/office/drawing/2014/chart" uri="{C3380CC4-5D6E-409C-BE32-E72D297353CC}">
                  <c16:uniqueId val="{0000000C-B79B-4E82-B06E-25A82A9E2C56}"/>
                </c:ext>
              </c:extLst>
            </c:dLbl>
            <c:dLbl>
              <c:idx val="5"/>
              <c:layout>
                <c:manualLayout>
                  <c:x val="1.0412761880960924E-3"/>
                  <c:y val="-8.3297864793927784E-2"/>
                </c:manualLayout>
              </c:layout>
              <c:tx>
                <c:strRef>
                  <c:f>Calculation!$H$19</c:f>
                  <c:strCache>
                    <c:ptCount val="1"/>
                    <c:pt idx="0">
                      <c:v> 819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2D28474C-4DAD-4F8F-B83F-C516E76A6C52}</c15:txfldGUID>
                      <c15:f>Calculation!$H$19</c15:f>
                      <c15:dlblFieldTableCache>
                        <c:ptCount val="1"/>
                        <c:pt idx="0">
                          <c:v> 819k </c:v>
                        </c:pt>
                      </c15:dlblFieldTableCache>
                    </c15:dlblFTEntry>
                  </c15:dlblFieldTable>
                  <c15:showDataLabelsRange val="0"/>
                </c:ext>
                <c:ext xmlns:c16="http://schemas.microsoft.com/office/drawing/2014/chart" uri="{C3380CC4-5D6E-409C-BE32-E72D297353CC}">
                  <c16:uniqueId val="{0000000D-B79B-4E82-B06E-25A82A9E2C56}"/>
                </c:ext>
              </c:extLst>
            </c:dLbl>
            <c:dLbl>
              <c:idx val="6"/>
              <c:layout>
                <c:manualLayout>
                  <c:x val="0"/>
                  <c:y val="-7.9100965419863056E-2"/>
                </c:manualLayout>
              </c:layout>
              <c:tx>
                <c:strRef>
                  <c:f>Calculation!$I$19</c:f>
                  <c:strCache>
                    <c:ptCount val="1"/>
                    <c:pt idx="0">
                      <c:v> 878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3422A322-BF3C-4501-88E7-FA282553018A}</c15:txfldGUID>
                      <c15:f>Calculation!$I$19</c15:f>
                      <c15:dlblFieldTableCache>
                        <c:ptCount val="1"/>
                        <c:pt idx="0">
                          <c:v> 878k </c:v>
                        </c:pt>
                      </c15:dlblFieldTableCache>
                    </c15:dlblFTEntry>
                  </c15:dlblFieldTable>
                  <c15:showDataLabelsRange val="0"/>
                </c:ext>
                <c:ext xmlns:c16="http://schemas.microsoft.com/office/drawing/2014/chart" uri="{C3380CC4-5D6E-409C-BE32-E72D297353CC}">
                  <c16:uniqueId val="{0000000E-B79B-4E82-B06E-25A82A9E2C56}"/>
                </c:ext>
              </c:extLst>
            </c:dLbl>
            <c:dLbl>
              <c:idx val="7"/>
              <c:layout>
                <c:manualLayout>
                  <c:x val="1.0412761880961305E-3"/>
                  <c:y val="-7.7227888743636772E-2"/>
                </c:manualLayout>
              </c:layout>
              <c:tx>
                <c:strRef>
                  <c:f>Calculation!$J$19</c:f>
                  <c:strCache>
                    <c:ptCount val="1"/>
                    <c:pt idx="0">
                      <c:v> 847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6FA2CDDC-6DE7-4C38-B989-0C213EF1B9CD}</c15:txfldGUID>
                      <c15:f>Calculation!$J$19</c15:f>
                      <c15:dlblFieldTableCache>
                        <c:ptCount val="1"/>
                        <c:pt idx="0">
                          <c:v> 847k </c:v>
                        </c:pt>
                      </c15:dlblFieldTableCache>
                    </c15:dlblFTEntry>
                  </c15:dlblFieldTable>
                  <c15:showDataLabelsRange val="0"/>
                </c:ext>
                <c:ext xmlns:c16="http://schemas.microsoft.com/office/drawing/2014/chart" uri="{C3380CC4-5D6E-409C-BE32-E72D297353CC}">
                  <c16:uniqueId val="{0000000F-B79B-4E82-B06E-25A82A9E2C56}"/>
                </c:ext>
              </c:extLst>
            </c:dLbl>
            <c:dLbl>
              <c:idx val="8"/>
              <c:layout>
                <c:manualLayout>
                  <c:x val="-1.5329717235301854E-3"/>
                  <c:y val="-0.10932438343855677"/>
                </c:manualLayout>
              </c:layout>
              <c:tx>
                <c:strRef>
                  <c:f>Calculation!$K$19</c:f>
                  <c:strCache>
                    <c:ptCount val="1"/>
                    <c:pt idx="0">
                      <c:v> 1149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A2E129BD-BF0B-4B96-8597-F1785905DA99}</c15:txfldGUID>
                      <c15:f>Calculation!$K$19</c15:f>
                      <c15:dlblFieldTableCache>
                        <c:ptCount val="1"/>
                        <c:pt idx="0">
                          <c:v> 1149k </c:v>
                        </c:pt>
                      </c15:dlblFieldTableCache>
                    </c15:dlblFTEntry>
                  </c15:dlblFieldTable>
                  <c15:showDataLabelsRange val="0"/>
                </c:ext>
                <c:ext xmlns:c16="http://schemas.microsoft.com/office/drawing/2014/chart" uri="{C3380CC4-5D6E-409C-BE32-E72D297353CC}">
                  <c16:uniqueId val="{00000010-B79B-4E82-B06E-25A82A9E2C56}"/>
                </c:ext>
              </c:extLst>
            </c:dLbl>
            <c:dLbl>
              <c:idx val="9"/>
              <c:layout>
                <c:manualLayout>
                  <c:x val="1.0412761880961305E-3"/>
                  <c:y val="-0.12184477784871485"/>
                </c:manualLayout>
              </c:layout>
              <c:tx>
                <c:strRef>
                  <c:f>Calculation!$L$19</c:f>
                  <c:strCache>
                    <c:ptCount val="1"/>
                    <c:pt idx="0">
                      <c:v> 1200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F56FAE1E-7D9E-4318-917A-70D19D2D7957}</c15:txfldGUID>
                      <c15:f>Calculation!$L$19</c15:f>
                      <c15:dlblFieldTableCache>
                        <c:ptCount val="1"/>
                        <c:pt idx="0">
                          <c:v> 1200k </c:v>
                        </c:pt>
                      </c15:dlblFieldTableCache>
                    </c15:dlblFTEntry>
                  </c15:dlblFieldTable>
                  <c15:showDataLabelsRange val="0"/>
                </c:ext>
                <c:ext xmlns:c16="http://schemas.microsoft.com/office/drawing/2014/chart" uri="{C3380CC4-5D6E-409C-BE32-E72D297353CC}">
                  <c16:uniqueId val="{00000011-B79B-4E82-B06E-25A82A9E2C56}"/>
                </c:ext>
              </c:extLst>
            </c:dLbl>
            <c:dLbl>
              <c:idx val="10"/>
              <c:layout>
                <c:manualLayout>
                  <c:x val="0"/>
                  <c:y val="-0.12898915507183223"/>
                </c:manualLayout>
              </c:layout>
              <c:tx>
                <c:strRef>
                  <c:f>Calculation!$M$19</c:f>
                  <c:strCache>
                    <c:ptCount val="1"/>
                    <c:pt idx="0">
                      <c:v> 1448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F8FA0E13-B77C-4A12-B8FC-7CB5F360E609}</c15:txfldGUID>
                      <c15:f>Calculation!$M$19</c15:f>
                      <c15:dlblFieldTableCache>
                        <c:ptCount val="1"/>
                        <c:pt idx="0">
                          <c:v> 1448k </c:v>
                        </c:pt>
                      </c15:dlblFieldTableCache>
                    </c15:dlblFTEntry>
                  </c15:dlblFieldTable>
                  <c15:showDataLabelsRange val="0"/>
                </c:ext>
                <c:ext xmlns:c16="http://schemas.microsoft.com/office/drawing/2014/chart" uri="{C3380CC4-5D6E-409C-BE32-E72D297353CC}">
                  <c16:uniqueId val="{00000012-B79B-4E82-B06E-25A82A9E2C56}"/>
                </c:ext>
              </c:extLst>
            </c:dLbl>
            <c:dLbl>
              <c:idx val="11"/>
              <c:layout>
                <c:manualLayout>
                  <c:x val="1.7076109582266231E-3"/>
                  <c:y val="-0.14752906731253199"/>
                </c:manualLayout>
              </c:layout>
              <c:tx>
                <c:strRef>
                  <c:f>Calculation!$N$19</c:f>
                  <c:strCache>
                    <c:ptCount val="1"/>
                    <c:pt idx="0">
                      <c:v> 1651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F25F3708-8F43-4FEB-B04E-25CF4F961199}</c15:txfldGUID>
                      <c15:f>Calculation!$N$19</c15:f>
                      <c15:dlblFieldTableCache>
                        <c:ptCount val="1"/>
                        <c:pt idx="0">
                          <c:v> 1651k </c:v>
                        </c:pt>
                      </c15:dlblFieldTableCache>
                    </c15:dlblFTEntry>
                  </c15:dlblFieldTable>
                  <c15:showDataLabelsRange val="0"/>
                </c:ext>
                <c:ext xmlns:c16="http://schemas.microsoft.com/office/drawing/2014/chart" uri="{C3380CC4-5D6E-409C-BE32-E72D297353CC}">
                  <c16:uniqueId val="{00000013-B79B-4E82-B06E-25A82A9E2C56}"/>
                </c:ext>
              </c:extLst>
            </c:dLbl>
            <c:dLbl>
              <c:idx val="12"/>
              <c:layout>
                <c:manualLayout>
                  <c:x val="-1.029469591947639E-3"/>
                  <c:y val="-0.16885241540753357"/>
                </c:manualLayout>
              </c:layout>
              <c:tx>
                <c:strRef>
                  <c:f>Calculation!$O$19</c:f>
                  <c:strCache>
                    <c:ptCount val="1"/>
                    <c:pt idx="0">
                      <c:v> 1919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DB35D7EE-5BEF-480A-9A81-098E093AE697}</c15:txfldGUID>
                      <c15:f>Calculation!$O$19</c15:f>
                      <c15:dlblFieldTableCache>
                        <c:ptCount val="1"/>
                        <c:pt idx="0">
                          <c:v> 1919k </c:v>
                        </c:pt>
                      </c15:dlblFieldTableCache>
                    </c15:dlblFTEntry>
                  </c15:dlblFieldTable>
                  <c15:showDataLabelsRange val="0"/>
                </c:ext>
                <c:ext xmlns:c16="http://schemas.microsoft.com/office/drawing/2014/chart" uri="{C3380CC4-5D6E-409C-BE32-E72D297353CC}">
                  <c16:uniqueId val="{00000014-B79B-4E82-B06E-25A82A9E2C56}"/>
                </c:ext>
              </c:extLst>
            </c:dLbl>
            <c:dLbl>
              <c:idx val="13"/>
              <c:layout>
                <c:manualLayout>
                  <c:x val="-1.006594311910013E-3"/>
                  <c:y val="-0.16901751301357601"/>
                </c:manualLayout>
              </c:layout>
              <c:tx>
                <c:strRef>
                  <c:f>Calculation!$P$19</c:f>
                  <c:strCache>
                    <c:ptCount val="1"/>
                    <c:pt idx="0">
                      <c:v> 2008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13B76DC0-74FB-4D53-86D4-FB58DC695FBF}</c15:txfldGUID>
                      <c15:f>Calculation!$P$19</c15:f>
                      <c15:dlblFieldTableCache>
                        <c:ptCount val="1"/>
                        <c:pt idx="0">
                          <c:v> 2008k </c:v>
                        </c:pt>
                      </c15:dlblFieldTableCache>
                    </c15:dlblFTEntry>
                  </c15:dlblFieldTable>
                  <c15:showDataLabelsRange val="0"/>
                </c:ext>
                <c:ext xmlns:c16="http://schemas.microsoft.com/office/drawing/2014/chart" uri="{C3380CC4-5D6E-409C-BE32-E72D297353CC}">
                  <c16:uniqueId val="{00000015-B79B-4E82-B06E-25A82A9E2C56}"/>
                </c:ext>
              </c:extLst>
            </c:dLbl>
            <c:dLbl>
              <c:idx val="14"/>
              <c:layout>
                <c:manualLayout>
                  <c:x val="-1.6833418439213903E-3"/>
                  <c:y val="-0.20901652496140691"/>
                </c:manualLayout>
              </c:layout>
              <c:tx>
                <c:strRef>
                  <c:f>Calculation!$Q$19</c:f>
                  <c:strCache>
                    <c:ptCount val="1"/>
                    <c:pt idx="0">
                      <c:v> 2492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96D7E96B-31C4-41EA-AFC4-F4183D924A4E}</c15:txfldGUID>
                      <c15:f>Calculation!$Q$19</c15:f>
                      <c15:dlblFieldTableCache>
                        <c:ptCount val="1"/>
                        <c:pt idx="0">
                          <c:v> 2492k </c:v>
                        </c:pt>
                      </c15:dlblFieldTableCache>
                    </c15:dlblFTEntry>
                  </c15:dlblFieldTable>
                  <c15:showDataLabelsRange val="0"/>
                </c:ext>
                <c:ext xmlns:c16="http://schemas.microsoft.com/office/drawing/2014/chart" uri="{C3380CC4-5D6E-409C-BE32-E72D297353CC}">
                  <c16:uniqueId val="{00000016-B79B-4E82-B06E-25A82A9E2C56}"/>
                </c:ext>
              </c:extLst>
            </c:dLbl>
            <c:dLbl>
              <c:idx val="15"/>
              <c:layout>
                <c:manualLayout>
                  <c:x val="2.1236294919588119E-3"/>
                  <c:y val="-0.31127506865695842"/>
                </c:manualLayout>
              </c:layout>
              <c:tx>
                <c:strRef>
                  <c:f>Calculation!$R$19</c:f>
                  <c:strCache>
                    <c:ptCount val="1"/>
                    <c:pt idx="0">
                      <c:v> 3582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6B191B5A-B0C4-4964-9574-8AC68D53D75A}</c15:txfldGUID>
                      <c15:f>Calculation!$R$19</c15:f>
                      <c15:dlblFieldTableCache>
                        <c:ptCount val="1"/>
                        <c:pt idx="0">
                          <c:v> 3582k </c:v>
                        </c:pt>
                      </c15:dlblFieldTableCache>
                    </c15:dlblFTEntry>
                  </c15:dlblFieldTable>
                  <c15:showDataLabelsRange val="0"/>
                </c:ext>
                <c:ext xmlns:c16="http://schemas.microsoft.com/office/drawing/2014/chart" uri="{C3380CC4-5D6E-409C-BE32-E72D297353CC}">
                  <c16:uniqueId val="{00000017-B79B-4E82-B06E-25A82A9E2C56}"/>
                </c:ext>
              </c:extLst>
            </c:dLbl>
            <c:dLbl>
              <c:idx val="16"/>
              <c:layout>
                <c:manualLayout>
                  <c:x val="-3.4681876186193954E-5"/>
                  <c:y val="-0.14064141475558797"/>
                </c:manualLayout>
              </c:layout>
              <c:tx>
                <c:strRef>
                  <c:f>Calculation!$S$19</c:f>
                  <c:strCache>
                    <c:ptCount val="1"/>
                    <c:pt idx="0">
                      <c:v> 1620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EEEAFEFD-79E6-4C96-9578-C4183FD5A80B}</c15:txfldGUID>
                      <c15:f>Calculation!$S$19</c15:f>
                      <c15:dlblFieldTableCache>
                        <c:ptCount val="1"/>
                        <c:pt idx="0">
                          <c:v> 1620k </c:v>
                        </c:pt>
                      </c15:dlblFieldTableCache>
                    </c15:dlblFTEntry>
                  </c15:dlblFieldTable>
                  <c15:showDataLabelsRange val="0"/>
                </c:ext>
                <c:ext xmlns:c16="http://schemas.microsoft.com/office/drawing/2014/chart" uri="{C3380CC4-5D6E-409C-BE32-E72D297353CC}">
                  <c16:uniqueId val="{00000018-B79B-4E82-B06E-25A82A9E2C56}"/>
                </c:ext>
              </c:extLst>
            </c:dLbl>
            <c:dLbl>
              <c:idx val="17"/>
              <c:layout>
                <c:manualLayout>
                  <c:x val="-1.0283217284333551E-3"/>
                  <c:y val="-0.14455055449149937"/>
                </c:manualLayout>
              </c:layout>
              <c:tx>
                <c:strRef>
                  <c:f>Calculation!$T$19</c:f>
                  <c:strCache>
                    <c:ptCount val="1"/>
                    <c:pt idx="0">
                      <c:v> 1543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1A5D3099-7617-441B-8B8A-AAC290D0E48A}</c15:txfldGUID>
                      <c15:f>Calculation!$T$19</c15:f>
                      <c15:dlblFieldTableCache>
                        <c:ptCount val="1"/>
                        <c:pt idx="0">
                          <c:v> 1543k </c:v>
                        </c:pt>
                      </c15:dlblFieldTableCache>
                    </c15:dlblFTEntry>
                  </c15:dlblFieldTable>
                  <c15:showDataLabelsRange val="0"/>
                </c:ext>
                <c:ext xmlns:c16="http://schemas.microsoft.com/office/drawing/2014/chart" uri="{C3380CC4-5D6E-409C-BE32-E72D297353CC}">
                  <c16:uniqueId val="{00000019-B79B-4E82-B06E-25A82A9E2C56}"/>
                </c:ext>
              </c:extLst>
            </c:dLbl>
            <c:dLbl>
              <c:idx val="18"/>
              <c:layout>
                <c:manualLayout>
                  <c:x val="-1.0494752131992497E-4"/>
                  <c:y val="-0.13159398149555629"/>
                </c:manualLayout>
              </c:layout>
              <c:tx>
                <c:strRef>
                  <c:f>Calculation!$U$19</c:f>
                  <c:strCache>
                    <c:ptCount val="1"/>
                    <c:pt idx="0">
                      <c:v> 1496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47A93F6E-3F55-450F-8F5A-9C9C833F475F}</c15:txfldGUID>
                      <c15:f>Calculation!$U$19</c15:f>
                      <c15:dlblFieldTableCache>
                        <c:ptCount val="1"/>
                        <c:pt idx="0">
                          <c:v> 1496k </c:v>
                        </c:pt>
                      </c15:dlblFieldTableCache>
                    </c15:dlblFTEntry>
                  </c15:dlblFieldTable>
                  <c15:showDataLabelsRange val="0"/>
                </c:ext>
                <c:ext xmlns:c16="http://schemas.microsoft.com/office/drawing/2014/chart" uri="{C3380CC4-5D6E-409C-BE32-E72D297353CC}">
                  <c16:uniqueId val="{0000001A-B79B-4E82-B06E-25A82A9E2C56}"/>
                </c:ext>
              </c:extLst>
            </c:dLbl>
            <c:dLbl>
              <c:idx val="19"/>
              <c:layout>
                <c:manualLayout>
                  <c:x val="2.2793289786518488E-5"/>
                  <c:y val="-0.16788188638582344"/>
                </c:manualLayout>
              </c:layout>
              <c:tx>
                <c:strRef>
                  <c:f>Calculation!$V$19</c:f>
                  <c:strCache>
                    <c:ptCount val="1"/>
                    <c:pt idx="0">
                      <c:v> 1903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7ED62075-891F-4535-853D-70C188E5984B}</c15:txfldGUID>
                      <c15:f>Calculation!$V$19</c15:f>
                      <c15:dlblFieldTableCache>
                        <c:ptCount val="1"/>
                        <c:pt idx="0">
                          <c:v> 1903k </c:v>
                        </c:pt>
                      </c15:dlblFieldTableCache>
                    </c15:dlblFTEntry>
                  </c15:dlblFieldTable>
                  <c15:showDataLabelsRange val="0"/>
                </c:ext>
                <c:ext xmlns:c16="http://schemas.microsoft.com/office/drawing/2014/chart" uri="{C3380CC4-5D6E-409C-BE32-E72D297353CC}">
                  <c16:uniqueId val="{0000001B-B79B-4E82-B06E-25A82A9E2C56}"/>
                </c:ext>
              </c:extLst>
            </c:dLbl>
            <c:dLbl>
              <c:idx val="20"/>
              <c:layout>
                <c:manualLayout>
                  <c:x val="-2.0715656825542345E-3"/>
                  <c:y val="-0.17588700905630039"/>
                </c:manualLayout>
              </c:layout>
              <c:tx>
                <c:strRef>
                  <c:f>Calculation!$W$19</c:f>
                  <c:strCache>
                    <c:ptCount val="1"/>
                    <c:pt idx="0">
                      <c:v> 2014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CC503085-4E95-4800-9FD4-D2E7F1C4A746}</c15:txfldGUID>
                      <c15:f>Calculation!$W$19</c15:f>
                      <c15:dlblFieldTableCache>
                        <c:ptCount val="1"/>
                        <c:pt idx="0">
                          <c:v> 2014k </c:v>
                        </c:pt>
                      </c15:dlblFieldTableCache>
                    </c15:dlblFTEntry>
                  </c15:dlblFieldTable>
                  <c15:showDataLabelsRange val="0"/>
                </c:ext>
                <c:ext xmlns:c16="http://schemas.microsoft.com/office/drawing/2014/chart" uri="{C3380CC4-5D6E-409C-BE32-E72D297353CC}">
                  <c16:uniqueId val="{0000001C-B79B-4E82-B06E-25A82A9E2C56}"/>
                </c:ext>
              </c:extLst>
            </c:dLbl>
            <c:dLbl>
              <c:idx val="21"/>
              <c:layout>
                <c:manualLayout>
                  <c:x val="-2.0416392409276967E-3"/>
                  <c:y val="-0.1530091677729474"/>
                </c:manualLayout>
              </c:layout>
              <c:tx>
                <c:strRef>
                  <c:f>Calculation!$X$19</c:f>
                  <c:strCache>
                    <c:ptCount val="1"/>
                    <c:pt idx="0">
                      <c:v> 1693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D77F6C5A-6C49-4AA7-A555-AD2BC9A5A9EB}</c15:txfldGUID>
                      <c15:f>Calculation!$X$19</c15:f>
                      <c15:dlblFieldTableCache>
                        <c:ptCount val="1"/>
                        <c:pt idx="0">
                          <c:v> 1693k </c:v>
                        </c:pt>
                      </c15:dlblFieldTableCache>
                    </c15:dlblFTEntry>
                  </c15:dlblFieldTable>
                  <c15:showDataLabelsRange val="0"/>
                </c:ext>
                <c:ext xmlns:c16="http://schemas.microsoft.com/office/drawing/2014/chart" uri="{C3380CC4-5D6E-409C-BE32-E72D297353CC}">
                  <c16:uniqueId val="{0000001D-B79B-4E82-B06E-25A82A9E2C56}"/>
                </c:ext>
              </c:extLst>
            </c:dLbl>
            <c:dLbl>
              <c:idx val="22"/>
              <c:layout>
                <c:manualLayout>
                  <c:x val="-2.1000162996619048E-3"/>
                  <c:y val="-0.20865740599992569"/>
                </c:manualLayout>
              </c:layout>
              <c:tx>
                <c:strRef>
                  <c:f>Calculation!$Y$19</c:f>
                  <c:strCache>
                    <c:ptCount val="1"/>
                    <c:pt idx="0">
                      <c:v> 2004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44419B91-BF46-44F0-856B-742155590DD7}</c15:txfldGUID>
                      <c15:f>Calculation!$Y$19</c15:f>
                      <c15:dlblFieldTableCache>
                        <c:ptCount val="1"/>
                        <c:pt idx="0">
                          <c:v> 2004k </c:v>
                        </c:pt>
                      </c15:dlblFieldTableCache>
                    </c15:dlblFTEntry>
                  </c15:dlblFieldTable>
                  <c15:showDataLabelsRange val="0"/>
                </c:ext>
                <c:ext xmlns:c16="http://schemas.microsoft.com/office/drawing/2014/chart" uri="{C3380CC4-5D6E-409C-BE32-E72D297353CC}">
                  <c16:uniqueId val="{0000001E-B79B-4E82-B06E-25A82A9E2C56}"/>
                </c:ext>
              </c:extLst>
            </c:dLbl>
            <c:dLbl>
              <c:idx val="23"/>
              <c:layout>
                <c:manualLayout>
                  <c:x val="5.2738889756814012E-5"/>
                  <c:y val="-0.20760031685228536"/>
                </c:manualLayout>
              </c:layout>
              <c:tx>
                <c:strRef>
                  <c:f>Calculation!$Z$19</c:f>
                  <c:strCache>
                    <c:ptCount val="1"/>
                    <c:pt idx="0">
                      <c:v> 2116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BF9869FA-55AC-46A4-A9B0-2483C69B631D}</c15:txfldGUID>
                      <c15:f>Calculation!$Z$19</c15:f>
                      <c15:dlblFieldTableCache>
                        <c:ptCount val="1"/>
                        <c:pt idx="0">
                          <c:v> 2116k </c:v>
                        </c:pt>
                      </c15:dlblFieldTableCache>
                    </c15:dlblFTEntry>
                  </c15:dlblFieldTable>
                  <c15:showDataLabelsRange val="0"/>
                </c:ext>
                <c:ext xmlns:c16="http://schemas.microsoft.com/office/drawing/2014/chart" uri="{C3380CC4-5D6E-409C-BE32-E72D297353CC}">
                  <c16:uniqueId val="{0000001F-B79B-4E82-B06E-25A82A9E2C5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alculation!$C$7:$Z$7</c:f>
              <c:numCache>
                <c:formatCode>mmm\-yy</c:formatCode>
                <c:ptCount val="24"/>
                <c:pt idx="0">
                  <c:v>45413</c:v>
                </c:pt>
                <c:pt idx="1">
                  <c:v>45444</c:v>
                </c:pt>
                <c:pt idx="2">
                  <c:v>45474</c:v>
                </c:pt>
                <c:pt idx="3">
                  <c:v>45505</c:v>
                </c:pt>
                <c:pt idx="4">
                  <c:v>45536</c:v>
                </c:pt>
                <c:pt idx="5">
                  <c:v>45566</c:v>
                </c:pt>
                <c:pt idx="6">
                  <c:v>45597</c:v>
                </c:pt>
                <c:pt idx="7">
                  <c:v>45627</c:v>
                </c:pt>
                <c:pt idx="8">
                  <c:v>45658</c:v>
                </c:pt>
                <c:pt idx="9">
                  <c:v>45689</c:v>
                </c:pt>
                <c:pt idx="10">
                  <c:v>45717</c:v>
                </c:pt>
                <c:pt idx="11">
                  <c:v>45748</c:v>
                </c:pt>
                <c:pt idx="12">
                  <c:v>45778</c:v>
                </c:pt>
                <c:pt idx="13">
                  <c:v>45809</c:v>
                </c:pt>
                <c:pt idx="14">
                  <c:v>45839</c:v>
                </c:pt>
                <c:pt idx="15">
                  <c:v>45870</c:v>
                </c:pt>
                <c:pt idx="16">
                  <c:v>45901</c:v>
                </c:pt>
                <c:pt idx="17">
                  <c:v>45931</c:v>
                </c:pt>
                <c:pt idx="18">
                  <c:v>45962</c:v>
                </c:pt>
                <c:pt idx="19">
                  <c:v>45992</c:v>
                </c:pt>
                <c:pt idx="20">
                  <c:v>46023</c:v>
                </c:pt>
                <c:pt idx="21">
                  <c:v>46054</c:v>
                </c:pt>
                <c:pt idx="22">
                  <c:v>46082</c:v>
                </c:pt>
                <c:pt idx="23">
                  <c:v>46113</c:v>
                </c:pt>
              </c:numCache>
            </c:numRef>
          </c:cat>
          <c:val>
            <c:numRef>
              <c:f>Calculation!$C$18:$Z$18</c:f>
              <c:numCache>
                <c:formatCode>_-* #,##0_-;\-* #,##0_-;_-* "-"??_-;_-@_-</c:formatCode>
                <c:ptCount val="24"/>
                <c:pt idx="0">
                  <c:v>269661.745</c:v>
                </c:pt>
                <c:pt idx="1">
                  <c:v>307039.99</c:v>
                </c:pt>
                <c:pt idx="2">
                  <c:v>425064.685</c:v>
                </c:pt>
                <c:pt idx="3">
                  <c:v>439582.01750000002</c:v>
                </c:pt>
                <c:pt idx="4">
                  <c:v>517832.60249999998</c:v>
                </c:pt>
                <c:pt idx="5">
                  <c:v>698792.46750000003</c:v>
                </c:pt>
                <c:pt idx="6">
                  <c:v>748175.26749999996</c:v>
                </c:pt>
                <c:pt idx="7">
                  <c:v>701559.24</c:v>
                </c:pt>
                <c:pt idx="8">
                  <c:v>983434.8</c:v>
                </c:pt>
                <c:pt idx="9">
                  <c:v>1035932.4625</c:v>
                </c:pt>
                <c:pt idx="10">
                  <c:v>1257641.385</c:v>
                </c:pt>
                <c:pt idx="11">
                  <c:v>1444211.3019999999</c:v>
                </c:pt>
                <c:pt idx="12">
                  <c:v>1687316.9210000001</c:v>
                </c:pt>
                <c:pt idx="13">
                  <c:v>1764535.7385</c:v>
                </c:pt>
                <c:pt idx="14">
                  <c:v>2215041.2204999998</c:v>
                </c:pt>
                <c:pt idx="15">
                  <c:v>3347318.923</c:v>
                </c:pt>
                <c:pt idx="16">
                  <c:v>1294492.4915</c:v>
                </c:pt>
                <c:pt idx="17">
                  <c:v>1222573.2215</c:v>
                </c:pt>
                <c:pt idx="18">
                  <c:v>1193932.51</c:v>
                </c:pt>
                <c:pt idx="19">
                  <c:v>1563363.1836000001</c:v>
                </c:pt>
                <c:pt idx="20">
                  <c:v>1678820.4070000001</c:v>
                </c:pt>
                <c:pt idx="21">
                  <c:v>1387091.8540000001</c:v>
                </c:pt>
                <c:pt idx="22">
                  <c:v>1994976.398</c:v>
                </c:pt>
                <c:pt idx="23">
                  <c:v>2116138</c:v>
                </c:pt>
              </c:numCache>
            </c:numRef>
          </c:val>
          <c:extLst>
            <c:ext xmlns:c16="http://schemas.microsoft.com/office/drawing/2014/chart" uri="{C3380CC4-5D6E-409C-BE32-E72D297353CC}">
              <c16:uniqueId val="{00000020-B79B-4E82-B06E-25A82A9E2C56}"/>
            </c:ext>
          </c:extLst>
        </c:ser>
        <c:dLbls>
          <c:showLegendKey val="0"/>
          <c:showVal val="0"/>
          <c:showCatName val="0"/>
          <c:showSerName val="0"/>
          <c:showPercent val="0"/>
          <c:showBubbleSize val="0"/>
        </c:dLbls>
        <c:gapWidth val="150"/>
        <c:overlap val="100"/>
        <c:axId val="663711744"/>
        <c:axId val="663735744"/>
      </c:barChart>
      <c:dateAx>
        <c:axId val="663711744"/>
        <c:scaling>
          <c:orientation val="minMax"/>
        </c:scaling>
        <c:delete val="0"/>
        <c:axPos val="b"/>
        <c:numFmt formatCode="mmm\-yy" sourceLinked="1"/>
        <c:majorTickMark val="out"/>
        <c:minorTickMark val="none"/>
        <c:tickLblPos val="nextTo"/>
        <c:spPr>
          <a:noFill/>
          <a:ln w="19050"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63735744"/>
        <c:crosses val="autoZero"/>
        <c:auto val="1"/>
        <c:lblOffset val="100"/>
        <c:baseTimeUnit val="months"/>
      </c:dateAx>
      <c:valAx>
        <c:axId val="663735744"/>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US" sz="1000" b="0" i="0" u="none" strike="noStrike" kern="1200" spc="50" baseline="0">
                    <a:solidFill>
                      <a:srgbClr val="606B71"/>
                    </a:solidFill>
                    <a:effectLst/>
                  </a:rPr>
                  <a:t>Units (number of </a:t>
                </a:r>
                <a:r>
                  <a:rPr lang="en-US" sz="1000" b="0" i="0" u="none" strike="noStrike" kern="1200" spc="50" baseline="0">
                    <a:solidFill>
                      <a:srgbClr val="606B71"/>
                    </a:solidFill>
                    <a:effectLst/>
                    <a:latin typeface="Arial" panose="020B0604020202020204" pitchFamily="34" charset="0"/>
                    <a:cs typeface="Arial" panose="020B0604020202020204" pitchFamily="34" charset="0"/>
                  </a:rPr>
                  <a:t>packs</a:t>
                </a:r>
                <a:r>
                  <a:rPr lang="en-US" sz="1000" b="0" i="0" u="none" strike="noStrike" kern="1200" spc="50" baseline="0">
                    <a:solidFill>
                      <a:srgbClr val="606B71"/>
                    </a:solidFill>
                    <a:effectLst/>
                  </a:rPr>
                  <a:t>/items dispensed)</a:t>
                </a:r>
                <a:endParaRPr lang="en-US" sz="800" b="0" i="0" u="none" strike="noStrike" kern="1200" spc="50" baseline="0">
                  <a:solidFill>
                    <a:srgbClr val="606B71"/>
                  </a:solidFill>
                  <a:effectLst/>
                </a:endParaRP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_-* #,##0_-;\-* #,##0_-;_-* &quot;-&quot;??_-;_-@_-" sourceLinked="1"/>
        <c:majorTickMark val="none"/>
        <c:minorTickMark val="none"/>
        <c:tickLblPos val="nextTo"/>
        <c:spPr>
          <a:noFill/>
          <a:ln w="22225">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63711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Form</a:t>
            </a:r>
          </a:p>
          <a:p>
            <a:pPr>
              <a:defRPr/>
            </a:pPr>
            <a:r>
              <a:rPr lang="en-US"/>
              <a:t>N=205</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Mode of Administration
N=205</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080-4E40-A4F0-5769AAC49E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3080-4E40-A4F0-5769AAC49E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3080-4E40-A4F0-5769AAC49E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6-3080-4E40-A4F0-5769AAC49E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5-3080-4E40-A4F0-5769AAC49E9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4-3080-4E40-A4F0-5769AAC49E91}"/>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1-9D5B-4B89-BC86-EDBCA785BE16}"/>
              </c:ext>
            </c:extLst>
          </c:dPt>
          <c:dLbls>
            <c:dLbl>
              <c:idx val="0"/>
              <c:layout>
                <c:manualLayout>
                  <c:x val="7.0144663703283474E-3"/>
                  <c:y val="-2.2914431513477902E-2"/>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080-4E40-A4F0-5769AAC49E91}"/>
                </c:ext>
              </c:extLst>
            </c:dLbl>
            <c:dLbl>
              <c:idx val="1"/>
              <c:layout>
                <c:manualLayout>
                  <c:x val="3.5072331851642379E-3"/>
                  <c:y val="0"/>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080-4E40-A4F0-5769AAC49E91}"/>
                </c:ext>
              </c:extLst>
            </c:dLbl>
            <c:dLbl>
              <c:idx val="2"/>
              <c:layout>
                <c:manualLayout>
                  <c:x val="-0.30863652029445293"/>
                  <c:y val="2.8643039391847328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080-4E40-A4F0-5769AAC49E91}"/>
                </c:ext>
              </c:extLst>
            </c:dLbl>
            <c:dLbl>
              <c:idx val="3"/>
              <c:layout>
                <c:manualLayout>
                  <c:x val="-0.3612450180719165"/>
                  <c:y val="-0.143215196959236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080-4E40-A4F0-5769AAC49E91}"/>
                </c:ext>
              </c:extLst>
            </c:dLbl>
            <c:dLbl>
              <c:idx val="4"/>
              <c:layout>
                <c:manualLayout>
                  <c:x val="0.40129789720658543"/>
                  <c:y val="-6.3014686662064265E-2"/>
                </c:manualLayout>
              </c:layout>
              <c:showLegendKey val="0"/>
              <c:showVal val="1"/>
              <c:showCatName val="1"/>
              <c:showSerName val="0"/>
              <c:showPercent val="0"/>
              <c:showBubbleSize val="0"/>
              <c:extLst>
                <c:ext xmlns:c15="http://schemas.microsoft.com/office/drawing/2012/chart" uri="{CE6537A1-D6FC-4f65-9D91-7224C49458BB}">
                  <c15:layout>
                    <c:manualLayout>
                      <c:w val="0.24166604070378847"/>
                      <c:h val="8.7418556223918198E-2"/>
                    </c:manualLayout>
                  </c15:layout>
                </c:ext>
                <c:ext xmlns:c16="http://schemas.microsoft.com/office/drawing/2014/chart" uri="{C3380CC4-5D6E-409C-BE32-E72D297353CC}">
                  <c16:uniqueId val="{00000005-3080-4E40-A4F0-5769AAC49E91}"/>
                </c:ext>
              </c:extLst>
            </c:dLbl>
            <c:dLbl>
              <c:idx val="5"/>
              <c:layout>
                <c:manualLayout>
                  <c:x val="-8.3102371441953357E-2"/>
                  <c:y val="-0.12889367726331322"/>
                </c:manualLayout>
              </c:layout>
              <c:showLegendKey val="0"/>
              <c:showVal val="1"/>
              <c:showCatName val="1"/>
              <c:showSerName val="0"/>
              <c:showPercent val="0"/>
              <c:showBubbleSize val="0"/>
              <c:extLst>
                <c:ext xmlns:c15="http://schemas.microsoft.com/office/drawing/2012/chart" uri="{CE6537A1-D6FC-4f65-9D91-7224C49458BB}">
                  <c15:layout>
                    <c:manualLayout>
                      <c:w val="0.30125365635963558"/>
                      <c:h val="8.7418556223918198E-2"/>
                    </c:manualLayout>
                  </c15:layout>
                </c:ext>
                <c:ext xmlns:c16="http://schemas.microsoft.com/office/drawing/2014/chart" uri="{C3380CC4-5D6E-409C-BE32-E72D297353CC}">
                  <c16:uniqueId val="{00000004-3080-4E40-A4F0-5769AAC49E91}"/>
                </c:ext>
              </c:extLst>
            </c:dLbl>
            <c:dLbl>
              <c:idx val="6"/>
              <c:layout>
                <c:manualLayout>
                  <c:x val="0.25252078933182509"/>
                  <c:y val="-0.14321519695923693"/>
                </c:manualLayout>
              </c:layout>
              <c:showLegendKey val="0"/>
              <c:showVal val="1"/>
              <c:showCatName val="1"/>
              <c:showSerName val="0"/>
              <c:showPercent val="0"/>
              <c:showBubbleSize val="0"/>
              <c:extLst>
                <c:ext xmlns:c15="http://schemas.microsoft.com/office/drawing/2012/chart" uri="{CE6537A1-D6FC-4f65-9D91-7224C49458BB}">
                  <c15:layout>
                    <c:manualLayout>
                      <c:w val="0.24049097950671175"/>
                      <c:h val="8.7418556223918198E-2"/>
                    </c:manualLayout>
                  </c15:layout>
                </c:ext>
                <c:ext xmlns:c16="http://schemas.microsoft.com/office/drawing/2014/chart" uri="{C3380CC4-5D6E-409C-BE32-E72D297353CC}">
                  <c16:uniqueId val="{00000001-9D5B-4B89-BC86-EDBCA785BE1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SC</c:v>
                </c:pt>
                <c:pt idx="1">
                  <c:v>Oral</c:v>
                </c:pt>
                <c:pt idx="2">
                  <c:v>IV</c:v>
                </c:pt>
                <c:pt idx="3">
                  <c:v>IM</c:v>
                </c:pt>
                <c:pt idx="4">
                  <c:v>Topical</c:v>
                </c:pt>
                <c:pt idx="5">
                  <c:v>Intranasal </c:v>
                </c:pt>
                <c:pt idx="6">
                  <c:v>Implant</c:v>
                </c:pt>
              </c:strCache>
            </c:strRef>
          </c:cat>
          <c:val>
            <c:numRef>
              <c:f>Sheet1!$B$2:$B$8</c:f>
              <c:numCache>
                <c:formatCode>General</c:formatCode>
                <c:ptCount val="7"/>
                <c:pt idx="0">
                  <c:v>113</c:v>
                </c:pt>
                <c:pt idx="1">
                  <c:v>80</c:v>
                </c:pt>
                <c:pt idx="2">
                  <c:v>8</c:v>
                </c:pt>
                <c:pt idx="3">
                  <c:v>1</c:v>
                </c:pt>
                <c:pt idx="4">
                  <c:v>1</c:v>
                </c:pt>
                <c:pt idx="5">
                  <c:v>1</c:v>
                </c:pt>
                <c:pt idx="6">
                  <c:v>1</c:v>
                </c:pt>
              </c:numCache>
            </c:numRef>
          </c:val>
          <c:extLst>
            <c:ext xmlns:c16="http://schemas.microsoft.com/office/drawing/2014/chart" uri="{C3380CC4-5D6E-409C-BE32-E72D297353CC}">
              <c16:uniqueId val="{00000000-3080-4E40-A4F0-5769AAC49E91}"/>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95832267962158E-2"/>
          <c:y val="2.4703087885985749E-2"/>
          <c:w val="0.97340833546407568"/>
          <c:h val="0.95059382422802852"/>
        </c:manualLayout>
      </c:layout>
      <c:scatterChart>
        <c:scatterStyle val="lineMarker"/>
        <c:varyColors val="0"/>
        <c:ser>
          <c:idx val="0"/>
          <c:order val="0"/>
          <c:spPr>
            <a:ln w="19050" cmpd="sng" algn="ctr">
              <a:solidFill>
                <a:schemeClr val="accent1"/>
              </a:solidFill>
              <a:prstDash val="solid"/>
            </a:ln>
          </c:spPr>
          <c:marker>
            <c:symbol val="none"/>
          </c:marker>
          <c:xVal>
            <c:numRef>
              <c:f>Sheet1!$A$1:$P$1</c:f>
              <c:numCache>
                <c:formatCode>General</c:formatCode>
                <c:ptCount val="16"/>
                <c:pt idx="0">
                  <c:v>20392</c:v>
                </c:pt>
                <c:pt idx="1">
                  <c:v>20399</c:v>
                </c:pt>
                <c:pt idx="2">
                  <c:v>20406</c:v>
                </c:pt>
                <c:pt idx="3">
                  <c:v>20413</c:v>
                </c:pt>
                <c:pt idx="4">
                  <c:v>20420</c:v>
                </c:pt>
                <c:pt idx="5">
                  <c:v>20427</c:v>
                </c:pt>
                <c:pt idx="6">
                  <c:v>20434</c:v>
                </c:pt>
                <c:pt idx="7">
                  <c:v>20441</c:v>
                </c:pt>
                <c:pt idx="8">
                  <c:v>20448</c:v>
                </c:pt>
                <c:pt idx="9">
                  <c:v>20455</c:v>
                </c:pt>
                <c:pt idx="10">
                  <c:v>20462</c:v>
                </c:pt>
                <c:pt idx="11">
                  <c:v>20469</c:v>
                </c:pt>
                <c:pt idx="12">
                  <c:v>20476</c:v>
                </c:pt>
                <c:pt idx="13">
                  <c:v>20483</c:v>
                </c:pt>
                <c:pt idx="14">
                  <c:v>20490</c:v>
                </c:pt>
                <c:pt idx="15">
                  <c:v>20497</c:v>
                </c:pt>
              </c:numCache>
            </c:numRef>
          </c:xVal>
          <c:yVal>
            <c:numRef>
              <c:f>Sheet1!$A$2:$P$2</c:f>
              <c:numCache>
                <c:formatCode>General</c:formatCode>
                <c:ptCount val="16"/>
                <c:pt idx="0">
                  <c:v>47685</c:v>
                </c:pt>
                <c:pt idx="1">
                  <c:v>48160</c:v>
                </c:pt>
                <c:pt idx="2">
                  <c:v>48891</c:v>
                </c:pt>
                <c:pt idx="3">
                  <c:v>50399</c:v>
                </c:pt>
                <c:pt idx="4">
                  <c:v>38499</c:v>
                </c:pt>
                <c:pt idx="5">
                  <c:v>43065</c:v>
                </c:pt>
                <c:pt idx="6">
                  <c:v>47106</c:v>
                </c:pt>
                <c:pt idx="7">
                  <c:v>47213</c:v>
                </c:pt>
                <c:pt idx="8">
                  <c:v>33104</c:v>
                </c:pt>
                <c:pt idx="9">
                  <c:v>32833</c:v>
                </c:pt>
                <c:pt idx="10">
                  <c:v>46176</c:v>
                </c:pt>
                <c:pt idx="11">
                  <c:v>54402</c:v>
                </c:pt>
                <c:pt idx="12">
                  <c:v>55427</c:v>
                </c:pt>
                <c:pt idx="13">
                  <c:v>49066</c:v>
                </c:pt>
                <c:pt idx="14">
                  <c:v>54815</c:v>
                </c:pt>
                <c:pt idx="15">
                  <c:v>57223</c:v>
                </c:pt>
              </c:numCache>
            </c:numRef>
          </c:yVal>
          <c:smooth val="0"/>
          <c:extLst>
            <c:ext xmlns:c16="http://schemas.microsoft.com/office/drawing/2014/chart" uri="{C3380CC4-5D6E-409C-BE32-E72D297353CC}">
              <c16:uniqueId val="{00000000-4155-4BF9-8915-70F54F632DFD}"/>
            </c:ext>
          </c:extLst>
        </c:ser>
        <c:ser>
          <c:idx val="1"/>
          <c:order val="1"/>
          <c:spPr>
            <a:ln w="19050" cmpd="sng" algn="ctr">
              <a:solidFill>
                <a:schemeClr val="accent2"/>
              </a:solidFill>
              <a:prstDash val="solid"/>
            </a:ln>
          </c:spPr>
          <c:marker>
            <c:symbol val="none"/>
          </c:marker>
          <c:xVal>
            <c:numRef>
              <c:f>Sheet1!$A$1:$P$1</c:f>
              <c:numCache>
                <c:formatCode>General</c:formatCode>
                <c:ptCount val="16"/>
                <c:pt idx="0">
                  <c:v>20392</c:v>
                </c:pt>
                <c:pt idx="1">
                  <c:v>20399</c:v>
                </c:pt>
                <c:pt idx="2">
                  <c:v>20406</c:v>
                </c:pt>
                <c:pt idx="3">
                  <c:v>20413</c:v>
                </c:pt>
                <c:pt idx="4">
                  <c:v>20420</c:v>
                </c:pt>
                <c:pt idx="5">
                  <c:v>20427</c:v>
                </c:pt>
                <c:pt idx="6">
                  <c:v>20434</c:v>
                </c:pt>
                <c:pt idx="7">
                  <c:v>20441</c:v>
                </c:pt>
                <c:pt idx="8">
                  <c:v>20448</c:v>
                </c:pt>
                <c:pt idx="9">
                  <c:v>20455</c:v>
                </c:pt>
                <c:pt idx="10">
                  <c:v>20462</c:v>
                </c:pt>
                <c:pt idx="11">
                  <c:v>20469</c:v>
                </c:pt>
                <c:pt idx="12">
                  <c:v>20476</c:v>
                </c:pt>
                <c:pt idx="13">
                  <c:v>20483</c:v>
                </c:pt>
                <c:pt idx="14">
                  <c:v>20490</c:v>
                </c:pt>
                <c:pt idx="15">
                  <c:v>20497</c:v>
                </c:pt>
              </c:numCache>
            </c:numRef>
          </c:xVal>
          <c:yVal>
            <c:numRef>
              <c:f>Sheet1!$A$3:$P$3</c:f>
              <c:numCache>
                <c:formatCode>General</c:formatCode>
                <c:ptCount val="16"/>
                <c:pt idx="0">
                  <c:v>55976</c:v>
                </c:pt>
                <c:pt idx="1">
                  <c:v>59080</c:v>
                </c:pt>
                <c:pt idx="2">
                  <c:v>53116</c:v>
                </c:pt>
                <c:pt idx="3">
                  <c:v>52995</c:v>
                </c:pt>
                <c:pt idx="4">
                  <c:v>40024</c:v>
                </c:pt>
                <c:pt idx="5">
                  <c:v>46135</c:v>
                </c:pt>
                <c:pt idx="6">
                  <c:v>50064</c:v>
                </c:pt>
                <c:pt idx="7">
                  <c:v>49333</c:v>
                </c:pt>
                <c:pt idx="8">
                  <c:v>36115</c:v>
                </c:pt>
                <c:pt idx="9">
                  <c:v>39577</c:v>
                </c:pt>
                <c:pt idx="10">
                  <c:v>56185</c:v>
                </c:pt>
                <c:pt idx="11">
                  <c:v>61387</c:v>
                </c:pt>
                <c:pt idx="12">
                  <c:v>61617</c:v>
                </c:pt>
                <c:pt idx="13">
                  <c:v>60679</c:v>
                </c:pt>
                <c:pt idx="14">
                  <c:v>70027</c:v>
                </c:pt>
                <c:pt idx="15">
                  <c:v>69801</c:v>
                </c:pt>
              </c:numCache>
            </c:numRef>
          </c:yVal>
          <c:smooth val="0"/>
          <c:extLst>
            <c:ext xmlns:c16="http://schemas.microsoft.com/office/drawing/2014/chart" uri="{C3380CC4-5D6E-409C-BE32-E72D297353CC}">
              <c16:uniqueId val="{00000001-4155-4BF9-8915-70F54F632DFD}"/>
            </c:ext>
          </c:extLst>
        </c:ser>
        <c:ser>
          <c:idx val="2"/>
          <c:order val="2"/>
          <c:spPr>
            <a:ln w="19050" cmpd="sng" algn="ctr">
              <a:solidFill>
                <a:schemeClr val="accent3"/>
              </a:solidFill>
              <a:prstDash val="solid"/>
            </a:ln>
          </c:spPr>
          <c:marker>
            <c:symbol val="none"/>
          </c:marker>
          <c:xVal>
            <c:numRef>
              <c:f>Sheet1!$A$1:$P$1</c:f>
              <c:numCache>
                <c:formatCode>General</c:formatCode>
                <c:ptCount val="16"/>
                <c:pt idx="0">
                  <c:v>20392</c:v>
                </c:pt>
                <c:pt idx="1">
                  <c:v>20399</c:v>
                </c:pt>
                <c:pt idx="2">
                  <c:v>20406</c:v>
                </c:pt>
                <c:pt idx="3">
                  <c:v>20413</c:v>
                </c:pt>
                <c:pt idx="4">
                  <c:v>20420</c:v>
                </c:pt>
                <c:pt idx="5">
                  <c:v>20427</c:v>
                </c:pt>
                <c:pt idx="6">
                  <c:v>20434</c:v>
                </c:pt>
                <c:pt idx="7">
                  <c:v>20441</c:v>
                </c:pt>
                <c:pt idx="8">
                  <c:v>20448</c:v>
                </c:pt>
                <c:pt idx="9">
                  <c:v>20455</c:v>
                </c:pt>
                <c:pt idx="10">
                  <c:v>20462</c:v>
                </c:pt>
                <c:pt idx="11">
                  <c:v>20469</c:v>
                </c:pt>
                <c:pt idx="12">
                  <c:v>20476</c:v>
                </c:pt>
                <c:pt idx="13">
                  <c:v>20483</c:v>
                </c:pt>
                <c:pt idx="14">
                  <c:v>20490</c:v>
                </c:pt>
                <c:pt idx="15">
                  <c:v>20497</c:v>
                </c:pt>
              </c:numCache>
            </c:numRef>
          </c:xVal>
          <c:yVal>
            <c:numRef>
              <c:f>Sheet1!$A$4:$P$4</c:f>
              <c:numCache>
                <c:formatCode>General</c:formatCode>
                <c:ptCount val="16"/>
                <c:pt idx="0">
                  <c:v>29146</c:v>
                </c:pt>
                <c:pt idx="1">
                  <c:v>29939</c:v>
                </c:pt>
                <c:pt idx="2">
                  <c:v>29056</c:v>
                </c:pt>
                <c:pt idx="3">
                  <c:v>30625</c:v>
                </c:pt>
                <c:pt idx="4">
                  <c:v>23298</c:v>
                </c:pt>
                <c:pt idx="5">
                  <c:v>27155</c:v>
                </c:pt>
                <c:pt idx="6">
                  <c:v>29379</c:v>
                </c:pt>
                <c:pt idx="7">
                  <c:v>29522</c:v>
                </c:pt>
                <c:pt idx="8">
                  <c:v>19160</c:v>
                </c:pt>
                <c:pt idx="9">
                  <c:v>20596</c:v>
                </c:pt>
                <c:pt idx="10">
                  <c:v>31167</c:v>
                </c:pt>
                <c:pt idx="11">
                  <c:v>36183</c:v>
                </c:pt>
                <c:pt idx="12">
                  <c:v>35385</c:v>
                </c:pt>
                <c:pt idx="13">
                  <c:v>31122</c:v>
                </c:pt>
                <c:pt idx="14">
                  <c:v>34542</c:v>
                </c:pt>
                <c:pt idx="15">
                  <c:v>37345</c:v>
                </c:pt>
              </c:numCache>
            </c:numRef>
          </c:yVal>
          <c:smooth val="0"/>
          <c:extLst>
            <c:ext xmlns:c16="http://schemas.microsoft.com/office/drawing/2014/chart" uri="{C3380CC4-5D6E-409C-BE32-E72D297353CC}">
              <c16:uniqueId val="{00000002-4155-4BF9-8915-70F54F632DFD}"/>
            </c:ext>
          </c:extLst>
        </c:ser>
        <c:ser>
          <c:idx val="3"/>
          <c:order val="3"/>
          <c:spPr>
            <a:ln w="38100" cmpd="sng" algn="ctr">
              <a:solidFill>
                <a:srgbClr val="C30C3E"/>
              </a:solidFill>
              <a:prstDash val="solid"/>
            </a:ln>
          </c:spPr>
          <c:marker>
            <c:symbol val="none"/>
          </c:marker>
          <c:xVal>
            <c:numRef>
              <c:f>Sheet1!$A$1:$P$1</c:f>
              <c:numCache>
                <c:formatCode>General</c:formatCode>
                <c:ptCount val="16"/>
                <c:pt idx="0">
                  <c:v>20392</c:v>
                </c:pt>
                <c:pt idx="1">
                  <c:v>20399</c:v>
                </c:pt>
                <c:pt idx="2">
                  <c:v>20406</c:v>
                </c:pt>
                <c:pt idx="3">
                  <c:v>20413</c:v>
                </c:pt>
                <c:pt idx="4">
                  <c:v>20420</c:v>
                </c:pt>
                <c:pt idx="5">
                  <c:v>20427</c:v>
                </c:pt>
                <c:pt idx="6">
                  <c:v>20434</c:v>
                </c:pt>
                <c:pt idx="7">
                  <c:v>20441</c:v>
                </c:pt>
                <c:pt idx="8">
                  <c:v>20448</c:v>
                </c:pt>
                <c:pt idx="9">
                  <c:v>20455</c:v>
                </c:pt>
                <c:pt idx="10">
                  <c:v>20462</c:v>
                </c:pt>
                <c:pt idx="11">
                  <c:v>20469</c:v>
                </c:pt>
                <c:pt idx="12">
                  <c:v>20476</c:v>
                </c:pt>
                <c:pt idx="13">
                  <c:v>20483</c:v>
                </c:pt>
                <c:pt idx="14">
                  <c:v>20490</c:v>
                </c:pt>
                <c:pt idx="15">
                  <c:v>20497</c:v>
                </c:pt>
              </c:numCache>
            </c:numRef>
          </c:xVal>
          <c:yVal>
            <c:numRef>
              <c:f>Sheet1!$A$5:$P$5</c:f>
              <c:numCache>
                <c:formatCode>General</c:formatCode>
                <c:ptCount val="16"/>
                <c:pt idx="0">
                  <c:v>22441</c:v>
                </c:pt>
                <c:pt idx="1">
                  <c:v>22365</c:v>
                </c:pt>
                <c:pt idx="2">
                  <c:v>21303</c:v>
                </c:pt>
                <c:pt idx="3">
                  <c:v>25947</c:v>
                </c:pt>
                <c:pt idx="4">
                  <c:v>21475</c:v>
                </c:pt>
                <c:pt idx="5">
                  <c:v>24319</c:v>
                </c:pt>
                <c:pt idx="6">
                  <c:v>25290</c:v>
                </c:pt>
                <c:pt idx="7">
                  <c:v>25464</c:v>
                </c:pt>
                <c:pt idx="8">
                  <c:v>17786</c:v>
                </c:pt>
                <c:pt idx="9">
                  <c:v>19383</c:v>
                </c:pt>
                <c:pt idx="10">
                  <c:v>28665</c:v>
                </c:pt>
                <c:pt idx="11">
                  <c:v>45852</c:v>
                </c:pt>
                <c:pt idx="12">
                  <c:v>52623</c:v>
                </c:pt>
                <c:pt idx="13">
                  <c:v>52423</c:v>
                </c:pt>
                <c:pt idx="14">
                  <c:v>60502</c:v>
                </c:pt>
                <c:pt idx="15">
                  <c:v>76698</c:v>
                </c:pt>
              </c:numCache>
            </c:numRef>
          </c:yVal>
          <c:smooth val="0"/>
          <c:extLst>
            <c:ext xmlns:c16="http://schemas.microsoft.com/office/drawing/2014/chart" uri="{C3380CC4-5D6E-409C-BE32-E72D297353CC}">
              <c16:uniqueId val="{00000003-4155-4BF9-8915-70F54F632DFD}"/>
            </c:ext>
          </c:extLst>
        </c:ser>
        <c:dLbls>
          <c:showLegendKey val="0"/>
          <c:showVal val="0"/>
          <c:showCatName val="0"/>
          <c:showSerName val="0"/>
          <c:showPercent val="0"/>
          <c:showBubbleSize val="0"/>
        </c:dLbls>
        <c:axId val="4"/>
        <c:axId val="5"/>
      </c:scatterChart>
      <c:valAx>
        <c:axId val="4"/>
        <c:scaling>
          <c:orientation val="minMax"/>
          <c:max val="20501"/>
          <c:min val="20392"/>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8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4"/>
        <c:crosses val="min"/>
        <c:crossBetween val="midCat"/>
        <c:majorUnit val="1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dirty="0"/>
              <a:t>Items Dispensed per Active Pharmacy</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7.3651896888449003E-2"/>
          <c:y val="0.1149080944126"/>
          <c:w val="0.8632179057785947"/>
          <c:h val="0.81929451433131106"/>
        </c:manualLayout>
      </c:layout>
      <c:barChart>
        <c:barDir val="col"/>
        <c:grouping val="clustered"/>
        <c:varyColors val="0"/>
        <c:ser>
          <c:idx val="0"/>
          <c:order val="0"/>
          <c:tx>
            <c:strRef>
              <c:f>Sheet1!$B$1</c:f>
              <c:strCache>
                <c:ptCount val="1"/>
                <c:pt idx="0">
                  <c:v>Items Diepensed per Store</c:v>
                </c:pt>
              </c:strCache>
            </c:strRef>
          </c:tx>
          <c:spPr>
            <a:solidFill>
              <a:srgbClr val="959CA0"/>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9758-48C8-A45E-21FDC8E1AAD8}"/>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03-9758-48C8-A45E-21FDC8E1AAD8}"/>
              </c:ext>
            </c:extLst>
          </c:dPt>
          <c:dPt>
            <c:idx val="24"/>
            <c:invertIfNegative val="0"/>
            <c:bubble3D val="0"/>
            <c:spPr>
              <a:solidFill>
                <a:schemeClr val="accent3"/>
              </a:solidFill>
              <a:ln>
                <a:noFill/>
              </a:ln>
              <a:effectLst/>
            </c:spPr>
            <c:extLst>
              <c:ext xmlns:c16="http://schemas.microsoft.com/office/drawing/2014/chart" uri="{C3380CC4-5D6E-409C-BE32-E72D297353CC}">
                <c16:uniqueId val="{00000005-9758-48C8-A45E-21FDC8E1AAD8}"/>
              </c:ext>
            </c:extLst>
          </c:dPt>
          <c:dPt>
            <c:idx val="36"/>
            <c:invertIfNegative val="0"/>
            <c:bubble3D val="0"/>
            <c:spPr>
              <a:solidFill>
                <a:schemeClr val="accent3"/>
              </a:solidFill>
              <a:ln>
                <a:noFill/>
              </a:ln>
              <a:effectLst/>
            </c:spPr>
            <c:extLst>
              <c:ext xmlns:c16="http://schemas.microsoft.com/office/drawing/2014/chart" uri="{C3380CC4-5D6E-409C-BE32-E72D297353CC}">
                <c16:uniqueId val="{00000007-9758-48C8-A45E-21FDC8E1AAD8}"/>
              </c:ext>
            </c:extLst>
          </c:dPt>
          <c:dPt>
            <c:idx val="48"/>
            <c:invertIfNegative val="0"/>
            <c:bubble3D val="0"/>
            <c:spPr>
              <a:solidFill>
                <a:schemeClr val="accent3"/>
              </a:solidFill>
              <a:ln>
                <a:noFill/>
              </a:ln>
              <a:effectLst/>
            </c:spPr>
            <c:extLst>
              <c:ext xmlns:c16="http://schemas.microsoft.com/office/drawing/2014/chart" uri="{C3380CC4-5D6E-409C-BE32-E72D297353CC}">
                <c16:uniqueId val="{00000009-9758-48C8-A45E-21FDC8E1AAD8}"/>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58-48C8-A45E-21FDC8E1AAD8}"/>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758-48C8-A45E-21FDC8E1AAD8}"/>
                </c:ext>
              </c:extLst>
            </c:dLbl>
            <c:dLbl>
              <c:idx val="2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758-48C8-A45E-21FDC8E1AAD8}"/>
                </c:ext>
              </c:extLst>
            </c:dLbl>
            <c:dLbl>
              <c:idx val="3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758-48C8-A45E-21FDC8E1AAD8}"/>
                </c:ext>
              </c:extLst>
            </c:dLbl>
            <c:dLbl>
              <c:idx val="4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758-48C8-A45E-21FDC8E1AAD8}"/>
                </c:ext>
              </c:extLst>
            </c:dLbl>
            <c:numFmt formatCode="0.0,&quot;k&quot;" sourceLinked="0"/>
            <c:spPr>
              <a:solidFill>
                <a:schemeClr val="accent3"/>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B$2:$B$50</c:f>
              <c:numCache>
                <c:formatCode>0</c:formatCode>
                <c:ptCount val="49"/>
                <c:pt idx="0">
                  <c:v>7309.7612462961297</c:v>
                </c:pt>
                <c:pt idx="1">
                  <c:v>8315.3731906859666</c:v>
                </c:pt>
                <c:pt idx="2">
                  <c:v>7779.3023381294961</c:v>
                </c:pt>
                <c:pt idx="3">
                  <c:v>8141.3123876303489</c:v>
                </c:pt>
                <c:pt idx="4">
                  <c:v>7943.9041490414902</c:v>
                </c:pt>
                <c:pt idx="5">
                  <c:v>7932.3005134672549</c:v>
                </c:pt>
                <c:pt idx="6">
                  <c:v>8109.5027937995674</c:v>
                </c:pt>
                <c:pt idx="7">
                  <c:v>8045.7161540542975</c:v>
                </c:pt>
                <c:pt idx="8">
                  <c:v>8021.5104693140793</c:v>
                </c:pt>
                <c:pt idx="9">
                  <c:v>8254.885004516711</c:v>
                </c:pt>
                <c:pt idx="10">
                  <c:v>8393.9611703088322</c:v>
                </c:pt>
                <c:pt idx="11">
                  <c:v>8311.553299034209</c:v>
                </c:pt>
                <c:pt idx="12">
                  <c:v>7643.9696668773131</c:v>
                </c:pt>
                <c:pt idx="13">
                  <c:v>8706.8056157457559</c:v>
                </c:pt>
                <c:pt idx="14">
                  <c:v>7776.1023536838311</c:v>
                </c:pt>
                <c:pt idx="15">
                  <c:v>8390.9776830264</c:v>
                </c:pt>
                <c:pt idx="16">
                  <c:v>8599.8684450109249</c:v>
                </c:pt>
                <c:pt idx="17">
                  <c:v>8348.1121043509993</c:v>
                </c:pt>
                <c:pt idx="18">
                  <c:v>8496.7794171220394</c:v>
                </c:pt>
                <c:pt idx="19">
                  <c:v>8383.512747615554</c:v>
                </c:pt>
                <c:pt idx="20">
                  <c:v>8605.9107751866522</c:v>
                </c:pt>
                <c:pt idx="21">
                  <c:v>8808.926395229666</c:v>
                </c:pt>
                <c:pt idx="22">
                  <c:v>8771.496493032826</c:v>
                </c:pt>
                <c:pt idx="23">
                  <c:v>9092.1095313815367</c:v>
                </c:pt>
                <c:pt idx="24">
                  <c:v>8571.9456184840801</c:v>
                </c:pt>
                <c:pt idx="25">
                  <c:v>8788.2337012925746</c:v>
                </c:pt>
                <c:pt idx="26">
                  <c:v>9103.6676130986179</c:v>
                </c:pt>
                <c:pt idx="27">
                  <c:v>9352.6342667299486</c:v>
                </c:pt>
                <c:pt idx="28">
                  <c:v>8735.2827488151652</c:v>
                </c:pt>
                <c:pt idx="29">
                  <c:v>9501.1263637226075</c:v>
                </c:pt>
                <c:pt idx="30">
                  <c:v>9099.6307282753369</c:v>
                </c:pt>
                <c:pt idx="31">
                  <c:v>8908.9690917736571</c:v>
                </c:pt>
                <c:pt idx="32">
                  <c:v>9516.2457142857147</c:v>
                </c:pt>
                <c:pt idx="33">
                  <c:v>9129.6532127558312</c:v>
                </c:pt>
                <c:pt idx="34">
                  <c:v>9408.8627993512073</c:v>
                </c:pt>
                <c:pt idx="35">
                  <c:v>9639.8285768826954</c:v>
                </c:pt>
                <c:pt idx="36">
                  <c:v>8606.3643639828497</c:v>
                </c:pt>
                <c:pt idx="37">
                  <c:v>9158.4361052832355</c:v>
                </c:pt>
                <c:pt idx="38">
                  <c:v>9245.1667943316734</c:v>
                </c:pt>
                <c:pt idx="39">
                  <c:v>9557.3211790601963</c:v>
                </c:pt>
                <c:pt idx="40">
                  <c:v>9263.4877488514539</c:v>
                </c:pt>
                <c:pt idx="41">
                  <c:v>9875.1675768899113</c:v>
                </c:pt>
                <c:pt idx="42">
                  <c:v>9020.6617844150878</c:v>
                </c:pt>
                <c:pt idx="43">
                  <c:v>9547.642768139558</c:v>
                </c:pt>
                <c:pt idx="44">
                  <c:v>10158.181739796895</c:v>
                </c:pt>
                <c:pt idx="45">
                  <c:v>9176.9869644397586</c:v>
                </c:pt>
                <c:pt idx="46">
                  <c:v>10109.380614203455</c:v>
                </c:pt>
                <c:pt idx="47">
                  <c:v>9695.2704878750119</c:v>
                </c:pt>
                <c:pt idx="48">
                  <c:v>8919.3217024539881</c:v>
                </c:pt>
              </c:numCache>
            </c:numRef>
          </c:val>
          <c:extLst>
            <c:ext xmlns:c16="http://schemas.microsoft.com/office/drawing/2014/chart" uri="{C3380CC4-5D6E-409C-BE32-E72D297353CC}">
              <c16:uniqueId val="{0000000A-9758-48C8-A45E-21FDC8E1AAD8}"/>
            </c:ext>
          </c:extLst>
        </c:ser>
        <c:dLbls>
          <c:showLegendKey val="0"/>
          <c:showVal val="0"/>
          <c:showCatName val="0"/>
          <c:showSerName val="0"/>
          <c:showPercent val="0"/>
          <c:showBubbleSize val="0"/>
        </c:dLbls>
        <c:gapWidth val="50"/>
        <c:overlap val="-27"/>
        <c:axId val="1699676783"/>
        <c:axId val="1699673423"/>
      </c:barChart>
      <c:dateAx>
        <c:axId val="169967678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699673423"/>
        <c:crosses val="autoZero"/>
        <c:auto val="1"/>
        <c:lblOffset val="100"/>
        <c:baseTimeUnit val="months"/>
        <c:majorUnit val="12"/>
        <c:majorTimeUnit val="months"/>
      </c:dateAx>
      <c:valAx>
        <c:axId val="1699673423"/>
        <c:scaling>
          <c:orientation val="minMax"/>
          <c:max val="11000"/>
          <c:min val="5000"/>
        </c:scaling>
        <c:delete val="0"/>
        <c:axPos val="l"/>
        <c:majorGridlines>
          <c:spPr>
            <a:ln w="6350" cap="flat" cmpd="sng" algn="ctr">
              <a:solidFill>
                <a:schemeClr val="tx1">
                  <a:lumMod val="15000"/>
                  <a:lumOff val="85000"/>
                </a:schemeClr>
              </a:solidFill>
              <a:prstDash val="dash"/>
              <a:round/>
            </a:ln>
            <a:effectLst/>
          </c:spPr>
        </c:majorGridlines>
        <c:numFmt formatCode="0" sourceLinked="1"/>
        <c:majorTickMark val="none"/>
        <c:minorTickMark val="none"/>
        <c:tickLblPos val="none"/>
        <c:spPr>
          <a:noFill/>
          <a:ln w="25400">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967678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solidFill>
        <a:schemeClr val="tx1"/>
      </a:solid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B3A42">
                    <a:lumMod val="65000"/>
                    <a:lumOff val="35000"/>
                  </a:srgbClr>
                </a:solidFill>
                <a:latin typeface="+mn-lt"/>
                <a:ea typeface="+mn-ea"/>
                <a:cs typeface="+mn-cs"/>
              </a:defRPr>
            </a:pPr>
            <a:r>
              <a:rPr lang="en-US" sz="1400" b="1">
                <a:solidFill>
                  <a:schemeClr val="tx1"/>
                </a:solidFill>
              </a:rPr>
              <a:t>Growth in the Rx-based private market in the Top 10 Therapy areas (ATC2 classes, excl. WM)</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B3A42">
                  <a:lumMod val="65000"/>
                  <a:lumOff val="35000"/>
                </a:srgbClr>
              </a:solidFill>
              <a:latin typeface="+mn-lt"/>
              <a:ea typeface="+mn-ea"/>
              <a:cs typeface="+mn-cs"/>
            </a:defRPr>
          </a:pPr>
          <a:endParaRPr lang="en-US"/>
        </a:p>
      </c:txPr>
    </c:title>
    <c:autoTitleDeleted val="0"/>
    <c:plotArea>
      <c:layout/>
      <c:bubbleChart>
        <c:varyColors val="1"/>
        <c:ser>
          <c:idx val="0"/>
          <c:order val="0"/>
          <c:tx>
            <c:strRef>
              <c:f>Sheet1!$B$1</c:f>
              <c:strCache>
                <c:ptCount val="1"/>
                <c:pt idx="0">
                  <c:v>Y-Values</c:v>
                </c:pt>
              </c:strCache>
            </c:strRef>
          </c:tx>
          <c:invertIfNegative val="0"/>
          <c:dPt>
            <c:idx val="0"/>
            <c:invertIfNegative val="0"/>
            <c:bubble3D val="0"/>
            <c:spPr>
              <a:solidFill>
                <a:schemeClr val="accent1">
                  <a:alpha val="75000"/>
                </a:schemeClr>
              </a:solidFill>
              <a:ln>
                <a:noFill/>
              </a:ln>
              <a:effectLst/>
            </c:spPr>
            <c:extLst>
              <c:ext xmlns:c16="http://schemas.microsoft.com/office/drawing/2014/chart" uri="{C3380CC4-5D6E-409C-BE32-E72D297353CC}">
                <c16:uniqueId val="{00000009-D470-4713-8C7B-BE2B2BC2D246}"/>
              </c:ext>
            </c:extLst>
          </c:dPt>
          <c:dPt>
            <c:idx val="1"/>
            <c:invertIfNegative val="0"/>
            <c:bubble3D val="0"/>
            <c:spPr>
              <a:solidFill>
                <a:schemeClr val="accent1">
                  <a:lumMod val="75000"/>
                </a:schemeClr>
              </a:solidFill>
              <a:ln>
                <a:noFill/>
              </a:ln>
              <a:effectLst/>
            </c:spPr>
            <c:extLst>
              <c:ext xmlns:c16="http://schemas.microsoft.com/office/drawing/2014/chart" uri="{C3380CC4-5D6E-409C-BE32-E72D297353CC}">
                <c16:uniqueId val="{0000000A-D470-4713-8C7B-BE2B2BC2D246}"/>
              </c:ext>
            </c:extLst>
          </c:dPt>
          <c:dPt>
            <c:idx val="2"/>
            <c:invertIfNegative val="0"/>
            <c:bubble3D val="0"/>
            <c:spPr>
              <a:solidFill>
                <a:schemeClr val="accent3">
                  <a:alpha val="75000"/>
                </a:schemeClr>
              </a:solidFill>
              <a:ln>
                <a:noFill/>
              </a:ln>
              <a:effectLst/>
            </c:spPr>
            <c:extLst>
              <c:ext xmlns:c16="http://schemas.microsoft.com/office/drawing/2014/chart" uri="{C3380CC4-5D6E-409C-BE32-E72D297353CC}">
                <c16:uniqueId val="{0000000B-D470-4713-8C7B-BE2B2BC2D246}"/>
              </c:ext>
            </c:extLst>
          </c:dPt>
          <c:dPt>
            <c:idx val="3"/>
            <c:invertIfNegative val="0"/>
            <c:bubble3D val="0"/>
            <c:spPr>
              <a:solidFill>
                <a:schemeClr val="bg1">
                  <a:lumMod val="50000"/>
                </a:schemeClr>
              </a:solidFill>
              <a:ln>
                <a:noFill/>
              </a:ln>
              <a:effectLst/>
            </c:spPr>
            <c:extLst>
              <c:ext xmlns:c16="http://schemas.microsoft.com/office/drawing/2014/chart" uri="{C3380CC4-5D6E-409C-BE32-E72D297353CC}">
                <c16:uniqueId val="{00000006-D470-4713-8C7B-BE2B2BC2D246}"/>
              </c:ext>
            </c:extLst>
          </c:dPt>
          <c:dPt>
            <c:idx val="4"/>
            <c:invertIfNegative val="0"/>
            <c:bubble3D val="0"/>
            <c:spPr>
              <a:solidFill>
                <a:schemeClr val="accent5">
                  <a:alpha val="75000"/>
                </a:schemeClr>
              </a:solidFill>
              <a:ln>
                <a:noFill/>
              </a:ln>
              <a:effectLst/>
            </c:spPr>
            <c:extLst>
              <c:ext xmlns:c16="http://schemas.microsoft.com/office/drawing/2014/chart" uri="{C3380CC4-5D6E-409C-BE32-E72D297353CC}">
                <c16:uniqueId val="{00000007-D470-4713-8C7B-BE2B2BC2D246}"/>
              </c:ext>
            </c:extLst>
          </c:dPt>
          <c:dPt>
            <c:idx val="5"/>
            <c:invertIfNegative val="0"/>
            <c:bubble3D val="0"/>
            <c:spPr>
              <a:solidFill>
                <a:schemeClr val="accent6">
                  <a:alpha val="75000"/>
                </a:schemeClr>
              </a:solidFill>
              <a:ln>
                <a:noFill/>
              </a:ln>
              <a:effectLst/>
            </c:spPr>
            <c:extLst>
              <c:ext xmlns:c16="http://schemas.microsoft.com/office/drawing/2014/chart" uri="{C3380CC4-5D6E-409C-BE32-E72D297353CC}">
                <c16:uniqueId val="{00000005-D470-4713-8C7B-BE2B2BC2D246}"/>
              </c:ext>
            </c:extLst>
          </c:dPt>
          <c:dPt>
            <c:idx val="6"/>
            <c:invertIfNegative val="0"/>
            <c:bubble3D val="0"/>
            <c:spPr>
              <a:solidFill>
                <a:schemeClr val="tx1">
                  <a:lumMod val="40000"/>
                  <a:lumOff val="60000"/>
                </a:schemeClr>
              </a:solidFill>
              <a:ln>
                <a:noFill/>
              </a:ln>
              <a:effectLst/>
            </c:spPr>
            <c:extLst>
              <c:ext xmlns:c16="http://schemas.microsoft.com/office/drawing/2014/chart" uri="{C3380CC4-5D6E-409C-BE32-E72D297353CC}">
                <c16:uniqueId val="{00000008-D470-4713-8C7B-BE2B2BC2D246}"/>
              </c:ext>
            </c:extLst>
          </c:dPt>
          <c:dPt>
            <c:idx val="7"/>
            <c:invertIfNegative val="0"/>
            <c:bubble3D val="0"/>
            <c:spPr>
              <a:solidFill>
                <a:schemeClr val="accent2">
                  <a:lumMod val="60000"/>
                  <a:alpha val="75000"/>
                </a:schemeClr>
              </a:solidFill>
              <a:ln>
                <a:noFill/>
              </a:ln>
              <a:effectLst/>
            </c:spPr>
            <c:extLst>
              <c:ext xmlns:c16="http://schemas.microsoft.com/office/drawing/2014/chart" uri="{C3380CC4-5D6E-409C-BE32-E72D297353CC}">
                <c16:uniqueId val="{00000004-D470-4713-8C7B-BE2B2BC2D246}"/>
              </c:ext>
            </c:extLst>
          </c:dPt>
          <c:dLbls>
            <c:dLbl>
              <c:idx val="0"/>
              <c:layout>
                <c:manualLayout>
                  <c:x val="-0.21532657102611649"/>
                  <c:y val="-3.6953207701485982E-2"/>
                </c:manualLayout>
              </c:layout>
              <c:tx>
                <c:rich>
                  <a:bodyPr/>
                  <a:lstStyle/>
                  <a:p>
                    <a:fld id="{AFBD358B-96FB-4BCE-BA72-E5CB2E2C998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D470-4713-8C7B-BE2B2BC2D246}"/>
                </c:ext>
              </c:extLst>
            </c:dLbl>
            <c:dLbl>
              <c:idx val="1"/>
              <c:layout>
                <c:manualLayout>
                  <c:x val="-0.17985977510389317"/>
                  <c:y val="9.0733680671486003E-2"/>
                </c:manualLayout>
              </c:layout>
              <c:tx>
                <c:rich>
                  <a:bodyPr/>
                  <a:lstStyle/>
                  <a:p>
                    <a:fld id="{CB109ED0-A7FC-4CFD-9982-E13FFC908CC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D470-4713-8C7B-BE2B2BC2D246}"/>
                </c:ext>
              </c:extLst>
            </c:dLbl>
            <c:dLbl>
              <c:idx val="2"/>
              <c:layout>
                <c:manualLayout>
                  <c:x val="-9.4674473889086841E-2"/>
                  <c:y val="-7.4709685720719274E-2"/>
                </c:manualLayout>
              </c:layout>
              <c:tx>
                <c:rich>
                  <a:bodyPr/>
                  <a:lstStyle/>
                  <a:p>
                    <a:fld id="{2C119EE9-76FC-48FD-82D6-2E894E96627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D470-4713-8C7B-BE2B2BC2D246}"/>
                </c:ext>
              </c:extLst>
            </c:dLbl>
            <c:dLbl>
              <c:idx val="3"/>
              <c:layout>
                <c:manualLayout>
                  <c:x val="-5.955476688564483E-2"/>
                  <c:y val="2.521483090281668E-2"/>
                </c:manualLayout>
              </c:layout>
              <c:tx>
                <c:rich>
                  <a:bodyPr/>
                  <a:lstStyle/>
                  <a:p>
                    <a:fld id="{F4A73ED5-FBE0-4BDD-BDFD-6661CEBBEAF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manualLayout>
                      <c:w val="0.22094689538319273"/>
                      <c:h val="6.6115702479338845E-2"/>
                    </c:manualLayout>
                  </c15:layout>
                  <c15:dlblFieldTable/>
                  <c15:showDataLabelsRange val="1"/>
                </c:ext>
                <c:ext xmlns:c16="http://schemas.microsoft.com/office/drawing/2014/chart" uri="{C3380CC4-5D6E-409C-BE32-E72D297353CC}">
                  <c16:uniqueId val="{00000006-D470-4713-8C7B-BE2B2BC2D246}"/>
                </c:ext>
              </c:extLst>
            </c:dLbl>
            <c:dLbl>
              <c:idx val="4"/>
              <c:layout>
                <c:manualLayout>
                  <c:x val="-8.228853163728872E-2"/>
                  <c:y val="-7.6781365163913359E-2"/>
                </c:manualLayout>
              </c:layout>
              <c:tx>
                <c:rich>
                  <a:bodyPr/>
                  <a:lstStyle/>
                  <a:p>
                    <a:fld id="{841A9390-331B-4E24-9ADD-55392A94D42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470-4713-8C7B-BE2B2BC2D246}"/>
                </c:ext>
              </c:extLst>
            </c:dLbl>
            <c:dLbl>
              <c:idx val="5"/>
              <c:layout>
                <c:manualLayout>
                  <c:x val="-5.0156805384835267E-2"/>
                  <c:y val="-7.598308639934874E-2"/>
                </c:manualLayout>
              </c:layout>
              <c:tx>
                <c:rich>
                  <a:bodyPr/>
                  <a:lstStyle/>
                  <a:p>
                    <a:fld id="{E8CC7FA3-5F7F-4227-A30A-5B8DFF3C0929}" type="CELLRANGE">
                      <a:rPr lang="en-US" dirty="0"/>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470-4713-8C7B-BE2B2BC2D246}"/>
                </c:ext>
              </c:extLst>
            </c:dLbl>
            <c:dLbl>
              <c:idx val="6"/>
              <c:layout>
                <c:manualLayout>
                  <c:x val="-0.17634821789420199"/>
                  <c:y val="-0.18988312000914009"/>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2A878126-4CAF-4382-8DC8-C19A905128B2}" type="CELLRANGE">
                      <a:rPr lang="en-US" sz="1000">
                        <a:solidFill>
                          <a:schemeClr val="tx1"/>
                        </a:solidFill>
                      </a:rPr>
                      <a:pPr>
                        <a:defRPr sz="1000">
                          <a:solidFill>
                            <a:schemeClr val="tx1"/>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GB"/>
                </a:p>
              </c:txPr>
              <c:showLegendKey val="0"/>
              <c:showVal val="0"/>
              <c:showCatName val="0"/>
              <c:showSerName val="0"/>
              <c:showPercent val="0"/>
              <c:showBubbleSize val="0"/>
              <c:extLst>
                <c:ext xmlns:c15="http://schemas.microsoft.com/office/drawing/2012/chart" uri="{CE6537A1-D6FC-4f65-9D91-7224C49458BB}">
                  <c15:layout>
                    <c:manualLayout>
                      <c:w val="0.21370433794287438"/>
                      <c:h val="8.6585907186059546E-2"/>
                    </c:manualLayout>
                  </c15:layout>
                  <c15:dlblFieldTable/>
                  <c15:showDataLabelsRange val="1"/>
                </c:ext>
                <c:ext xmlns:c16="http://schemas.microsoft.com/office/drawing/2014/chart" uri="{C3380CC4-5D6E-409C-BE32-E72D297353CC}">
                  <c16:uniqueId val="{00000008-D470-4713-8C7B-BE2B2BC2D246}"/>
                </c:ext>
              </c:extLst>
            </c:dLbl>
            <c:dLbl>
              <c:idx val="7"/>
              <c:layout>
                <c:manualLayout>
                  <c:x val="-6.2465108685774928E-2"/>
                  <c:y val="-7.2323538427010087E-2"/>
                </c:manualLayout>
              </c:layout>
              <c:tx>
                <c:rich>
                  <a:bodyPr/>
                  <a:lstStyle/>
                  <a:p>
                    <a:fld id="{5CAA202F-7ACC-4EE8-B223-C4BC0FEEB11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470-4713-8C7B-BE2B2BC2D24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cap="flat" cmpd="sng" algn="ctr">
                      <a:solidFill>
                        <a:schemeClr val="tx1">
                          <a:lumMod val="35000"/>
                          <a:lumOff val="65000"/>
                        </a:schemeClr>
                      </a:solidFill>
                      <a:round/>
                    </a:ln>
                    <a:effectLst/>
                  </c:spPr>
                </c15:leaderLines>
              </c:ext>
            </c:extLst>
          </c:dLbls>
          <c:xVal>
            <c:numRef>
              <c:f>Sheet1!$A$2:$A$9</c:f>
              <c:numCache>
                <c:formatCode>0.0%</c:formatCode>
                <c:ptCount val="8"/>
                <c:pt idx="0">
                  <c:v>3.4127270213218708E-2</c:v>
                </c:pt>
                <c:pt idx="1">
                  <c:v>-8.7068448281692024E-2</c:v>
                </c:pt>
                <c:pt idx="2">
                  <c:v>-0.2590033482360562</c:v>
                </c:pt>
                <c:pt idx="3">
                  <c:v>0.13242445817909276</c:v>
                </c:pt>
                <c:pt idx="4">
                  <c:v>0.43601159541706003</c:v>
                </c:pt>
                <c:pt idx="5">
                  <c:v>0.22684073096829116</c:v>
                </c:pt>
                <c:pt idx="6">
                  <c:v>6.8268109285344103E-2</c:v>
                </c:pt>
                <c:pt idx="7">
                  <c:v>0.12300323378839328</c:v>
                </c:pt>
              </c:numCache>
            </c:numRef>
          </c:xVal>
          <c:yVal>
            <c:numRef>
              <c:f>Sheet1!$B$2:$B$9</c:f>
              <c:numCache>
                <c:formatCode>0.0%</c:formatCode>
                <c:ptCount val="8"/>
                <c:pt idx="0">
                  <c:v>0.49689299396433273</c:v>
                </c:pt>
                <c:pt idx="1">
                  <c:v>4.9004381118605611E-2</c:v>
                </c:pt>
                <c:pt idx="2">
                  <c:v>0.11795984640445623</c:v>
                </c:pt>
                <c:pt idx="3">
                  <c:v>0.11976236645364513</c:v>
                </c:pt>
                <c:pt idx="4">
                  <c:v>1.3411796468070274</c:v>
                </c:pt>
                <c:pt idx="5">
                  <c:v>0.57810426643247781</c:v>
                </c:pt>
                <c:pt idx="6">
                  <c:v>0.37649226700580329</c:v>
                </c:pt>
                <c:pt idx="7">
                  <c:v>0.51552388001170213</c:v>
                </c:pt>
              </c:numCache>
            </c:numRef>
          </c:yVal>
          <c:bubbleSize>
            <c:numRef>
              <c:f>Sheet1!$C$2:$C$9</c:f>
              <c:numCache>
                <c:formatCode>#,##0.0,,"m"</c:formatCode>
                <c:ptCount val="8"/>
                <c:pt idx="0">
                  <c:v>82419142.950823754</c:v>
                </c:pt>
                <c:pt idx="1">
                  <c:v>37228241.390907042</c:v>
                </c:pt>
                <c:pt idx="2">
                  <c:v>34986449.181460008</c:v>
                </c:pt>
                <c:pt idx="3">
                  <c:v>30557981.678712081</c:v>
                </c:pt>
                <c:pt idx="4">
                  <c:v>23272133.204452999</c:v>
                </c:pt>
                <c:pt idx="5">
                  <c:v>22435419.133003049</c:v>
                </c:pt>
                <c:pt idx="6">
                  <c:v>21835465.035120089</c:v>
                </c:pt>
                <c:pt idx="7">
                  <c:v>21482405.789170984</c:v>
                </c:pt>
              </c:numCache>
            </c:numRef>
          </c:bubbleSize>
          <c:bubble3D val="0"/>
          <c:extLst>
            <c:ext xmlns:c15="http://schemas.microsoft.com/office/drawing/2012/chart" uri="{02D57815-91ED-43cb-92C2-25804820EDAC}">
              <c15:datalabelsRange>
                <c15:f>Sheet1!$E$2:$E$9</c15:f>
                <c15:dlblRangeCache>
                  <c:ptCount val="8"/>
                  <c:pt idx="0">
                    <c:v>Antineoplastics</c:v>
                  </c:pt>
                  <c:pt idx="1">
                    <c:v>Sex Hormones System Only</c:v>
                  </c:pt>
                  <c:pt idx="2">
                    <c:v>Vaccines</c:v>
                  </c:pt>
                  <c:pt idx="3">
                    <c:v>Ophthalmologicals</c:v>
                  </c:pt>
                  <c:pt idx="4">
                    <c:v>Other Cns Drugs</c:v>
                  </c:pt>
                  <c:pt idx="5">
                    <c:v>Psychoanaleptics</c:v>
                  </c:pt>
                  <c:pt idx="6">
                    <c:v>Cytosatic Hormone Therapy</c:v>
                  </c:pt>
                  <c:pt idx="7">
                    <c:v>Psycholeptics</c:v>
                  </c:pt>
                </c15:dlblRangeCache>
              </c15:datalabelsRange>
            </c:ext>
            <c:ext xmlns:c16="http://schemas.microsoft.com/office/drawing/2014/chart" uri="{C3380CC4-5D6E-409C-BE32-E72D297353CC}">
              <c16:uniqueId val="{00000000-D470-4713-8C7B-BE2B2BC2D246}"/>
            </c:ext>
          </c:extLst>
        </c:ser>
        <c:dLbls>
          <c:showLegendKey val="0"/>
          <c:showVal val="0"/>
          <c:showCatName val="0"/>
          <c:showSerName val="0"/>
          <c:showPercent val="0"/>
          <c:showBubbleSize val="0"/>
        </c:dLbls>
        <c:bubbleScale val="100"/>
        <c:showNegBubbles val="0"/>
        <c:axId val="1251588784"/>
        <c:axId val="1251580144"/>
      </c:bubbleChart>
      <c:valAx>
        <c:axId val="1251588784"/>
        <c:scaling>
          <c:orientation val="minMax"/>
        </c:scaling>
        <c:delete val="0"/>
        <c:axPos val="b"/>
        <c:majorGridlines>
          <c:spPr>
            <a:ln w="6350" cap="flat" cmpd="sng" algn="ctr">
              <a:solidFill>
                <a:schemeClr val="tx1">
                  <a:lumMod val="15000"/>
                  <a:lumOff val="85000"/>
                </a:schemeClr>
              </a:solidFill>
              <a:prstDash val="dash"/>
              <a:round/>
            </a:ln>
            <a:effectLst/>
          </c:spPr>
        </c:majorGridlines>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GB" sz="1100" b="1">
                    <a:solidFill>
                      <a:schemeClr val="tx1"/>
                    </a:solidFill>
                  </a:rPr>
                  <a:t>Volume Growth % (</a:t>
                </a:r>
                <a:r>
                  <a:rPr lang="en-GB" sz="1100" b="1" i="0" u="none" strike="noStrike" kern="1200" baseline="0">
                    <a:solidFill>
                      <a:schemeClr val="tx1"/>
                    </a:solidFill>
                  </a:rPr>
                  <a:t>MAT Mar 2026</a:t>
                </a:r>
                <a:r>
                  <a:rPr lang="en-GB" sz="1100" b="1" baseline="0">
                    <a:solidFill>
                      <a:schemeClr val="tx1"/>
                    </a:solidFill>
                  </a:rPr>
                  <a:t>)</a:t>
                </a:r>
                <a:endParaRPr lang="en-GB" sz="1100" b="1">
                  <a:solidFill>
                    <a:schemeClr val="tx1"/>
                  </a:solidFill>
                </a:endParaRPr>
              </a:p>
            </c:rich>
          </c:tx>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GB"/>
            </a:p>
          </c:txPr>
        </c:title>
        <c:numFmt formatCode="0%" sourceLinked="0"/>
        <c:majorTickMark val="none"/>
        <c:minorTickMark val="none"/>
        <c:tickLblPos val="low"/>
        <c:spPr>
          <a:noFill/>
          <a:ln w="12700" cap="flat" cmpd="sng" algn="ctr">
            <a:solidFill>
              <a:schemeClr val="bg1">
                <a:lumMod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251580144"/>
        <c:crossesAt val="-4.000000000000001E-3"/>
        <c:crossBetween val="midCat"/>
      </c:valAx>
      <c:valAx>
        <c:axId val="1251580144"/>
        <c:scaling>
          <c:orientation val="minMax"/>
          <c:max val="2"/>
        </c:scaling>
        <c:delete val="0"/>
        <c:axPos val="l"/>
        <c:majorGridlines>
          <c:spPr>
            <a:ln w="6350"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GB" sz="1100" b="1">
                    <a:solidFill>
                      <a:schemeClr val="tx1"/>
                    </a:solidFill>
                  </a:rPr>
                  <a:t>Value Growth % (MAT Mar</a:t>
                </a:r>
                <a:r>
                  <a:rPr lang="en-GB" sz="1100" b="1" baseline="0">
                    <a:solidFill>
                      <a:schemeClr val="tx1"/>
                    </a:solidFill>
                  </a:rPr>
                  <a:t> 2026</a:t>
                </a:r>
                <a:r>
                  <a:rPr lang="en-GB" sz="1100" b="1">
                    <a:solidFill>
                      <a:schemeClr val="tx1"/>
                    </a:solidFill>
                  </a:rPr>
                  <a:t>)</a:t>
                </a:r>
                <a:endParaRPr lang="en-GB" sz="1100"/>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GB"/>
            </a:p>
          </c:txPr>
        </c:title>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251588784"/>
        <c:crossesAt val="-4.4000000000000011E-2"/>
        <c:crossBetween val="midCat"/>
      </c:valAx>
      <c:spPr>
        <a:noFill/>
        <a:ln>
          <a:solidFill>
            <a:schemeClr val="bg1">
              <a:lumMod val="85000"/>
            </a:schemeClr>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solidFill>
                <a:latin typeface="Noto Sans" panose="020B0502040504020204" pitchFamily="34"/>
                <a:ea typeface="+mn-ea"/>
                <a:cs typeface="+mn-cs"/>
              </a:defRPr>
            </a:pPr>
            <a:r>
              <a:rPr lang="en-US" sz="1800" b="1"/>
              <a:t>Travel Vaccines</a:t>
            </a:r>
          </a:p>
        </c:rich>
      </c:tx>
      <c:layout>
        <c:manualLayout>
          <c:xMode val="edge"/>
          <c:yMode val="edge"/>
          <c:x val="0.10746008311461068"/>
          <c:y val="5.250946102667399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Noto Sans" panose="020B0502040504020204" pitchFamily="34"/>
              <a:ea typeface="+mn-ea"/>
              <a:cs typeface="+mn-cs"/>
            </a:defRPr>
          </a:pPr>
          <a:endParaRPr lang="en-US"/>
        </a:p>
      </c:txPr>
    </c:title>
    <c:autoTitleDeleted val="0"/>
    <c:plotArea>
      <c:layout>
        <c:manualLayout>
          <c:layoutTarget val="inner"/>
          <c:xMode val="edge"/>
          <c:yMode val="edge"/>
          <c:x val="0.1260420132707083"/>
          <c:y val="0.17578169000196869"/>
          <c:w val="0.82713165891843476"/>
          <c:h val="0.67288693922547183"/>
        </c:manualLayout>
      </c:layout>
      <c:lineChart>
        <c:grouping val="standard"/>
        <c:varyColors val="0"/>
        <c:ser>
          <c:idx val="0"/>
          <c:order val="0"/>
          <c:tx>
            <c:strRef>
              <c:f>Sheet1!$B$1</c:f>
              <c:strCache>
                <c:ptCount val="1"/>
                <c:pt idx="0">
                  <c:v>2024</c:v>
                </c:pt>
              </c:strCache>
            </c:strRef>
          </c:tx>
          <c:spPr>
            <a:ln w="25400" cap="sq">
              <a:solidFill>
                <a:schemeClr val="accent1"/>
              </a:solidFill>
              <a:round/>
            </a:ln>
            <a:effectLst/>
          </c:spPr>
          <c:marker>
            <c:symbol val="none"/>
          </c:marker>
          <c:cat>
            <c:strRef>
              <c:f>Sheet1!$A$2:$A$13</c:f>
              <c:strCache>
                <c:ptCount val="12"/>
                <c:pt idx="0">
                  <c:v>Jan </c:v>
                </c:pt>
                <c:pt idx="1">
                  <c:v>Feb </c:v>
                </c:pt>
                <c:pt idx="2">
                  <c:v>Mar </c:v>
                </c:pt>
                <c:pt idx="3">
                  <c:v>Apr</c:v>
                </c:pt>
                <c:pt idx="4">
                  <c:v>May</c:v>
                </c:pt>
                <c:pt idx="5">
                  <c:v>Jun</c:v>
                </c:pt>
                <c:pt idx="6">
                  <c:v>Jul </c:v>
                </c:pt>
                <c:pt idx="7">
                  <c:v>Aug </c:v>
                </c:pt>
                <c:pt idx="8">
                  <c:v>Sep </c:v>
                </c:pt>
                <c:pt idx="9">
                  <c:v>Oct </c:v>
                </c:pt>
                <c:pt idx="10">
                  <c:v>Nov</c:v>
                </c:pt>
                <c:pt idx="11">
                  <c:v>Dec</c:v>
                </c:pt>
              </c:strCache>
            </c:strRef>
          </c:cat>
          <c:val>
            <c:numRef>
              <c:f>Sheet1!$B$2:$B$13</c:f>
              <c:numCache>
                <c:formatCode>0,"k"</c:formatCode>
                <c:ptCount val="12"/>
                <c:pt idx="0">
                  <c:v>56507</c:v>
                </c:pt>
                <c:pt idx="1">
                  <c:v>48965</c:v>
                </c:pt>
                <c:pt idx="2">
                  <c:v>51262</c:v>
                </c:pt>
                <c:pt idx="3">
                  <c:v>52145</c:v>
                </c:pt>
                <c:pt idx="4">
                  <c:v>57771</c:v>
                </c:pt>
                <c:pt idx="5">
                  <c:v>53397</c:v>
                </c:pt>
                <c:pt idx="6">
                  <c:v>69992</c:v>
                </c:pt>
                <c:pt idx="7">
                  <c:v>59889</c:v>
                </c:pt>
                <c:pt idx="8">
                  <c:v>58261</c:v>
                </c:pt>
                <c:pt idx="9">
                  <c:v>61110</c:v>
                </c:pt>
                <c:pt idx="10">
                  <c:v>59768</c:v>
                </c:pt>
                <c:pt idx="11">
                  <c:v>65195</c:v>
                </c:pt>
              </c:numCache>
            </c:numRef>
          </c:val>
          <c:smooth val="1"/>
          <c:extLst>
            <c:ext xmlns:c16="http://schemas.microsoft.com/office/drawing/2014/chart" uri="{C3380CC4-5D6E-409C-BE32-E72D297353CC}">
              <c16:uniqueId val="{00000000-8E8D-4140-B704-A0BDEAAF1414}"/>
            </c:ext>
          </c:extLst>
        </c:ser>
        <c:ser>
          <c:idx val="1"/>
          <c:order val="1"/>
          <c:tx>
            <c:strRef>
              <c:f>Sheet1!$C$1</c:f>
              <c:strCache>
                <c:ptCount val="1"/>
                <c:pt idx="0">
                  <c:v>2025</c:v>
                </c:pt>
              </c:strCache>
            </c:strRef>
          </c:tx>
          <c:spPr>
            <a:ln w="25400" cap="sq">
              <a:solidFill>
                <a:schemeClr val="accent2"/>
              </a:solidFill>
              <a:round/>
            </a:ln>
            <a:effectLst/>
          </c:spPr>
          <c:marker>
            <c:symbol val="none"/>
          </c:marker>
          <c:cat>
            <c:strRef>
              <c:f>Sheet1!$A$2:$A$13</c:f>
              <c:strCache>
                <c:ptCount val="12"/>
                <c:pt idx="0">
                  <c:v>Jan </c:v>
                </c:pt>
                <c:pt idx="1">
                  <c:v>Feb </c:v>
                </c:pt>
                <c:pt idx="2">
                  <c:v>Mar </c:v>
                </c:pt>
                <c:pt idx="3">
                  <c:v>Apr</c:v>
                </c:pt>
                <c:pt idx="4">
                  <c:v>May</c:v>
                </c:pt>
                <c:pt idx="5">
                  <c:v>Jun</c:v>
                </c:pt>
                <c:pt idx="6">
                  <c:v>Jul </c:v>
                </c:pt>
                <c:pt idx="7">
                  <c:v>Aug </c:v>
                </c:pt>
                <c:pt idx="8">
                  <c:v>Sep </c:v>
                </c:pt>
                <c:pt idx="9">
                  <c:v>Oct </c:v>
                </c:pt>
                <c:pt idx="10">
                  <c:v>Nov</c:v>
                </c:pt>
                <c:pt idx="11">
                  <c:v>Dec</c:v>
                </c:pt>
              </c:strCache>
            </c:strRef>
          </c:cat>
          <c:val>
            <c:numRef>
              <c:f>Sheet1!$C$2:$C$13</c:f>
              <c:numCache>
                <c:formatCode>0,"k"</c:formatCode>
                <c:ptCount val="12"/>
                <c:pt idx="0">
                  <c:v>79056</c:v>
                </c:pt>
                <c:pt idx="1">
                  <c:v>64436</c:v>
                </c:pt>
                <c:pt idx="2">
                  <c:v>64822</c:v>
                </c:pt>
                <c:pt idx="3">
                  <c:v>60017</c:v>
                </c:pt>
                <c:pt idx="4">
                  <c:v>64909</c:v>
                </c:pt>
                <c:pt idx="5">
                  <c:v>81677</c:v>
                </c:pt>
                <c:pt idx="6">
                  <c:v>86406</c:v>
                </c:pt>
                <c:pt idx="7">
                  <c:v>85001</c:v>
                </c:pt>
                <c:pt idx="8">
                  <c:v>74690</c:v>
                </c:pt>
                <c:pt idx="9">
                  <c:v>71963</c:v>
                </c:pt>
                <c:pt idx="10">
                  <c:v>74377</c:v>
                </c:pt>
                <c:pt idx="11">
                  <c:v>78187</c:v>
                </c:pt>
              </c:numCache>
            </c:numRef>
          </c:val>
          <c:smooth val="1"/>
          <c:extLst>
            <c:ext xmlns:c16="http://schemas.microsoft.com/office/drawing/2014/chart" uri="{C3380CC4-5D6E-409C-BE32-E72D297353CC}">
              <c16:uniqueId val="{00000001-8E8D-4140-B704-A0BDEAAF1414}"/>
            </c:ext>
          </c:extLst>
        </c:ser>
        <c:dLbls>
          <c:showLegendKey val="0"/>
          <c:showVal val="0"/>
          <c:showCatName val="0"/>
          <c:showSerName val="0"/>
          <c:showPercent val="0"/>
          <c:showBubbleSize val="0"/>
        </c:dLbls>
        <c:smooth val="0"/>
        <c:axId val="1323140159"/>
        <c:axId val="878730015"/>
      </c:lineChart>
      <c:catAx>
        <c:axId val="1323140159"/>
        <c:scaling>
          <c:orientation val="minMax"/>
        </c:scaling>
        <c:delete val="0"/>
        <c:axPos val="b"/>
        <c:numFmt formatCode="General" sourceLinked="1"/>
        <c:majorTickMark val="none"/>
        <c:minorTickMark val="none"/>
        <c:tickLblPos val="nextTo"/>
        <c:spPr>
          <a:noFill/>
          <a:ln w="38100" cap="rnd" cmpd="sng" algn="ctr">
            <a:solidFill>
              <a:srgbClr val="CACED0"/>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crossAx val="878730015"/>
        <c:crosses val="autoZero"/>
        <c:auto val="1"/>
        <c:lblAlgn val="ctr"/>
        <c:lblOffset val="100"/>
        <c:noMultiLvlLbl val="0"/>
      </c:catAx>
      <c:valAx>
        <c:axId val="878730015"/>
        <c:scaling>
          <c:orientation val="minMax"/>
        </c:scaling>
        <c:delete val="0"/>
        <c:axPos val="l"/>
        <c:majorGridlines>
          <c:spPr>
            <a:ln w="3175" cap="flat" cmpd="sng" algn="ctr">
              <a:solidFill>
                <a:srgbClr val="CACED0"/>
              </a:solidFill>
              <a:prstDash val="dash"/>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r>
                  <a:rPr lang="en-US" sz="1400"/>
                  <a:t>Volume (Units)</a:t>
                </a:r>
              </a:p>
            </c:rich>
          </c:tx>
          <c:layout>
            <c:manualLayout>
              <c:xMode val="edge"/>
              <c:yMode val="edge"/>
              <c:x val="5.6216654572228866E-4"/>
              <c:y val="0.37236135547734023"/>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title>
        <c:numFmt formatCode="0,&quot;k&quot;" sourceLinked="1"/>
        <c:majorTickMark val="none"/>
        <c:minorTickMark val="none"/>
        <c:tickLblPos val="nextTo"/>
        <c:spPr>
          <a:noFill/>
          <a:ln w="38100" cap="rnd">
            <a:solidFill>
              <a:srgbClr val="CACED0"/>
            </a:solidFill>
          </a:ln>
          <a:effectLst/>
        </c:spPr>
        <c:txPr>
          <a:bodyPr rot="-600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crossAx val="1323140159"/>
        <c:crosses val="autoZero"/>
        <c:crossBetween val="between"/>
      </c:valAx>
      <c:spPr>
        <a:noFill/>
        <a:ln>
          <a:noFill/>
        </a:ln>
        <a:effectLst/>
      </c:spPr>
    </c:plotArea>
    <c:legend>
      <c:legendPos val="b"/>
      <c:overlay val="0"/>
      <c:spPr>
        <a:noFill/>
        <a:ln cap="flat">
          <a:noFill/>
        </a:ln>
        <a:effectLst/>
      </c:spPr>
      <c:txPr>
        <a:bodyPr rot="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legend>
    <c:plotVisOnly val="1"/>
    <c:dispBlanksAs val="gap"/>
    <c:showDLblsOverMax val="0"/>
    <c:extLst/>
  </c:chart>
  <c:spPr>
    <a:noFill/>
    <a:ln>
      <a:noFill/>
    </a:ln>
    <a:effectLst/>
  </c:spPr>
  <c:txPr>
    <a:bodyPr/>
    <a:lstStyle/>
    <a:p>
      <a:pPr>
        <a:defRPr baseline="0">
          <a:latin typeface="Noto Sans" panose="020B0502040504020204" pitchFamily="34"/>
        </a:defRPr>
      </a:pPr>
      <a:endParaRPr lang="en-US"/>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solidFill>
                <a:latin typeface="Noto Sans" panose="020B0502040504020204" pitchFamily="34"/>
                <a:ea typeface="+mn-ea"/>
                <a:cs typeface="+mn-cs"/>
              </a:defRPr>
            </a:pPr>
            <a:r>
              <a:rPr lang="en-US" sz="1800" b="1">
                <a:solidFill>
                  <a:schemeClr val="tx1"/>
                </a:solidFill>
              </a:rPr>
              <a:t>Selected Travel Vaccines</a:t>
            </a:r>
          </a:p>
        </c:rich>
      </c:tx>
      <c:layout>
        <c:manualLayout>
          <c:xMode val="edge"/>
          <c:yMode val="edge"/>
          <c:x val="6.2162987070079639E-2"/>
          <c:y val="5.1009148713092291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Noto Sans" panose="020B0502040504020204" pitchFamily="34"/>
              <a:ea typeface="+mn-ea"/>
              <a:cs typeface="+mn-cs"/>
            </a:defRPr>
          </a:pPr>
          <a:endParaRPr lang="en-US"/>
        </a:p>
      </c:txPr>
    </c:title>
    <c:autoTitleDeleted val="0"/>
    <c:plotArea>
      <c:layout>
        <c:manualLayout>
          <c:layoutTarget val="inner"/>
          <c:xMode val="edge"/>
          <c:yMode val="edge"/>
          <c:x val="7.3893032266905995E-2"/>
          <c:y val="0.1969873977369665"/>
          <c:w val="0.88129666591501765"/>
          <c:h val="0.55481336174338503"/>
        </c:manualLayout>
      </c:layout>
      <c:barChart>
        <c:barDir val="col"/>
        <c:grouping val="clustered"/>
        <c:varyColors val="0"/>
        <c:ser>
          <c:idx val="0"/>
          <c:order val="0"/>
          <c:tx>
            <c:strRef>
              <c:f>Sheet1!$B$1</c:f>
              <c:strCache>
                <c:ptCount val="1"/>
                <c:pt idx="0">
                  <c:v>2024</c:v>
                </c:pt>
              </c:strCache>
            </c:strRef>
          </c:tx>
          <c:spPr>
            <a:solidFill>
              <a:schemeClr val="accent1"/>
            </a:solidFill>
            <a:ln w="63500" cap="rnd">
              <a:noFill/>
            </a:ln>
            <a:effectLst/>
          </c:spPr>
          <c:invertIfNegative val="0"/>
          <c:dPt>
            <c:idx val="0"/>
            <c:invertIfNegative val="0"/>
            <c:bubble3D val="0"/>
            <c:spPr>
              <a:solidFill>
                <a:schemeClr val="accent1"/>
              </a:solidFill>
              <a:ln w="63500" cap="rnd">
                <a:noFill/>
              </a:ln>
              <a:effectLst>
                <a:softEdge rad="0"/>
              </a:effectLst>
            </c:spPr>
            <c:extLst>
              <c:ext xmlns:c16="http://schemas.microsoft.com/office/drawing/2014/chart" uri="{C3380CC4-5D6E-409C-BE32-E72D297353CC}">
                <c16:uniqueId val="{00000001-2A6E-4090-AA2C-478E92D69C33}"/>
              </c:ext>
            </c:extLst>
          </c:dPt>
          <c:dPt>
            <c:idx val="1"/>
            <c:invertIfNegative val="0"/>
            <c:bubble3D val="0"/>
            <c:spPr>
              <a:solidFill>
                <a:schemeClr val="accent1"/>
              </a:solidFill>
              <a:ln w="63500" cap="rnd">
                <a:noFill/>
              </a:ln>
              <a:effectLst/>
            </c:spPr>
            <c:extLst>
              <c:ext xmlns:c16="http://schemas.microsoft.com/office/drawing/2014/chart" uri="{C3380CC4-5D6E-409C-BE32-E72D297353CC}">
                <c16:uniqueId val="{00000003-2A6E-4090-AA2C-478E92D69C33}"/>
              </c:ext>
            </c:extLst>
          </c:dPt>
          <c:dPt>
            <c:idx val="2"/>
            <c:invertIfNegative val="0"/>
            <c:bubble3D val="0"/>
            <c:spPr>
              <a:solidFill>
                <a:schemeClr val="accent1"/>
              </a:solidFill>
              <a:ln w="63500" cap="rnd">
                <a:noFill/>
              </a:ln>
              <a:effectLst/>
            </c:spPr>
            <c:extLst>
              <c:ext xmlns:c16="http://schemas.microsoft.com/office/drawing/2014/chart" uri="{C3380CC4-5D6E-409C-BE32-E72D297353CC}">
                <c16:uniqueId val="{00000005-2A6E-4090-AA2C-478E92D69C33}"/>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patitis</c:v>
                </c:pt>
                <c:pt idx="1">
                  <c:v>Rabies</c:v>
                </c:pt>
                <c:pt idx="2">
                  <c:v>Typhoid</c:v>
                </c:pt>
                <c:pt idx="3">
                  <c:v>Yellow Fever</c:v>
                </c:pt>
                <c:pt idx="4">
                  <c:v>Japanese Encephalitis</c:v>
                </c:pt>
                <c:pt idx="5">
                  <c:v>Cholera</c:v>
                </c:pt>
                <c:pt idx="6">
                  <c:v>Tick-borne Encephalitis</c:v>
                </c:pt>
                <c:pt idx="7">
                  <c:v>Dengue</c:v>
                </c:pt>
                <c:pt idx="8">
                  <c:v>Chikungunya</c:v>
                </c:pt>
              </c:strCache>
            </c:strRef>
          </c:cat>
          <c:val>
            <c:numRef>
              <c:f>Sheet1!$B$2:$B$10</c:f>
              <c:numCache>
                <c:formatCode>0,"k"</c:formatCode>
                <c:ptCount val="9"/>
                <c:pt idx="0">
                  <c:v>272110</c:v>
                </c:pt>
                <c:pt idx="1">
                  <c:v>112798</c:v>
                </c:pt>
                <c:pt idx="2">
                  <c:v>151268</c:v>
                </c:pt>
                <c:pt idx="3">
                  <c:v>74979</c:v>
                </c:pt>
                <c:pt idx="4">
                  <c:v>47463</c:v>
                </c:pt>
                <c:pt idx="5">
                  <c:v>16879</c:v>
                </c:pt>
                <c:pt idx="6">
                  <c:v>12259</c:v>
                </c:pt>
                <c:pt idx="7">
                  <c:v>6506</c:v>
                </c:pt>
                <c:pt idx="8">
                  <c:v>0</c:v>
                </c:pt>
              </c:numCache>
            </c:numRef>
          </c:val>
          <c:extLst>
            <c:ext xmlns:c16="http://schemas.microsoft.com/office/drawing/2014/chart" uri="{C3380CC4-5D6E-409C-BE32-E72D297353CC}">
              <c16:uniqueId val="{00000006-2A6E-4090-AA2C-478E92D69C33}"/>
            </c:ext>
          </c:extLst>
        </c:ser>
        <c:ser>
          <c:idx val="1"/>
          <c:order val="1"/>
          <c:tx>
            <c:strRef>
              <c:f>Sheet1!$C$1</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patitis</c:v>
                </c:pt>
                <c:pt idx="1">
                  <c:v>Rabies</c:v>
                </c:pt>
                <c:pt idx="2">
                  <c:v>Typhoid</c:v>
                </c:pt>
                <c:pt idx="3">
                  <c:v>Yellow Fever</c:v>
                </c:pt>
                <c:pt idx="4">
                  <c:v>Japanese Encephalitis</c:v>
                </c:pt>
                <c:pt idx="5">
                  <c:v>Cholera</c:v>
                </c:pt>
                <c:pt idx="6">
                  <c:v>Tick-borne Encephalitis</c:v>
                </c:pt>
                <c:pt idx="7">
                  <c:v>Dengue</c:v>
                </c:pt>
                <c:pt idx="8">
                  <c:v>Chikungunya</c:v>
                </c:pt>
              </c:strCache>
            </c:strRef>
          </c:cat>
          <c:val>
            <c:numRef>
              <c:f>Sheet1!$C$2:$C$10</c:f>
              <c:numCache>
                <c:formatCode>0,"k"</c:formatCode>
                <c:ptCount val="9"/>
                <c:pt idx="0">
                  <c:v>306106</c:v>
                </c:pt>
                <c:pt idx="1">
                  <c:v>201972</c:v>
                </c:pt>
                <c:pt idx="2">
                  <c:v>173903</c:v>
                </c:pt>
                <c:pt idx="3">
                  <c:v>92649</c:v>
                </c:pt>
                <c:pt idx="4">
                  <c:v>66220</c:v>
                </c:pt>
                <c:pt idx="5">
                  <c:v>19559</c:v>
                </c:pt>
                <c:pt idx="6">
                  <c:v>17007</c:v>
                </c:pt>
                <c:pt idx="7">
                  <c:v>5856</c:v>
                </c:pt>
                <c:pt idx="8">
                  <c:v>2269</c:v>
                </c:pt>
              </c:numCache>
            </c:numRef>
          </c:val>
          <c:extLst>
            <c:ext xmlns:c16="http://schemas.microsoft.com/office/drawing/2014/chart" uri="{C3380CC4-5D6E-409C-BE32-E72D297353CC}">
              <c16:uniqueId val="{00000007-2A6E-4090-AA2C-478E92D69C33}"/>
            </c:ext>
          </c:extLst>
        </c:ser>
        <c:dLbls>
          <c:dLblPos val="outEnd"/>
          <c:showLegendKey val="0"/>
          <c:showVal val="1"/>
          <c:showCatName val="0"/>
          <c:showSerName val="0"/>
          <c:showPercent val="0"/>
          <c:showBubbleSize val="0"/>
        </c:dLbls>
        <c:gapWidth val="100"/>
        <c:overlap val="-10"/>
        <c:axId val="1322452559"/>
        <c:axId val="1369080127"/>
      </c:barChart>
      <c:catAx>
        <c:axId val="1322452559"/>
        <c:scaling>
          <c:orientation val="minMax"/>
        </c:scaling>
        <c:delete val="0"/>
        <c:axPos val="b"/>
        <c:numFmt formatCode="General" sourceLinked="1"/>
        <c:majorTickMark val="none"/>
        <c:minorTickMark val="none"/>
        <c:tickLblPos val="nextTo"/>
        <c:spPr>
          <a:noFill/>
          <a:ln w="38100" cap="rnd" cmpd="sng" algn="ctr">
            <a:solidFill>
              <a:srgbClr val="CACED0"/>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crossAx val="1369080127"/>
        <c:crossesAt val="0"/>
        <c:auto val="1"/>
        <c:lblAlgn val="ctr"/>
        <c:lblOffset val="100"/>
        <c:noMultiLvlLbl val="0"/>
      </c:catAx>
      <c:valAx>
        <c:axId val="1369080127"/>
        <c:scaling>
          <c:orientation val="minMax"/>
          <c:max val="40000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r>
                  <a:rPr lang="en-US"/>
                  <a:t>Volume (Units)</a:t>
                </a:r>
              </a:p>
            </c:rich>
          </c:tx>
          <c:layout>
            <c:manualLayout>
              <c:xMode val="edge"/>
              <c:yMode val="edge"/>
              <c:x val="1.7346818209873823E-2"/>
              <c:y val="0.31860830204845492"/>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title>
        <c:numFmt formatCode="0,&quot;k&quot;" sourceLinked="1"/>
        <c:majorTickMark val="none"/>
        <c:minorTickMark val="none"/>
        <c:tickLblPos val="none"/>
        <c:spPr>
          <a:noFill/>
          <a:ln w="38100" cap="rnd">
            <a:solidFill>
              <a:srgbClr val="CACED0"/>
            </a:solidFill>
          </a:ln>
          <a:effectLst/>
        </c:spPr>
        <c:txPr>
          <a:bodyPr rot="-600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crossAx val="1322452559"/>
        <c:crossesAt val="1"/>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aseline="0">
          <a:latin typeface="Noto Sans" panose="020B0502040504020204" pitchFamily="34"/>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400" b="1">
                <a:solidFill>
                  <a:schemeClr val="tx1"/>
                </a:solidFill>
              </a:rPr>
              <a:t>YoY Growth</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500438836099194"/>
          <c:y val="0.10763510321907536"/>
          <c:w val="0.85371734477292471"/>
          <c:h val="0.87675220754438798"/>
        </c:manualLayout>
      </c:layout>
      <c:barChart>
        <c:barDir val="bar"/>
        <c:grouping val="clustered"/>
        <c:varyColors val="0"/>
        <c:ser>
          <c:idx val="0"/>
          <c:order val="0"/>
          <c:tx>
            <c:strRef>
              <c:f>Sheet1!$B$1</c:f>
              <c:strCache>
                <c:ptCount val="1"/>
                <c:pt idx="0">
                  <c:v>ADH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6</c:v>
                </c:pt>
                <c:pt idx="1">
                  <c:v>2017</c:v>
                </c:pt>
                <c:pt idx="2">
                  <c:v>2018</c:v>
                </c:pt>
                <c:pt idx="3">
                  <c:v>2019</c:v>
                </c:pt>
                <c:pt idx="4">
                  <c:v>2020</c:v>
                </c:pt>
                <c:pt idx="5">
                  <c:v>2021</c:v>
                </c:pt>
                <c:pt idx="6">
                  <c:v>2022</c:v>
                </c:pt>
                <c:pt idx="7">
                  <c:v>2023</c:v>
                </c:pt>
                <c:pt idx="8">
                  <c:v>2024</c:v>
                </c:pt>
                <c:pt idx="9">
                  <c:v>2025</c:v>
                </c:pt>
              </c:numCache>
            </c:numRef>
          </c:cat>
          <c:val>
            <c:numRef>
              <c:f>Sheet1!$B$2:$B$11</c:f>
              <c:numCache>
                <c:formatCode>0.0%</c:formatCode>
                <c:ptCount val="10"/>
                <c:pt idx="0">
                  <c:v>0.12254649793140548</c:v>
                </c:pt>
                <c:pt idx="1">
                  <c:v>5.6093952096899269E-2</c:v>
                </c:pt>
                <c:pt idx="2">
                  <c:v>4.4203410205162719E-2</c:v>
                </c:pt>
                <c:pt idx="3">
                  <c:v>0.11243563867941919</c:v>
                </c:pt>
                <c:pt idx="4">
                  <c:v>2.0741120600642038E-2</c:v>
                </c:pt>
                <c:pt idx="5">
                  <c:v>9.2176735494841955E-2</c:v>
                </c:pt>
                <c:pt idx="6">
                  <c:v>0.18277126108387209</c:v>
                </c:pt>
                <c:pt idx="7">
                  <c:v>0.21429583206741887</c:v>
                </c:pt>
                <c:pt idx="8">
                  <c:v>0.20333708705304709</c:v>
                </c:pt>
                <c:pt idx="9">
                  <c:v>9.1884933640000721E-2</c:v>
                </c:pt>
              </c:numCache>
            </c:numRef>
          </c:val>
          <c:extLst>
            <c:ext xmlns:c16="http://schemas.microsoft.com/office/drawing/2014/chart" uri="{C3380CC4-5D6E-409C-BE32-E72D297353CC}">
              <c16:uniqueId val="{00000000-D363-4CDC-B5F6-DDF8BA2EFAFD}"/>
            </c:ext>
          </c:extLst>
        </c:ser>
        <c:ser>
          <c:idx val="1"/>
          <c:order val="1"/>
          <c:tx>
            <c:strRef>
              <c:f>Sheet1!$C$1</c:f>
              <c:strCache>
                <c:ptCount val="1"/>
                <c:pt idx="0">
                  <c:v>Total Mark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6</c:v>
                </c:pt>
                <c:pt idx="1">
                  <c:v>2017</c:v>
                </c:pt>
                <c:pt idx="2">
                  <c:v>2018</c:v>
                </c:pt>
                <c:pt idx="3">
                  <c:v>2019</c:v>
                </c:pt>
                <c:pt idx="4">
                  <c:v>2020</c:v>
                </c:pt>
                <c:pt idx="5">
                  <c:v>2021</c:v>
                </c:pt>
                <c:pt idx="6">
                  <c:v>2022</c:v>
                </c:pt>
                <c:pt idx="7">
                  <c:v>2023</c:v>
                </c:pt>
                <c:pt idx="8">
                  <c:v>2024</c:v>
                </c:pt>
                <c:pt idx="9">
                  <c:v>2025</c:v>
                </c:pt>
              </c:numCache>
            </c:numRef>
          </c:cat>
          <c:val>
            <c:numRef>
              <c:f>Sheet1!$C$2:$C$11</c:f>
              <c:numCache>
                <c:formatCode>0.0%</c:formatCode>
                <c:ptCount val="10"/>
                <c:pt idx="0">
                  <c:v>3.8043590456953158E-2</c:v>
                </c:pt>
                <c:pt idx="1">
                  <c:v>-1.1972506974679775E-2</c:v>
                </c:pt>
                <c:pt idx="2">
                  <c:v>-9.9453693018883849E-3</c:v>
                </c:pt>
                <c:pt idx="3">
                  <c:v>3.0820342402278156E-2</c:v>
                </c:pt>
                <c:pt idx="4">
                  <c:v>-4.690079928894364E-3</c:v>
                </c:pt>
                <c:pt idx="5">
                  <c:v>9.6727782946721685E-3</c:v>
                </c:pt>
                <c:pt idx="6">
                  <c:v>3.6480920393053395E-2</c:v>
                </c:pt>
                <c:pt idx="7">
                  <c:v>3.7536244839175836E-2</c:v>
                </c:pt>
                <c:pt idx="8">
                  <c:v>4.048689134276251E-2</c:v>
                </c:pt>
                <c:pt idx="9">
                  <c:v>-1.6387148845102839E-3</c:v>
                </c:pt>
              </c:numCache>
            </c:numRef>
          </c:val>
          <c:extLst>
            <c:ext xmlns:c16="http://schemas.microsoft.com/office/drawing/2014/chart" uri="{C3380CC4-5D6E-409C-BE32-E72D297353CC}">
              <c16:uniqueId val="{00000001-D363-4CDC-B5F6-DDF8BA2EFAFD}"/>
            </c:ext>
          </c:extLst>
        </c:ser>
        <c:dLbls>
          <c:showLegendKey val="0"/>
          <c:showVal val="0"/>
          <c:showCatName val="0"/>
          <c:showSerName val="0"/>
          <c:showPercent val="0"/>
          <c:showBubbleSize val="0"/>
        </c:dLbls>
        <c:gapWidth val="75"/>
        <c:axId val="1290771839"/>
        <c:axId val="1290768959"/>
      </c:barChart>
      <c:catAx>
        <c:axId val="1290771839"/>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1290768959"/>
        <c:crosses val="autoZero"/>
        <c:auto val="1"/>
        <c:lblAlgn val="ctr"/>
        <c:lblOffset val="100"/>
        <c:noMultiLvlLbl val="0"/>
      </c:catAx>
      <c:valAx>
        <c:axId val="1290768959"/>
        <c:scaling>
          <c:orientation val="minMax"/>
        </c:scaling>
        <c:delete val="1"/>
        <c:axPos val="t"/>
        <c:numFmt formatCode="0%" sourceLinked="0"/>
        <c:majorTickMark val="none"/>
        <c:minorTickMark val="none"/>
        <c:tickLblPos val="nextTo"/>
        <c:crossAx val="1290771839"/>
        <c:crosses val="autoZero"/>
        <c:crossBetween val="between"/>
      </c:valAx>
      <c:spPr>
        <a:noFill/>
        <a:ln>
          <a:noFill/>
        </a:ln>
        <a:effectLst/>
      </c:spPr>
    </c:plotArea>
    <c:legend>
      <c:legendPos val="b"/>
      <c:layout>
        <c:manualLayout>
          <c:xMode val="edge"/>
          <c:yMode val="edge"/>
          <c:x val="0.67988720121082935"/>
          <c:y val="0.19128655020185545"/>
          <c:w val="0.28853854145209967"/>
          <c:h val="9.3133816208723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dirty="0"/>
              <a:t>ADHD (Psychostimulant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Volume</c:v>
                </c:pt>
              </c:strCache>
            </c:strRef>
          </c:tx>
          <c:spPr>
            <a:solidFill>
              <a:schemeClr val="accent2"/>
            </a:solidFill>
            <a:ln cap="rnd" cmpd="thickThin">
              <a:no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Sheet1!$B$2:$B$12</c:f>
              <c:numCache>
                <c:formatCode>0.0,,"m"</c:formatCode>
                <c:ptCount val="11"/>
                <c:pt idx="0">
                  <c:v>2200528</c:v>
                </c:pt>
                <c:pt idx="1">
                  <c:v>2470195</c:v>
                </c:pt>
                <c:pt idx="2">
                  <c:v>2608758</c:v>
                </c:pt>
                <c:pt idx="3">
                  <c:v>2724074</c:v>
                </c:pt>
                <c:pt idx="4">
                  <c:v>3030357</c:v>
                </c:pt>
                <c:pt idx="5">
                  <c:v>3093210</c:v>
                </c:pt>
                <c:pt idx="6">
                  <c:v>3378332</c:v>
                </c:pt>
                <c:pt idx="7">
                  <c:v>3995794</c:v>
                </c:pt>
                <c:pt idx="8">
                  <c:v>4852076</c:v>
                </c:pt>
                <c:pt idx="9">
                  <c:v>5838683</c:v>
                </c:pt>
                <c:pt idx="10">
                  <c:v>6375170</c:v>
                </c:pt>
              </c:numCache>
            </c:numRef>
          </c:val>
          <c:extLst>
            <c:ext xmlns:c16="http://schemas.microsoft.com/office/drawing/2014/chart" uri="{C3380CC4-5D6E-409C-BE32-E72D297353CC}">
              <c16:uniqueId val="{00000000-631F-42DD-B583-EC7F0E0C2DC6}"/>
            </c:ext>
          </c:extLst>
        </c:ser>
        <c:dLbls>
          <c:showLegendKey val="0"/>
          <c:showVal val="0"/>
          <c:showCatName val="0"/>
          <c:showSerName val="0"/>
          <c:showPercent val="0"/>
          <c:showBubbleSize val="0"/>
        </c:dLbls>
        <c:gapWidth val="25"/>
        <c:axId val="1893168175"/>
        <c:axId val="1893168655"/>
      </c:barChart>
      <c:catAx>
        <c:axId val="1893168175"/>
        <c:scaling>
          <c:orientation val="minMax"/>
        </c:scaling>
        <c:delete val="0"/>
        <c:axPos val="b"/>
        <c:numFmt formatCode="General" sourceLinked="1"/>
        <c:majorTickMark val="none"/>
        <c:minorTickMark val="none"/>
        <c:tickLblPos val="nextTo"/>
        <c:spPr>
          <a:noFill/>
          <a:ln w="254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893168655"/>
        <c:crosses val="autoZero"/>
        <c:auto val="1"/>
        <c:lblAlgn val="ctr"/>
        <c:lblOffset val="100"/>
        <c:noMultiLvlLbl val="0"/>
      </c:catAx>
      <c:valAx>
        <c:axId val="1893168655"/>
        <c:scaling>
          <c:orientation val="minMax"/>
        </c:scaling>
        <c:delete val="0"/>
        <c:axPos val="l"/>
        <c:majorGridlines>
          <c:spPr>
            <a:ln w="6350"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100" b="0" i="0" u="none" strike="noStrike" kern="1200" baseline="0">
                    <a:solidFill>
                      <a:schemeClr val="tx1"/>
                    </a:solidFill>
                    <a:latin typeface="+mn-lt"/>
                    <a:ea typeface="+mn-ea"/>
                    <a:cs typeface="+mn-cs"/>
                  </a:defRPr>
                </a:pPr>
                <a:r>
                  <a:rPr lang="en-GB" sz="1100" b="1">
                    <a:solidFill>
                      <a:schemeClr val="tx1"/>
                    </a:solidFill>
                  </a:rPr>
                  <a:t>Volume (# of packs dispensed)</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title>
        <c:numFmt formatCode="0.0,,&quot;m&quot;" sourceLinked="1"/>
        <c:majorTickMark val="out"/>
        <c:minorTickMark val="none"/>
        <c:tickLblPos val="nextTo"/>
        <c:spPr>
          <a:noFill/>
          <a:ln w="25400">
            <a:solidFill>
              <a:srgbClr val="2B3A42">
                <a:lumMod val="20000"/>
                <a:lumOff val="80000"/>
              </a:srgb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8931681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solidFill>
        <a:srgbClr val="000000"/>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sz="1400" b="1"/>
              <a:t>No of Pharmacists / Foundation Pharmacists</a:t>
            </a:r>
          </a:p>
        </c:rich>
      </c:tx>
      <c:layout>
        <c:manualLayout>
          <c:xMode val="edge"/>
          <c:yMode val="edge"/>
          <c:x val="1.4358588383638456E-2"/>
          <c:y val="3.052376330689688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935472571043724"/>
          <c:y val="0.11436710058333818"/>
          <c:w val="0.74438990549916684"/>
          <c:h val="0.6567964425504319"/>
        </c:manualLayout>
      </c:layout>
      <c:barChart>
        <c:barDir val="col"/>
        <c:grouping val="stacked"/>
        <c:varyColors val="0"/>
        <c:ser>
          <c:idx val="0"/>
          <c:order val="1"/>
          <c:tx>
            <c:strRef>
              <c:f>Sheet1!$B$1</c:f>
              <c:strCache>
                <c:ptCount val="1"/>
                <c:pt idx="0">
                  <c:v>Pharmacists (F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5</c:f>
              <c:numCache>
                <c:formatCode>_-* #,##0_-;\-* #,##0_-;_-* "-"??_-;_-@_-</c:formatCode>
                <c:ptCount val="4"/>
                <c:pt idx="0">
                  <c:v>17843.099832236559</c:v>
                </c:pt>
                <c:pt idx="1">
                  <c:v>17666.172341717192</c:v>
                </c:pt>
                <c:pt idx="2">
                  <c:v>18926.589223456871</c:v>
                </c:pt>
                <c:pt idx="3">
                  <c:v>17414.659738240134</c:v>
                </c:pt>
              </c:numCache>
            </c:numRef>
          </c:val>
          <c:extLst>
            <c:ext xmlns:c16="http://schemas.microsoft.com/office/drawing/2014/chart" uri="{C3380CC4-5D6E-409C-BE32-E72D297353CC}">
              <c16:uniqueId val="{00000000-CC54-418E-A2B0-FD047395700F}"/>
            </c:ext>
          </c:extLst>
        </c:ser>
        <c:ser>
          <c:idx val="1"/>
          <c:order val="2"/>
          <c:tx>
            <c:strRef>
              <c:f>Sheet1!$C$1</c:f>
              <c:strCache>
                <c:ptCount val="1"/>
                <c:pt idx="0">
                  <c:v>Foundation pharmacists (F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5</c:f>
              <c:numCache>
                <c:formatCode>_-* #,##0_-;\-* #,##0_-;_-* "-"??_-;_-@_-</c:formatCode>
                <c:ptCount val="4"/>
                <c:pt idx="0">
                  <c:v>1419.0367148018649</c:v>
                </c:pt>
                <c:pt idx="1">
                  <c:v>1709.3457299999995</c:v>
                </c:pt>
                <c:pt idx="2">
                  <c:v>1669.823752552772</c:v>
                </c:pt>
                <c:pt idx="3">
                  <c:v>2045.860773976505</c:v>
                </c:pt>
              </c:numCache>
            </c:numRef>
          </c:val>
          <c:extLst>
            <c:ext xmlns:c16="http://schemas.microsoft.com/office/drawing/2014/chart" uri="{C3380CC4-5D6E-409C-BE32-E72D297353CC}">
              <c16:uniqueId val="{00000001-CC54-418E-A2B0-FD047395700F}"/>
            </c:ext>
          </c:extLst>
        </c:ser>
        <c:dLbls>
          <c:showLegendKey val="0"/>
          <c:showVal val="0"/>
          <c:showCatName val="0"/>
          <c:showSerName val="0"/>
          <c:showPercent val="0"/>
          <c:showBubbleSize val="0"/>
        </c:dLbls>
        <c:gapWidth val="100"/>
        <c:overlap val="100"/>
        <c:axId val="440585423"/>
        <c:axId val="440580143"/>
      </c:barChart>
      <c:lineChart>
        <c:grouping val="standard"/>
        <c:varyColors val="0"/>
        <c:ser>
          <c:idx val="5"/>
          <c:order val="5"/>
          <c:tx>
            <c:strRef>
              <c:f>Sheet1!$F$1</c:f>
              <c:strCache>
                <c:ptCount val="1"/>
                <c:pt idx="0">
                  <c:v>Total</c:v>
                </c:pt>
              </c:strCache>
            </c:strRef>
          </c:tx>
          <c:spPr>
            <a:ln w="25400"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F$2:$F$5</c:f>
              <c:numCache>
                <c:formatCode>0</c:formatCode>
                <c:ptCount val="4"/>
                <c:pt idx="0">
                  <c:v>19262.136547038426</c:v>
                </c:pt>
                <c:pt idx="1">
                  <c:v>19375.518071717193</c:v>
                </c:pt>
                <c:pt idx="2">
                  <c:v>20596.412976009644</c:v>
                </c:pt>
                <c:pt idx="3">
                  <c:v>19460.520512216641</c:v>
                </c:pt>
              </c:numCache>
            </c:numRef>
          </c:val>
          <c:smooth val="0"/>
          <c:extLst>
            <c:ext xmlns:c16="http://schemas.microsoft.com/office/drawing/2014/chart" uri="{C3380CC4-5D6E-409C-BE32-E72D297353CC}">
              <c16:uniqueId val="{00000001-78B2-47BA-B8AF-D3BD4B289A46}"/>
            </c:ext>
          </c:extLst>
        </c:ser>
        <c:dLbls>
          <c:showLegendKey val="0"/>
          <c:showVal val="0"/>
          <c:showCatName val="0"/>
          <c:showSerName val="0"/>
          <c:showPercent val="0"/>
          <c:showBubbleSize val="0"/>
        </c:dLbls>
        <c:marker val="1"/>
        <c:smooth val="0"/>
        <c:axId val="440585423"/>
        <c:axId val="440580143"/>
        <c:extLst>
          <c:ext xmlns:c15="http://schemas.microsoft.com/office/drawing/2012/chart" uri="{02D57815-91ED-43cb-92C2-25804820EDAC}">
            <c15:filteredLineSeries>
              <c15:ser>
                <c:idx val="2"/>
                <c:order val="0"/>
                <c:tx>
                  <c:strRef>
                    <c:extLst>
                      <c:ext uri="{02D57815-91ED-43cb-92C2-25804820EDAC}">
                        <c15:formulaRef>
                          <c15:sqref>Sheet1!$A$1</c15:sqref>
                        </c15:formulaRef>
                      </c:ext>
                    </c:extLst>
                    <c:strCache>
                      <c:ptCount val="1"/>
                      <c:pt idx="0">
                        <c:v>Column1</c:v>
                      </c:pt>
                    </c:strCache>
                  </c:strRef>
                </c:tx>
                <c:spPr>
                  <a:ln w="25400" cap="rnd">
                    <a:noFill/>
                    <a:round/>
                  </a:ln>
                  <a:effectLst/>
                </c:spPr>
                <c:marker>
                  <c:symbol val="none"/>
                </c:marker>
                <c:cat>
                  <c:numRef>
                    <c:extLst>
                      <c:ext uri="{02D57815-91ED-43cb-92C2-25804820EDAC}">
                        <c15:formulaRef>
                          <c15:sqref>Sheet1!$A$2:$A$5</c15:sqref>
                        </c15:formulaRef>
                      </c:ext>
                    </c:extLst>
                    <c:numCache>
                      <c:formatCode>General</c:formatCode>
                      <c:ptCount val="4"/>
                      <c:pt idx="0">
                        <c:v>2022</c:v>
                      </c:pt>
                      <c:pt idx="1">
                        <c:v>2023</c:v>
                      </c:pt>
                      <c:pt idx="2">
                        <c:v>2024</c:v>
                      </c:pt>
                      <c:pt idx="3">
                        <c:v>2025</c:v>
                      </c:pt>
                    </c:numCache>
                  </c:numRef>
                </c:cat>
                <c:val>
                  <c:numRef>
                    <c:extLst>
                      <c:ext uri="{02D57815-91ED-43cb-92C2-25804820EDAC}">
                        <c15:formulaRef>
                          <c15:sqref>Sheet1!$A$2:$A$5</c15:sqref>
                        </c15:formulaRef>
                      </c:ext>
                    </c:extLst>
                    <c:numCache>
                      <c:formatCode>General</c:formatCode>
                      <c:ptCount val="4"/>
                      <c:pt idx="0">
                        <c:v>2022</c:v>
                      </c:pt>
                      <c:pt idx="1">
                        <c:v>2023</c:v>
                      </c:pt>
                      <c:pt idx="2">
                        <c:v>2024</c:v>
                      </c:pt>
                      <c:pt idx="3">
                        <c:v>2025</c:v>
                      </c:pt>
                    </c:numCache>
                  </c:numRef>
                </c:val>
                <c:smooth val="0"/>
                <c:extLst>
                  <c:ext xmlns:c16="http://schemas.microsoft.com/office/drawing/2014/chart" uri="{C3380CC4-5D6E-409C-BE32-E72D297353CC}">
                    <c16:uniqueId val="{00000003-CC54-418E-A2B0-FD047395700F}"/>
                  </c:ext>
                </c:extLst>
              </c15:ser>
            </c15:filteredLineSeries>
          </c:ext>
        </c:extLst>
      </c:lineChart>
      <c:lineChart>
        <c:grouping val="standard"/>
        <c:varyColors val="0"/>
        <c:ser>
          <c:idx val="3"/>
          <c:order val="3"/>
          <c:tx>
            <c:strRef>
              <c:f>Sheet1!$D$1</c:f>
              <c:strCache>
                <c:ptCount val="1"/>
                <c:pt idx="0">
                  <c:v>% of pharmacists with IP qualification</c:v>
                </c:pt>
              </c:strCache>
            </c:strRef>
          </c:tx>
          <c:spPr>
            <a:ln w="28575" cap="rnd">
              <a:solidFill>
                <a:srgbClr val="830065"/>
              </a:solidFill>
              <a:round/>
            </a:ln>
            <a:effectLst/>
          </c:spPr>
          <c:marker>
            <c:symbol val="none"/>
          </c:marker>
          <c:dLbls>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8B2-47BA-B8AF-D3BD4B289A4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D$5</c:f>
              <c:numCache>
                <c:formatCode>0%</c:formatCode>
                <c:ptCount val="4"/>
                <c:pt idx="0">
                  <c:v>5.6875238852185622E-2</c:v>
                </c:pt>
                <c:pt idx="1">
                  <c:v>8.0636035978906534E-2</c:v>
                </c:pt>
                <c:pt idx="2">
                  <c:v>8.7357679915817998E-2</c:v>
                </c:pt>
                <c:pt idx="3">
                  <c:v>0.12213875677567364</c:v>
                </c:pt>
              </c:numCache>
            </c:numRef>
          </c:val>
          <c:smooth val="0"/>
          <c:extLst>
            <c:ext xmlns:c16="http://schemas.microsoft.com/office/drawing/2014/chart" uri="{C3380CC4-5D6E-409C-BE32-E72D297353CC}">
              <c16:uniqueId val="{00000004-CC54-418E-A2B0-FD047395700F}"/>
            </c:ext>
          </c:extLst>
        </c:ser>
        <c:ser>
          <c:idx val="4"/>
          <c:order val="4"/>
          <c:tx>
            <c:strRef>
              <c:f>Sheet1!$E$1</c:f>
              <c:strCache>
                <c:ptCount val="1"/>
                <c:pt idx="0">
                  <c:v>Of those qualified, % prescribing</c:v>
                </c:pt>
              </c:strCache>
            </c:strRef>
          </c:tx>
          <c:spPr>
            <a:ln w="25400" cap="rnd">
              <a:solidFill>
                <a:srgbClr val="536F7F"/>
              </a:solidFill>
              <a:round/>
            </a:ln>
            <a:effectLst/>
          </c:spPr>
          <c:marker>
            <c:symbol val="none"/>
          </c:marker>
          <c:dLbls>
            <c:dLbl>
              <c:idx val="3"/>
              <c:layout>
                <c:manualLayout>
                  <c:x val="2.295552159825362E-2"/>
                  <c:y val="-8.324662720062787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8B2-47BA-B8AF-D3BD4B289A4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5</c:f>
              <c:numCache>
                <c:formatCode>0%</c:formatCode>
                <c:ptCount val="4"/>
                <c:pt idx="0">
                  <c:v>0.16560388312553537</c:v>
                </c:pt>
                <c:pt idx="1">
                  <c:v>0.11234367829725378</c:v>
                </c:pt>
                <c:pt idx="2">
                  <c:v>8.2780090879206E-2</c:v>
                </c:pt>
                <c:pt idx="3">
                  <c:v>0.53442653055665867</c:v>
                </c:pt>
              </c:numCache>
            </c:numRef>
          </c:val>
          <c:smooth val="0"/>
          <c:extLst>
            <c:ext xmlns:c16="http://schemas.microsoft.com/office/drawing/2014/chart" uri="{C3380CC4-5D6E-409C-BE32-E72D297353CC}">
              <c16:uniqueId val="{00000005-CC54-418E-A2B0-FD047395700F}"/>
            </c:ext>
          </c:extLst>
        </c:ser>
        <c:dLbls>
          <c:showLegendKey val="0"/>
          <c:showVal val="0"/>
          <c:showCatName val="0"/>
          <c:showSerName val="0"/>
          <c:showPercent val="0"/>
          <c:showBubbleSize val="0"/>
        </c:dLbls>
        <c:marker val="1"/>
        <c:smooth val="0"/>
        <c:axId val="228948015"/>
        <c:axId val="228937935"/>
      </c:lineChart>
      <c:catAx>
        <c:axId val="440585423"/>
        <c:scaling>
          <c:orientation val="minMax"/>
        </c:scaling>
        <c:delete val="0"/>
        <c:axPos val="b"/>
        <c:numFmt formatCode="General" sourceLinked="1"/>
        <c:majorTickMark val="none"/>
        <c:minorTickMark val="none"/>
        <c:tickLblPos val="nextTo"/>
        <c:spPr>
          <a:noFill/>
          <a:ln w="22225" cap="flat" cmpd="sng" algn="ctr">
            <a:solidFill>
              <a:srgbClr val="CACED0"/>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40580143"/>
        <c:crosses val="autoZero"/>
        <c:auto val="1"/>
        <c:lblAlgn val="ctr"/>
        <c:lblOffset val="100"/>
        <c:noMultiLvlLbl val="0"/>
      </c:catAx>
      <c:valAx>
        <c:axId val="440580143"/>
        <c:scaling>
          <c:orientation val="minMax"/>
          <c:min val="0"/>
        </c:scaling>
        <c:delete val="0"/>
        <c:axPos val="l"/>
        <c:numFmt formatCode="#,##0" sourceLinked="0"/>
        <c:majorTickMark val="none"/>
        <c:minorTickMark val="none"/>
        <c:tickLblPos val="nextTo"/>
        <c:spPr>
          <a:noFill/>
          <a:ln w="22225">
            <a:solidFill>
              <a:srgbClr val="CACED0"/>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40585423"/>
        <c:crosses val="autoZero"/>
        <c:crossBetween val="between"/>
      </c:valAx>
      <c:valAx>
        <c:axId val="228937935"/>
        <c:scaling>
          <c:orientation val="minMax"/>
          <c:max val="1"/>
        </c:scaling>
        <c:delete val="0"/>
        <c:axPos val="r"/>
        <c:numFmt formatCode="0%" sourceLinked="1"/>
        <c:majorTickMark val="none"/>
        <c:minorTickMark val="none"/>
        <c:tickLblPos val="nextTo"/>
        <c:spPr>
          <a:noFill/>
          <a:ln w="22225">
            <a:solidFill>
              <a:srgbClr val="CACED0"/>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8948015"/>
        <c:crosses val="max"/>
        <c:crossBetween val="between"/>
        <c:majorUnit val="0.2"/>
      </c:valAx>
      <c:catAx>
        <c:axId val="228948015"/>
        <c:scaling>
          <c:orientation val="minMax"/>
        </c:scaling>
        <c:delete val="1"/>
        <c:axPos val="b"/>
        <c:numFmt formatCode="General" sourceLinked="1"/>
        <c:majorTickMark val="out"/>
        <c:minorTickMark val="none"/>
        <c:tickLblPos val="nextTo"/>
        <c:crossAx val="228937935"/>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0"/>
          <c:y val="0.88301926121568042"/>
          <c:w val="1"/>
          <c:h val="0.1169807387843195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sz="1400" b="1"/>
              <a:t>No of Pharmacy staff (including trainees) - FTE</a:t>
            </a:r>
          </a:p>
        </c:rich>
      </c:tx>
      <c:layout>
        <c:manualLayout>
          <c:xMode val="edge"/>
          <c:yMode val="edge"/>
          <c:x val="9.1746986607419811E-5"/>
          <c:y val="1.942421301347983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935472571043724"/>
          <c:y val="0.11436710058333818"/>
          <c:w val="0.69578468056757492"/>
          <c:h val="0.63775219248892556"/>
        </c:manualLayout>
      </c:layout>
      <c:lineChart>
        <c:grouping val="standard"/>
        <c:varyColors val="0"/>
        <c:ser>
          <c:idx val="0"/>
          <c:order val="0"/>
          <c:tx>
            <c:strRef>
              <c:f>Sheet1!$B$1</c:f>
              <c:strCache>
                <c:ptCount val="1"/>
                <c:pt idx="0">
                  <c:v>Pharmacy Technicians</c:v>
                </c:pt>
              </c:strCache>
            </c:strRef>
          </c:tx>
          <c:spPr>
            <a:ln w="28575" cap="rnd">
              <a:solidFill>
                <a:schemeClr val="accent6"/>
              </a:solidFill>
              <a:round/>
            </a:ln>
            <a:effectLst/>
          </c:spPr>
          <c:marker>
            <c:symbol val="none"/>
          </c:marker>
          <c:dLbls>
            <c:dLbl>
              <c:idx val="0"/>
              <c:layout>
                <c:manualLayout>
                  <c:x val="-5.322069117716343E-2"/>
                  <c:y val="-2.539022129619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02-4703-971D-6AE81807568C}"/>
                </c:ext>
              </c:extLst>
            </c:dLbl>
            <c:dLbl>
              <c:idx val="1"/>
              <c:layout>
                <c:manualLayout>
                  <c:x val="-5.3220691177163507E-2"/>
                  <c:y val="-3.09399964429000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F02-4703-971D-6AE81807568C}"/>
                </c:ext>
              </c:extLst>
            </c:dLbl>
            <c:dLbl>
              <c:idx val="2"/>
              <c:layout>
                <c:manualLayout>
                  <c:x val="-5.3220691177163507E-2"/>
                  <c:y val="-2.81651088695457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02-4703-971D-6AE81807568C}"/>
                </c:ext>
              </c:extLst>
            </c:dLbl>
            <c:dLbl>
              <c:idx val="3"/>
              <c:layout>
                <c:manualLayout>
                  <c:x val="-2.8342379916832597E-3"/>
                  <c:y val="-4.1623313600313932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88-447B-AFEA-9A0E28B8A14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36F7F"/>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B$2:$B$5</c:f>
              <c:numCache>
                <c:formatCode>_-* #,##0_-;\-* #,##0_-;_-* "-"??_-;_-@_-</c:formatCode>
                <c:ptCount val="4"/>
                <c:pt idx="0">
                  <c:v>5996.5414333995413</c:v>
                </c:pt>
                <c:pt idx="1">
                  <c:v>5316.7459670321714</c:v>
                </c:pt>
                <c:pt idx="2">
                  <c:v>5501.7348255230345</c:v>
                </c:pt>
                <c:pt idx="3">
                  <c:v>7825.0779499750515</c:v>
                </c:pt>
              </c:numCache>
            </c:numRef>
          </c:val>
          <c:smooth val="0"/>
          <c:extLst>
            <c:ext xmlns:c16="http://schemas.microsoft.com/office/drawing/2014/chart" uri="{C3380CC4-5D6E-409C-BE32-E72D297353CC}">
              <c16:uniqueId val="{00000000-CC54-418E-A2B0-FD047395700F}"/>
            </c:ext>
          </c:extLst>
        </c:ser>
        <c:ser>
          <c:idx val="1"/>
          <c:order val="1"/>
          <c:tx>
            <c:strRef>
              <c:f>Sheet1!$C$1</c:f>
              <c:strCache>
                <c:ptCount val="1"/>
                <c:pt idx="0">
                  <c:v>Accuracy checkers</c:v>
                </c:pt>
              </c:strCache>
            </c:strRef>
          </c:tx>
          <c:spPr>
            <a:ln w="28575" cap="rnd">
              <a:solidFill>
                <a:schemeClr val="accent5"/>
              </a:solidFill>
              <a:round/>
            </a:ln>
            <a:effectLst/>
          </c:spPr>
          <c:marker>
            <c:symbol val="none"/>
          </c:marker>
          <c:dLbls>
            <c:dLbl>
              <c:idx val="3"/>
              <c:layout>
                <c:manualLayout>
                  <c:x val="-7.3480244228825247E-4"/>
                  <c:y val="-8.7408958560660274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02-4703-971D-6AE81807568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C$2:$C$5</c:f>
              <c:numCache>
                <c:formatCode>_-* #,##0_-;\-* #,##0_-;_-* "-"??_-;_-@_-</c:formatCode>
                <c:ptCount val="4"/>
                <c:pt idx="0">
                  <c:v>963.3640954711957</c:v>
                </c:pt>
                <c:pt idx="1">
                  <c:v>1148.646426613451</c:v>
                </c:pt>
                <c:pt idx="2">
                  <c:v>1093.4972599120044</c:v>
                </c:pt>
                <c:pt idx="3">
                  <c:v>1470.8551755070971</c:v>
                </c:pt>
              </c:numCache>
            </c:numRef>
          </c:val>
          <c:smooth val="0"/>
          <c:extLst>
            <c:ext xmlns:c16="http://schemas.microsoft.com/office/drawing/2014/chart" uri="{C3380CC4-5D6E-409C-BE32-E72D297353CC}">
              <c16:uniqueId val="{00000001-CC54-418E-A2B0-FD047395700F}"/>
            </c:ext>
          </c:extLst>
        </c:ser>
        <c:ser>
          <c:idx val="2"/>
          <c:order val="2"/>
          <c:tx>
            <c:strRef>
              <c:f>Sheet1!$D$1</c:f>
              <c:strCache>
                <c:ptCount val="1"/>
                <c:pt idx="0">
                  <c:v>Dispensing Assistants</c:v>
                </c:pt>
              </c:strCache>
            </c:strRef>
          </c:tx>
          <c:spPr>
            <a:ln w="28575" cap="rnd">
              <a:solidFill>
                <a:schemeClr val="accent3"/>
              </a:solidFill>
              <a:round/>
            </a:ln>
            <a:effectLst/>
          </c:spPr>
          <c:marker>
            <c:symbol val="none"/>
          </c:marker>
          <c:dLbls>
            <c:dLbl>
              <c:idx val="3"/>
              <c:layout>
                <c:manualLayout>
                  <c:x val="-5.8207263881691019E-3"/>
                  <c:y val="-5.966008282711664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F02-4703-971D-6AE81807568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D$2:$D$5</c:f>
              <c:numCache>
                <c:formatCode>_-* #,##0_-;\-* #,##0_-;_-* "-"??_-;_-@_-</c:formatCode>
                <c:ptCount val="4"/>
                <c:pt idx="0">
                  <c:v>29914.199016546165</c:v>
                </c:pt>
                <c:pt idx="1">
                  <c:v>29556.73866536795</c:v>
                </c:pt>
                <c:pt idx="2">
                  <c:v>29229.424857712886</c:v>
                </c:pt>
                <c:pt idx="3">
                  <c:v>31209.215613939068</c:v>
                </c:pt>
              </c:numCache>
            </c:numRef>
          </c:val>
          <c:smooth val="0"/>
          <c:extLst>
            <c:ext xmlns:c16="http://schemas.microsoft.com/office/drawing/2014/chart" uri="{C3380CC4-5D6E-409C-BE32-E72D297353CC}">
              <c16:uniqueId val="{00000003-CC54-418E-A2B0-FD047395700F}"/>
            </c:ext>
          </c:extLst>
        </c:ser>
        <c:ser>
          <c:idx val="3"/>
          <c:order val="3"/>
          <c:tx>
            <c:strRef>
              <c:f>Sheet1!$E$1</c:f>
              <c:strCache>
                <c:ptCount val="1"/>
                <c:pt idx="0">
                  <c:v>Medicines Counter Assistants</c:v>
                </c:pt>
              </c:strCache>
            </c:strRef>
          </c:tx>
          <c:spPr>
            <a:ln w="28575" cap="rnd">
              <a:solidFill>
                <a:schemeClr val="accent4"/>
              </a:solidFill>
              <a:round/>
            </a:ln>
            <a:effectLst/>
          </c:spPr>
          <c:marker>
            <c:symbol val="none"/>
          </c:marker>
          <c:dLbls>
            <c:dLbl>
              <c:idx val="3"/>
              <c:layout>
                <c:manualLayout>
                  <c:x val="-7.3480244228825247E-4"/>
                  <c:y val="-2.81651088695457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F02-4703-971D-6AE81807568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22</c:v>
                </c:pt>
                <c:pt idx="1">
                  <c:v>2023</c:v>
                </c:pt>
                <c:pt idx="2">
                  <c:v>2024</c:v>
                </c:pt>
                <c:pt idx="3">
                  <c:v>2025</c:v>
                </c:pt>
              </c:numCache>
            </c:numRef>
          </c:cat>
          <c:val>
            <c:numRef>
              <c:f>Sheet1!$E$2:$E$5</c:f>
              <c:numCache>
                <c:formatCode>_-* #,##0_-;\-* #,##0_-;_-* "-"??_-;_-@_-</c:formatCode>
                <c:ptCount val="4"/>
                <c:pt idx="0">
                  <c:v>9106.2756379056264</c:v>
                </c:pt>
                <c:pt idx="1">
                  <c:v>11439.060539778762</c:v>
                </c:pt>
                <c:pt idx="2">
                  <c:v>8701.1336231664209</c:v>
                </c:pt>
                <c:pt idx="3">
                  <c:v>9290.2435017911102</c:v>
                </c:pt>
              </c:numCache>
            </c:numRef>
          </c:val>
          <c:smooth val="0"/>
          <c:extLst>
            <c:ext xmlns:c16="http://schemas.microsoft.com/office/drawing/2014/chart" uri="{C3380CC4-5D6E-409C-BE32-E72D297353CC}">
              <c16:uniqueId val="{00000000-AB88-447B-AFEA-9A0E28B8A145}"/>
            </c:ext>
          </c:extLst>
        </c:ser>
        <c:dLbls>
          <c:showLegendKey val="0"/>
          <c:showVal val="0"/>
          <c:showCatName val="0"/>
          <c:showSerName val="0"/>
          <c:showPercent val="0"/>
          <c:showBubbleSize val="0"/>
        </c:dLbls>
        <c:smooth val="0"/>
        <c:axId val="440585423"/>
        <c:axId val="440580143"/>
      </c:lineChart>
      <c:catAx>
        <c:axId val="440585423"/>
        <c:scaling>
          <c:orientation val="minMax"/>
        </c:scaling>
        <c:delete val="0"/>
        <c:axPos val="b"/>
        <c:numFmt formatCode="General" sourceLinked="1"/>
        <c:majorTickMark val="none"/>
        <c:minorTickMark val="none"/>
        <c:tickLblPos val="nextTo"/>
        <c:spPr>
          <a:noFill/>
          <a:ln w="22225" cap="flat" cmpd="sng" algn="ctr">
            <a:solidFill>
              <a:srgbClr val="CACED0"/>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40580143"/>
        <c:crosses val="autoZero"/>
        <c:auto val="1"/>
        <c:lblAlgn val="ctr"/>
        <c:lblOffset val="100"/>
        <c:noMultiLvlLbl val="0"/>
      </c:catAx>
      <c:valAx>
        <c:axId val="440580143"/>
        <c:scaling>
          <c:orientation val="minMax"/>
          <c:min val="0"/>
        </c:scaling>
        <c:delete val="0"/>
        <c:axPos val="l"/>
        <c:numFmt formatCode="#,##0" sourceLinked="0"/>
        <c:majorTickMark val="none"/>
        <c:minorTickMark val="none"/>
        <c:tickLblPos val="nextTo"/>
        <c:spPr>
          <a:noFill/>
          <a:ln w="22225">
            <a:solidFill>
              <a:srgbClr val="CACED0"/>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40585423"/>
        <c:crosses val="autoZero"/>
        <c:crossBetween val="between"/>
      </c:valAx>
      <c:spPr>
        <a:noFill/>
        <a:ln>
          <a:noFill/>
        </a:ln>
        <a:effectLst/>
      </c:spPr>
    </c:plotArea>
    <c:legend>
      <c:legendPos val="b"/>
      <c:layout>
        <c:manualLayout>
          <c:xMode val="edge"/>
          <c:yMode val="edge"/>
          <c:x val="0.10351853826386599"/>
          <c:y val="0.85681995262152588"/>
          <c:w val="0.79570855536517371"/>
          <c:h val="9.0457183484743159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GB"/>
              <a:t>Items Dispense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7.3651896888449003E-2"/>
          <c:y val="0.1149080944126"/>
          <c:w val="0.86672510215855059"/>
          <c:h val="0.81929451433131106"/>
        </c:manualLayout>
      </c:layout>
      <c:barChart>
        <c:barDir val="col"/>
        <c:grouping val="clustered"/>
        <c:varyColors val="0"/>
        <c:ser>
          <c:idx val="0"/>
          <c:order val="0"/>
          <c:tx>
            <c:strRef>
              <c:f>Sheet1!$B$1</c:f>
              <c:strCache>
                <c:ptCount val="1"/>
                <c:pt idx="0">
                  <c:v>Items Dispensed</c:v>
                </c:pt>
              </c:strCache>
            </c:strRef>
          </c:tx>
          <c:spPr>
            <a:solidFill>
              <a:srgbClr val="959CA0"/>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B855-40DF-ADA3-F23FB44523FA}"/>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3-B855-40DF-ADA3-F23FB44523FA}"/>
              </c:ext>
            </c:extLst>
          </c:dPt>
          <c:dPt>
            <c:idx val="24"/>
            <c:invertIfNegative val="0"/>
            <c:bubble3D val="0"/>
            <c:spPr>
              <a:solidFill>
                <a:schemeClr val="accent1"/>
              </a:solidFill>
              <a:ln>
                <a:noFill/>
              </a:ln>
              <a:effectLst/>
            </c:spPr>
            <c:extLst>
              <c:ext xmlns:c16="http://schemas.microsoft.com/office/drawing/2014/chart" uri="{C3380CC4-5D6E-409C-BE32-E72D297353CC}">
                <c16:uniqueId val="{00000005-B855-40DF-ADA3-F23FB44523FA}"/>
              </c:ext>
            </c:extLst>
          </c:dPt>
          <c:dPt>
            <c:idx val="36"/>
            <c:invertIfNegative val="0"/>
            <c:bubble3D val="0"/>
            <c:spPr>
              <a:solidFill>
                <a:schemeClr val="accent1"/>
              </a:solidFill>
              <a:ln>
                <a:noFill/>
              </a:ln>
              <a:effectLst/>
            </c:spPr>
            <c:extLst>
              <c:ext xmlns:c16="http://schemas.microsoft.com/office/drawing/2014/chart" uri="{C3380CC4-5D6E-409C-BE32-E72D297353CC}">
                <c16:uniqueId val="{00000007-B855-40DF-ADA3-F23FB44523FA}"/>
              </c:ext>
            </c:extLst>
          </c:dPt>
          <c:dPt>
            <c:idx val="48"/>
            <c:invertIfNegative val="0"/>
            <c:bubble3D val="0"/>
            <c:spPr>
              <a:solidFill>
                <a:schemeClr val="accent1"/>
              </a:solidFill>
              <a:ln>
                <a:noFill/>
              </a:ln>
              <a:effectLst/>
            </c:spPr>
            <c:extLst>
              <c:ext xmlns:c16="http://schemas.microsoft.com/office/drawing/2014/chart" uri="{C3380CC4-5D6E-409C-BE32-E72D297353CC}">
                <c16:uniqueId val="{00000009-B855-40DF-ADA3-F23FB44523FA}"/>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55-40DF-ADA3-F23FB44523FA}"/>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55-40DF-ADA3-F23FB44523FA}"/>
                </c:ext>
              </c:extLst>
            </c:dLbl>
            <c:dLbl>
              <c:idx val="2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55-40DF-ADA3-F23FB44523FA}"/>
                </c:ext>
              </c:extLst>
            </c:dLbl>
            <c:dLbl>
              <c:idx val="3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855-40DF-ADA3-F23FB44523FA}"/>
                </c:ext>
              </c:extLst>
            </c:dLbl>
            <c:dLbl>
              <c:idx val="4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855-40DF-ADA3-F23FB44523FA}"/>
                </c:ext>
              </c:extLst>
            </c:dLbl>
            <c:numFmt formatCode="0,,&quot;m&quot;" sourceLinked="0"/>
            <c:spPr>
              <a:solidFill>
                <a:schemeClr val="accent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B$2:$B$50</c:f>
              <c:numCache>
                <c:formatCode>0,,"m"</c:formatCode>
                <c:ptCount val="49"/>
                <c:pt idx="0">
                  <c:v>81408811</c:v>
                </c:pt>
                <c:pt idx="1">
                  <c:v>92491896</c:v>
                </c:pt>
                <c:pt idx="2">
                  <c:v>86505842</c:v>
                </c:pt>
                <c:pt idx="3">
                  <c:v>90563959</c:v>
                </c:pt>
                <c:pt idx="4">
                  <c:v>88264719</c:v>
                </c:pt>
                <c:pt idx="5">
                  <c:v>88056468</c:v>
                </c:pt>
                <c:pt idx="6">
                  <c:v>89983043</c:v>
                </c:pt>
                <c:pt idx="7">
                  <c:v>89202855</c:v>
                </c:pt>
                <c:pt idx="8">
                  <c:v>88878336</c:v>
                </c:pt>
                <c:pt idx="9">
                  <c:v>91381577</c:v>
                </c:pt>
                <c:pt idx="10">
                  <c:v>92954726</c:v>
                </c:pt>
                <c:pt idx="11">
                  <c:v>92083699</c:v>
                </c:pt>
                <c:pt idx="12">
                  <c:v>84672252</c:v>
                </c:pt>
                <c:pt idx="13">
                  <c:v>96436579</c:v>
                </c:pt>
                <c:pt idx="14">
                  <c:v>86229199</c:v>
                </c:pt>
                <c:pt idx="15">
                  <c:v>92493747</c:v>
                </c:pt>
                <c:pt idx="16">
                  <c:v>94460955</c:v>
                </c:pt>
                <c:pt idx="17">
                  <c:v>91520353</c:v>
                </c:pt>
                <c:pt idx="18">
                  <c:v>93294638</c:v>
                </c:pt>
                <c:pt idx="19">
                  <c:v>91413823</c:v>
                </c:pt>
                <c:pt idx="20">
                  <c:v>93365526</c:v>
                </c:pt>
                <c:pt idx="21">
                  <c:v>94546207</c:v>
                </c:pt>
                <c:pt idx="22">
                  <c:v>93793612</c:v>
                </c:pt>
                <c:pt idx="23">
                  <c:v>97203743</c:v>
                </c:pt>
                <c:pt idx="24">
                  <c:v>91265505</c:v>
                </c:pt>
                <c:pt idx="25">
                  <c:v>93146489</c:v>
                </c:pt>
                <c:pt idx="26">
                  <c:v>96189352</c:v>
                </c:pt>
                <c:pt idx="27">
                  <c:v>98530002</c:v>
                </c:pt>
                <c:pt idx="28">
                  <c:v>92157233</c:v>
                </c:pt>
                <c:pt idx="29">
                  <c:v>100151373</c:v>
                </c:pt>
                <c:pt idx="30">
                  <c:v>95709916</c:v>
                </c:pt>
                <c:pt idx="31">
                  <c:v>93677810</c:v>
                </c:pt>
                <c:pt idx="32">
                  <c:v>99920580</c:v>
                </c:pt>
                <c:pt idx="33">
                  <c:v>95907007</c:v>
                </c:pt>
                <c:pt idx="34">
                  <c:v>98614291</c:v>
                </c:pt>
                <c:pt idx="35">
                  <c:v>100996484</c:v>
                </c:pt>
                <c:pt idx="36">
                  <c:v>90323794</c:v>
                </c:pt>
                <c:pt idx="37">
                  <c:v>96035361</c:v>
                </c:pt>
                <c:pt idx="38">
                  <c:v>96556522</c:v>
                </c:pt>
                <c:pt idx="39">
                  <c:v>99864449</c:v>
                </c:pt>
                <c:pt idx="40">
                  <c:v>96784920</c:v>
                </c:pt>
                <c:pt idx="41">
                  <c:v>103067124</c:v>
                </c:pt>
                <c:pt idx="42">
                  <c:v>94229833</c:v>
                </c:pt>
                <c:pt idx="43">
                  <c:v>99610557</c:v>
                </c:pt>
                <c:pt idx="44">
                  <c:v>106031101</c:v>
                </c:pt>
                <c:pt idx="45">
                  <c:v>95743505</c:v>
                </c:pt>
                <c:pt idx="46">
                  <c:v>105339746</c:v>
                </c:pt>
                <c:pt idx="47">
                  <c:v>101150757</c:v>
                </c:pt>
                <c:pt idx="48">
                  <c:v>93046364</c:v>
                </c:pt>
              </c:numCache>
            </c:numRef>
          </c:val>
          <c:extLst>
            <c:ext xmlns:c16="http://schemas.microsoft.com/office/drawing/2014/chart" uri="{C3380CC4-5D6E-409C-BE32-E72D297353CC}">
              <c16:uniqueId val="{0000000A-B855-40DF-ADA3-F23FB44523FA}"/>
            </c:ext>
          </c:extLst>
        </c:ser>
        <c:dLbls>
          <c:showLegendKey val="0"/>
          <c:showVal val="0"/>
          <c:showCatName val="0"/>
          <c:showSerName val="0"/>
          <c:showPercent val="0"/>
          <c:showBubbleSize val="0"/>
        </c:dLbls>
        <c:gapWidth val="50"/>
        <c:overlap val="-27"/>
        <c:axId val="1699676783"/>
        <c:axId val="1699673423"/>
      </c:barChart>
      <c:dateAx>
        <c:axId val="169967678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699673423"/>
        <c:crosses val="autoZero"/>
        <c:auto val="1"/>
        <c:lblOffset val="100"/>
        <c:baseTimeUnit val="months"/>
        <c:majorUnit val="12"/>
        <c:majorTimeUnit val="months"/>
      </c:dateAx>
      <c:valAx>
        <c:axId val="1699673423"/>
        <c:scaling>
          <c:orientation val="minMax"/>
          <c:max val="110000000.00000001"/>
          <c:min val="60000000"/>
        </c:scaling>
        <c:delete val="0"/>
        <c:axPos val="l"/>
        <c:majorGridlines>
          <c:spPr>
            <a:ln w="6350" cap="flat" cmpd="sng" algn="ctr">
              <a:solidFill>
                <a:schemeClr val="tx1">
                  <a:lumMod val="15000"/>
                  <a:lumOff val="85000"/>
                </a:schemeClr>
              </a:solidFill>
              <a:prstDash val="dash"/>
              <a:round/>
            </a:ln>
            <a:effectLst/>
          </c:spPr>
        </c:majorGridlines>
        <c:numFmt formatCode="0,,&quot;m&quot;" sourceLinked="1"/>
        <c:majorTickMark val="none"/>
        <c:minorTickMark val="none"/>
        <c:tickLblPos val="none"/>
        <c:spPr>
          <a:noFill/>
          <a:ln w="25400">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967678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solidFill>
        <a:schemeClr val="tx1"/>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Noto Sans" panose="020B0502040504020204" pitchFamily="34"/>
                <a:ea typeface="+mn-ea"/>
                <a:cs typeface="+mn-cs"/>
              </a:defRPr>
            </a:pPr>
            <a:r>
              <a:rPr lang="en-US" sz="1600" b="1"/>
              <a:t>Generics concessionary trend</a:t>
            </a:r>
          </a:p>
        </c:rich>
      </c:tx>
      <c:layout>
        <c:manualLayout>
          <c:xMode val="edge"/>
          <c:yMode val="edge"/>
          <c:x val="3.4616400489072538E-2"/>
          <c:y val="5.1009205540343702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Noto Sans" panose="020B0502040504020204" pitchFamily="34"/>
              <a:ea typeface="+mn-ea"/>
              <a:cs typeface="+mn-cs"/>
            </a:defRPr>
          </a:pPr>
          <a:endParaRPr lang="en-US"/>
        </a:p>
      </c:txPr>
    </c:title>
    <c:autoTitleDeleted val="0"/>
    <c:plotArea>
      <c:layout>
        <c:manualLayout>
          <c:layoutTarget val="inner"/>
          <c:xMode val="edge"/>
          <c:yMode val="edge"/>
          <c:x val="0.16303312045733842"/>
          <c:y val="0.15884367600903035"/>
          <c:w val="0.80284180610112366"/>
          <c:h val="0.68605953817120602"/>
        </c:manualLayout>
      </c:layout>
      <c:barChart>
        <c:barDir val="col"/>
        <c:grouping val="clustered"/>
        <c:varyColors val="0"/>
        <c:ser>
          <c:idx val="0"/>
          <c:order val="0"/>
          <c:tx>
            <c:strRef>
              <c:f>Sheet1!$B$1</c:f>
              <c:strCache>
                <c:ptCount val="1"/>
                <c:pt idx="0">
                  <c:v>Count</c:v>
                </c:pt>
              </c:strCache>
            </c:strRef>
          </c:tx>
          <c:spPr>
            <a:solidFill>
              <a:srgbClr val="008F86"/>
            </a:solidFill>
            <a:ln>
              <a:solidFill>
                <a:srgbClr val="00BFB3"/>
              </a:solidFill>
            </a:ln>
            <a:effectLst/>
          </c:spPr>
          <c:invertIfNegative val="0"/>
          <c:dPt>
            <c:idx val="0"/>
            <c:invertIfNegative val="0"/>
            <c:bubble3D val="0"/>
            <c:spPr>
              <a:solidFill>
                <a:srgbClr val="008F86"/>
              </a:solidFill>
              <a:ln w="28575" cap="rnd">
                <a:solidFill>
                  <a:srgbClr val="00BFB3"/>
                </a:solidFill>
                <a:round/>
              </a:ln>
              <a:effectLst/>
            </c:spPr>
            <c:extLst>
              <c:ext xmlns:c16="http://schemas.microsoft.com/office/drawing/2014/chart" uri="{C3380CC4-5D6E-409C-BE32-E72D297353CC}">
                <c16:uniqueId val="{00000001-1AE8-45E2-8F03-CC4B8508449D}"/>
              </c:ext>
            </c:extLst>
          </c:dPt>
          <c:dLbls>
            <c:delete val="1"/>
          </c:dLbls>
          <c:cat>
            <c:numRef>
              <c:f>Sheet1!$A$2:$A$124</c:f>
              <c:numCache>
                <c:formatCode>mmm\-yy</c:formatCode>
                <c:ptCount val="121"/>
                <c:pt idx="0">
                  <c:v>42461</c:v>
                </c:pt>
                <c:pt idx="1">
                  <c:v>42491</c:v>
                </c:pt>
                <c:pt idx="2">
                  <c:v>42522</c:v>
                </c:pt>
                <c:pt idx="3">
                  <c:v>42552</c:v>
                </c:pt>
                <c:pt idx="4">
                  <c:v>42583</c:v>
                </c:pt>
                <c:pt idx="5">
                  <c:v>42614</c:v>
                </c:pt>
                <c:pt idx="6">
                  <c:v>42644</c:v>
                </c:pt>
                <c:pt idx="7">
                  <c:v>42675</c:v>
                </c:pt>
                <c:pt idx="8">
                  <c:v>42705</c:v>
                </c:pt>
                <c:pt idx="9">
                  <c:v>42736</c:v>
                </c:pt>
                <c:pt idx="10">
                  <c:v>42767</c:v>
                </c:pt>
                <c:pt idx="11">
                  <c:v>42795</c:v>
                </c:pt>
                <c:pt idx="12">
                  <c:v>42826</c:v>
                </c:pt>
                <c:pt idx="13">
                  <c:v>42856</c:v>
                </c:pt>
                <c:pt idx="14">
                  <c:v>42887</c:v>
                </c:pt>
                <c:pt idx="15">
                  <c:v>42917</c:v>
                </c:pt>
                <c:pt idx="16">
                  <c:v>42948</c:v>
                </c:pt>
                <c:pt idx="17">
                  <c:v>42979</c:v>
                </c:pt>
                <c:pt idx="18">
                  <c:v>43009</c:v>
                </c:pt>
                <c:pt idx="19">
                  <c:v>43040</c:v>
                </c:pt>
                <c:pt idx="20">
                  <c:v>43070</c:v>
                </c:pt>
                <c:pt idx="21">
                  <c:v>43101</c:v>
                </c:pt>
                <c:pt idx="22">
                  <c:v>43132</c:v>
                </c:pt>
                <c:pt idx="23">
                  <c:v>43160</c:v>
                </c:pt>
                <c:pt idx="24">
                  <c:v>43191</c:v>
                </c:pt>
                <c:pt idx="25">
                  <c:v>43221</c:v>
                </c:pt>
                <c:pt idx="26">
                  <c:v>43252</c:v>
                </c:pt>
                <c:pt idx="27">
                  <c:v>43282</c:v>
                </c:pt>
                <c:pt idx="28">
                  <c:v>43313</c:v>
                </c:pt>
                <c:pt idx="29">
                  <c:v>43344</c:v>
                </c:pt>
                <c:pt idx="30">
                  <c:v>43374</c:v>
                </c:pt>
                <c:pt idx="31">
                  <c:v>43405</c:v>
                </c:pt>
                <c:pt idx="32">
                  <c:v>43435</c:v>
                </c:pt>
                <c:pt idx="33">
                  <c:v>43466</c:v>
                </c:pt>
                <c:pt idx="34">
                  <c:v>43497</c:v>
                </c:pt>
                <c:pt idx="35">
                  <c:v>43525</c:v>
                </c:pt>
                <c:pt idx="36">
                  <c:v>43556</c:v>
                </c:pt>
                <c:pt idx="37">
                  <c:v>43586</c:v>
                </c:pt>
                <c:pt idx="38">
                  <c:v>43617</c:v>
                </c:pt>
                <c:pt idx="39">
                  <c:v>43647</c:v>
                </c:pt>
                <c:pt idx="40">
                  <c:v>43678</c:v>
                </c:pt>
                <c:pt idx="41">
                  <c:v>43709</c:v>
                </c:pt>
                <c:pt idx="42">
                  <c:v>43739</c:v>
                </c:pt>
                <c:pt idx="43">
                  <c:v>43770</c:v>
                </c:pt>
                <c:pt idx="44">
                  <c:v>43800</c:v>
                </c:pt>
                <c:pt idx="45">
                  <c:v>43831</c:v>
                </c:pt>
                <c:pt idx="46">
                  <c:v>43862</c:v>
                </c:pt>
                <c:pt idx="47">
                  <c:v>43891</c:v>
                </c:pt>
                <c:pt idx="48">
                  <c:v>43922</c:v>
                </c:pt>
                <c:pt idx="49">
                  <c:v>43952</c:v>
                </c:pt>
                <c:pt idx="50">
                  <c:v>43983</c:v>
                </c:pt>
                <c:pt idx="51">
                  <c:v>44013</c:v>
                </c:pt>
                <c:pt idx="52">
                  <c:v>44044</c:v>
                </c:pt>
                <c:pt idx="53">
                  <c:v>44075</c:v>
                </c:pt>
                <c:pt idx="54">
                  <c:v>44105</c:v>
                </c:pt>
                <c:pt idx="55">
                  <c:v>44136</c:v>
                </c:pt>
                <c:pt idx="56">
                  <c:v>44166</c:v>
                </c:pt>
                <c:pt idx="57">
                  <c:v>44197</c:v>
                </c:pt>
                <c:pt idx="58">
                  <c:v>44228</c:v>
                </c:pt>
                <c:pt idx="59">
                  <c:v>44256</c:v>
                </c:pt>
                <c:pt idx="60">
                  <c:v>44287</c:v>
                </c:pt>
                <c:pt idx="61">
                  <c:v>44317</c:v>
                </c:pt>
                <c:pt idx="62">
                  <c:v>44348</c:v>
                </c:pt>
                <c:pt idx="63">
                  <c:v>44378</c:v>
                </c:pt>
                <c:pt idx="64">
                  <c:v>44409</c:v>
                </c:pt>
                <c:pt idx="65">
                  <c:v>44440</c:v>
                </c:pt>
                <c:pt idx="66">
                  <c:v>44470</c:v>
                </c:pt>
                <c:pt idx="67">
                  <c:v>44501</c:v>
                </c:pt>
                <c:pt idx="68">
                  <c:v>44531</c:v>
                </c:pt>
                <c:pt idx="69">
                  <c:v>44562</c:v>
                </c:pt>
                <c:pt idx="70">
                  <c:v>44593</c:v>
                </c:pt>
                <c:pt idx="71">
                  <c:v>44621</c:v>
                </c:pt>
                <c:pt idx="72">
                  <c:v>44652</c:v>
                </c:pt>
                <c:pt idx="73">
                  <c:v>44682</c:v>
                </c:pt>
                <c:pt idx="74">
                  <c:v>44713</c:v>
                </c:pt>
                <c:pt idx="75">
                  <c:v>44743</c:v>
                </c:pt>
                <c:pt idx="76">
                  <c:v>44774</c:v>
                </c:pt>
                <c:pt idx="77">
                  <c:v>44805</c:v>
                </c:pt>
                <c:pt idx="78">
                  <c:v>44835</c:v>
                </c:pt>
                <c:pt idx="79">
                  <c:v>44866</c:v>
                </c:pt>
                <c:pt idx="80">
                  <c:v>44896</c:v>
                </c:pt>
                <c:pt idx="81">
                  <c:v>44927</c:v>
                </c:pt>
                <c:pt idx="82">
                  <c:v>44958</c:v>
                </c:pt>
                <c:pt idx="83">
                  <c:v>44986</c:v>
                </c:pt>
                <c:pt idx="84">
                  <c:v>45017</c:v>
                </c:pt>
                <c:pt idx="85">
                  <c:v>45047</c:v>
                </c:pt>
                <c:pt idx="86">
                  <c:v>45078</c:v>
                </c:pt>
                <c:pt idx="87">
                  <c:v>45108</c:v>
                </c:pt>
                <c:pt idx="88">
                  <c:v>45139</c:v>
                </c:pt>
                <c:pt idx="89">
                  <c:v>45170</c:v>
                </c:pt>
                <c:pt idx="90">
                  <c:v>45200</c:v>
                </c:pt>
                <c:pt idx="91">
                  <c:v>45231</c:v>
                </c:pt>
                <c:pt idx="92">
                  <c:v>45261</c:v>
                </c:pt>
                <c:pt idx="93">
                  <c:v>45292</c:v>
                </c:pt>
                <c:pt idx="94">
                  <c:v>45323</c:v>
                </c:pt>
                <c:pt idx="95">
                  <c:v>45352</c:v>
                </c:pt>
                <c:pt idx="96">
                  <c:v>45383</c:v>
                </c:pt>
                <c:pt idx="97">
                  <c:v>45413</c:v>
                </c:pt>
                <c:pt idx="98">
                  <c:v>45444</c:v>
                </c:pt>
                <c:pt idx="99">
                  <c:v>45474</c:v>
                </c:pt>
                <c:pt idx="100">
                  <c:v>45505</c:v>
                </c:pt>
                <c:pt idx="101">
                  <c:v>45536</c:v>
                </c:pt>
                <c:pt idx="102">
                  <c:v>45566</c:v>
                </c:pt>
                <c:pt idx="103">
                  <c:v>45597</c:v>
                </c:pt>
                <c:pt idx="104">
                  <c:v>45627</c:v>
                </c:pt>
                <c:pt idx="105">
                  <c:v>45658</c:v>
                </c:pt>
                <c:pt idx="106">
                  <c:v>45689</c:v>
                </c:pt>
                <c:pt idx="107">
                  <c:v>45717</c:v>
                </c:pt>
                <c:pt idx="108">
                  <c:v>45748</c:v>
                </c:pt>
                <c:pt idx="109">
                  <c:v>45778</c:v>
                </c:pt>
                <c:pt idx="110">
                  <c:v>45809</c:v>
                </c:pt>
                <c:pt idx="111">
                  <c:v>45839</c:v>
                </c:pt>
                <c:pt idx="112">
                  <c:v>45870</c:v>
                </c:pt>
                <c:pt idx="113">
                  <c:v>45901</c:v>
                </c:pt>
                <c:pt idx="114">
                  <c:v>45931</c:v>
                </c:pt>
                <c:pt idx="115">
                  <c:v>45962</c:v>
                </c:pt>
                <c:pt idx="116">
                  <c:v>45992</c:v>
                </c:pt>
                <c:pt idx="117">
                  <c:v>46023</c:v>
                </c:pt>
                <c:pt idx="118">
                  <c:v>46054</c:v>
                </c:pt>
                <c:pt idx="119">
                  <c:v>46082</c:v>
                </c:pt>
                <c:pt idx="120">
                  <c:v>46113</c:v>
                </c:pt>
              </c:numCache>
            </c:numRef>
          </c:cat>
          <c:val>
            <c:numRef>
              <c:f>Sheet1!$B$2:$B$124</c:f>
              <c:numCache>
                <c:formatCode>General</c:formatCode>
                <c:ptCount val="121"/>
                <c:pt idx="0">
                  <c:v>13</c:v>
                </c:pt>
                <c:pt idx="1">
                  <c:v>13</c:v>
                </c:pt>
                <c:pt idx="2">
                  <c:v>20</c:v>
                </c:pt>
                <c:pt idx="3">
                  <c:v>21</c:v>
                </c:pt>
                <c:pt idx="4">
                  <c:v>24</c:v>
                </c:pt>
                <c:pt idx="5">
                  <c:v>24</c:v>
                </c:pt>
                <c:pt idx="6">
                  <c:v>24</c:v>
                </c:pt>
                <c:pt idx="7">
                  <c:v>29</c:v>
                </c:pt>
                <c:pt idx="8">
                  <c:v>30</c:v>
                </c:pt>
                <c:pt idx="9">
                  <c:v>27</c:v>
                </c:pt>
                <c:pt idx="10">
                  <c:v>28</c:v>
                </c:pt>
                <c:pt idx="11">
                  <c:v>29</c:v>
                </c:pt>
                <c:pt idx="12">
                  <c:v>27</c:v>
                </c:pt>
                <c:pt idx="13">
                  <c:v>29</c:v>
                </c:pt>
                <c:pt idx="14">
                  <c:v>38</c:v>
                </c:pt>
                <c:pt idx="15">
                  <c:v>37</c:v>
                </c:pt>
                <c:pt idx="16">
                  <c:v>49</c:v>
                </c:pt>
                <c:pt idx="17">
                  <c:v>66</c:v>
                </c:pt>
                <c:pt idx="18">
                  <c:v>81</c:v>
                </c:pt>
                <c:pt idx="19">
                  <c:v>91</c:v>
                </c:pt>
                <c:pt idx="20">
                  <c:v>86</c:v>
                </c:pt>
                <c:pt idx="21">
                  <c:v>68</c:v>
                </c:pt>
                <c:pt idx="22">
                  <c:v>69</c:v>
                </c:pt>
                <c:pt idx="23">
                  <c:v>68</c:v>
                </c:pt>
                <c:pt idx="24">
                  <c:v>47</c:v>
                </c:pt>
                <c:pt idx="25">
                  <c:v>59</c:v>
                </c:pt>
                <c:pt idx="26">
                  <c:v>56</c:v>
                </c:pt>
                <c:pt idx="27">
                  <c:v>57</c:v>
                </c:pt>
                <c:pt idx="28">
                  <c:v>48</c:v>
                </c:pt>
                <c:pt idx="29">
                  <c:v>47</c:v>
                </c:pt>
                <c:pt idx="30">
                  <c:v>45</c:v>
                </c:pt>
                <c:pt idx="31">
                  <c:v>69</c:v>
                </c:pt>
                <c:pt idx="32">
                  <c:v>80</c:v>
                </c:pt>
                <c:pt idx="33">
                  <c:v>73</c:v>
                </c:pt>
                <c:pt idx="34">
                  <c:v>90</c:v>
                </c:pt>
                <c:pt idx="35">
                  <c:v>96</c:v>
                </c:pt>
                <c:pt idx="36">
                  <c:v>71</c:v>
                </c:pt>
                <c:pt idx="37">
                  <c:v>61</c:v>
                </c:pt>
                <c:pt idx="38">
                  <c:v>65</c:v>
                </c:pt>
                <c:pt idx="39">
                  <c:v>44</c:v>
                </c:pt>
                <c:pt idx="40">
                  <c:v>39</c:v>
                </c:pt>
                <c:pt idx="41">
                  <c:v>45</c:v>
                </c:pt>
                <c:pt idx="42">
                  <c:v>40</c:v>
                </c:pt>
                <c:pt idx="43">
                  <c:v>53</c:v>
                </c:pt>
                <c:pt idx="44">
                  <c:v>62</c:v>
                </c:pt>
                <c:pt idx="45">
                  <c:v>55</c:v>
                </c:pt>
                <c:pt idx="46">
                  <c:v>54</c:v>
                </c:pt>
                <c:pt idx="47">
                  <c:v>76</c:v>
                </c:pt>
                <c:pt idx="48">
                  <c:v>74</c:v>
                </c:pt>
                <c:pt idx="49">
                  <c:v>81</c:v>
                </c:pt>
                <c:pt idx="50">
                  <c:v>49</c:v>
                </c:pt>
                <c:pt idx="51">
                  <c:v>44</c:v>
                </c:pt>
                <c:pt idx="52">
                  <c:v>45</c:v>
                </c:pt>
                <c:pt idx="53">
                  <c:v>47</c:v>
                </c:pt>
                <c:pt idx="54">
                  <c:v>40</c:v>
                </c:pt>
                <c:pt idx="55">
                  <c:v>37</c:v>
                </c:pt>
                <c:pt idx="56">
                  <c:v>39</c:v>
                </c:pt>
                <c:pt idx="57">
                  <c:v>40</c:v>
                </c:pt>
                <c:pt idx="58">
                  <c:v>45</c:v>
                </c:pt>
                <c:pt idx="59">
                  <c:v>46</c:v>
                </c:pt>
                <c:pt idx="60">
                  <c:v>42</c:v>
                </c:pt>
                <c:pt idx="61">
                  <c:v>37</c:v>
                </c:pt>
                <c:pt idx="62">
                  <c:v>36</c:v>
                </c:pt>
                <c:pt idx="63">
                  <c:v>34</c:v>
                </c:pt>
                <c:pt idx="64">
                  <c:v>38</c:v>
                </c:pt>
                <c:pt idx="65">
                  <c:v>44</c:v>
                </c:pt>
                <c:pt idx="66">
                  <c:v>48</c:v>
                </c:pt>
                <c:pt idx="67">
                  <c:v>62</c:v>
                </c:pt>
                <c:pt idx="68">
                  <c:v>74</c:v>
                </c:pt>
                <c:pt idx="69">
                  <c:v>101</c:v>
                </c:pt>
                <c:pt idx="70">
                  <c:v>91</c:v>
                </c:pt>
                <c:pt idx="71">
                  <c:v>100</c:v>
                </c:pt>
                <c:pt idx="72">
                  <c:v>89</c:v>
                </c:pt>
                <c:pt idx="73">
                  <c:v>102</c:v>
                </c:pt>
                <c:pt idx="74">
                  <c:v>110</c:v>
                </c:pt>
                <c:pt idx="75">
                  <c:v>94</c:v>
                </c:pt>
                <c:pt idx="76">
                  <c:v>139</c:v>
                </c:pt>
                <c:pt idx="77">
                  <c:v>159</c:v>
                </c:pt>
                <c:pt idx="78">
                  <c:v>155</c:v>
                </c:pt>
                <c:pt idx="79">
                  <c:v>158</c:v>
                </c:pt>
                <c:pt idx="80">
                  <c:v>198</c:v>
                </c:pt>
                <c:pt idx="81">
                  <c:v>177</c:v>
                </c:pt>
                <c:pt idx="82">
                  <c:v>176</c:v>
                </c:pt>
                <c:pt idx="83">
                  <c:v>178</c:v>
                </c:pt>
                <c:pt idx="84">
                  <c:v>145</c:v>
                </c:pt>
                <c:pt idx="85">
                  <c:v>156</c:v>
                </c:pt>
                <c:pt idx="86">
                  <c:v>135</c:v>
                </c:pt>
                <c:pt idx="87">
                  <c:v>133</c:v>
                </c:pt>
                <c:pt idx="88">
                  <c:v>134</c:v>
                </c:pt>
                <c:pt idx="89">
                  <c:v>139</c:v>
                </c:pt>
                <c:pt idx="90">
                  <c:v>130</c:v>
                </c:pt>
                <c:pt idx="91">
                  <c:v>138</c:v>
                </c:pt>
                <c:pt idx="92">
                  <c:v>152</c:v>
                </c:pt>
                <c:pt idx="93">
                  <c:v>159</c:v>
                </c:pt>
                <c:pt idx="94">
                  <c:v>169</c:v>
                </c:pt>
                <c:pt idx="95">
                  <c:v>142</c:v>
                </c:pt>
                <c:pt idx="96">
                  <c:v>133</c:v>
                </c:pt>
                <c:pt idx="97">
                  <c:v>145</c:v>
                </c:pt>
                <c:pt idx="98">
                  <c:v>151</c:v>
                </c:pt>
                <c:pt idx="99">
                  <c:v>151</c:v>
                </c:pt>
                <c:pt idx="100">
                  <c:v>151</c:v>
                </c:pt>
                <c:pt idx="101">
                  <c:v>140</c:v>
                </c:pt>
                <c:pt idx="102">
                  <c:v>106</c:v>
                </c:pt>
                <c:pt idx="103">
                  <c:v>115</c:v>
                </c:pt>
                <c:pt idx="104">
                  <c:v>138</c:v>
                </c:pt>
                <c:pt idx="105">
                  <c:v>121</c:v>
                </c:pt>
                <c:pt idx="106">
                  <c:v>106</c:v>
                </c:pt>
                <c:pt idx="107">
                  <c:v>95</c:v>
                </c:pt>
                <c:pt idx="108">
                  <c:v>101</c:v>
                </c:pt>
                <c:pt idx="109">
                  <c:v>103</c:v>
                </c:pt>
                <c:pt idx="110">
                  <c:v>98</c:v>
                </c:pt>
                <c:pt idx="111">
                  <c:v>93</c:v>
                </c:pt>
                <c:pt idx="112">
                  <c:v>100</c:v>
                </c:pt>
                <c:pt idx="113">
                  <c:v>105</c:v>
                </c:pt>
                <c:pt idx="114">
                  <c:v>107</c:v>
                </c:pt>
                <c:pt idx="115">
                  <c:v>100</c:v>
                </c:pt>
                <c:pt idx="116">
                  <c:v>114</c:v>
                </c:pt>
                <c:pt idx="117">
                  <c:v>146</c:v>
                </c:pt>
                <c:pt idx="118">
                  <c:v>174</c:v>
                </c:pt>
                <c:pt idx="119">
                  <c:v>201</c:v>
                </c:pt>
                <c:pt idx="120">
                  <c:v>216</c:v>
                </c:pt>
              </c:numCache>
            </c:numRef>
          </c:val>
          <c:extLst>
            <c:ext xmlns:c16="http://schemas.microsoft.com/office/drawing/2014/chart" uri="{C3380CC4-5D6E-409C-BE32-E72D297353CC}">
              <c16:uniqueId val="{00000006-1AE8-45E2-8F03-CC4B8508449D}"/>
            </c:ext>
          </c:extLst>
        </c:ser>
        <c:dLbls>
          <c:showLegendKey val="0"/>
          <c:showVal val="1"/>
          <c:showCatName val="0"/>
          <c:showSerName val="0"/>
          <c:showPercent val="0"/>
          <c:showBubbleSize val="0"/>
        </c:dLbls>
        <c:gapWidth val="50"/>
        <c:axId val="1322452559"/>
        <c:axId val="1369080127"/>
      </c:barChart>
      <c:dateAx>
        <c:axId val="1322452559"/>
        <c:scaling>
          <c:orientation val="minMax"/>
        </c:scaling>
        <c:delete val="0"/>
        <c:axPos val="b"/>
        <c:numFmt formatCode="mmm\-yy" sourceLinked="1"/>
        <c:majorTickMark val="none"/>
        <c:minorTickMark val="none"/>
        <c:tickLblPos val="nextTo"/>
        <c:spPr>
          <a:noFill/>
          <a:ln w="38100" cap="rnd" cmpd="sng" algn="ctr">
            <a:solidFill>
              <a:srgbClr val="CACED0"/>
            </a:solidFill>
            <a:round/>
          </a:ln>
          <a:effectLst/>
        </c:spPr>
        <c:txPr>
          <a:bodyPr rot="-5400000" spcFirstLastPara="1" vertOverflow="ellipsis" wrap="square" anchor="ctr" anchorCtr="1"/>
          <a:lstStyle/>
          <a:p>
            <a:pPr>
              <a:defRPr sz="1200" b="0" i="0" u="none" strike="noStrike" kern="1200" baseline="0">
                <a:solidFill>
                  <a:schemeClr val="tx1"/>
                </a:solidFill>
                <a:latin typeface="Noto Sans" panose="020B0502040504020204" pitchFamily="34"/>
                <a:ea typeface="+mn-ea"/>
                <a:cs typeface="+mn-cs"/>
              </a:defRPr>
            </a:pPr>
            <a:endParaRPr lang="en-US"/>
          </a:p>
        </c:txPr>
        <c:crossAx val="1369080127"/>
        <c:crossesAt val="0"/>
        <c:auto val="1"/>
        <c:lblOffset val="100"/>
        <c:baseTimeUnit val="months"/>
        <c:majorUnit val="12"/>
        <c:majorTimeUnit val="months"/>
      </c:dateAx>
      <c:valAx>
        <c:axId val="1369080127"/>
        <c:scaling>
          <c:orientation val="minMax"/>
        </c:scaling>
        <c:delete val="0"/>
        <c:axPos val="l"/>
        <c:majorGridlines>
          <c:spPr>
            <a:ln w="9525"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r>
                  <a:rPr lang="en-US"/>
                  <a:t>No. of GC lines</a:t>
                </a:r>
              </a:p>
            </c:rich>
          </c:tx>
          <c:layout>
            <c:manualLayout>
              <c:xMode val="edge"/>
              <c:yMode val="edge"/>
              <c:x val="3.0896463902913153E-2"/>
              <c:y val="0.36812144718367695"/>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title>
        <c:numFmt formatCode="General" sourceLinked="1"/>
        <c:majorTickMark val="out"/>
        <c:minorTickMark val="none"/>
        <c:tickLblPos val="nextTo"/>
        <c:spPr>
          <a:noFill/>
          <a:ln w="38100" cap="rnd">
            <a:solidFill>
              <a:srgbClr val="CACED0"/>
            </a:solidFill>
          </a:ln>
          <a:effectLst/>
        </c:spPr>
        <c:txPr>
          <a:bodyPr rot="-60000000" spcFirstLastPara="1" vertOverflow="ellipsis" vert="horz" wrap="square" anchor="ctr" anchorCtr="1"/>
          <a:lstStyle/>
          <a:p>
            <a:pPr>
              <a:defRPr sz="1200" b="0" i="0" u="none" strike="noStrike" kern="1200" baseline="0">
                <a:solidFill>
                  <a:schemeClr val="tx1"/>
                </a:solidFill>
                <a:latin typeface="Noto Sans" panose="020B0502040504020204" pitchFamily="34"/>
                <a:ea typeface="+mn-ea"/>
                <a:cs typeface="+mn-cs"/>
              </a:defRPr>
            </a:pPr>
            <a:endParaRPr lang="en-US"/>
          </a:p>
        </c:txPr>
        <c:crossAx val="132245255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solidFill>
        <a:srgbClr val="2B3A42"/>
      </a:solidFill>
    </a:ln>
    <a:effectLst/>
  </c:spPr>
  <c:txPr>
    <a:bodyPr/>
    <a:lstStyle/>
    <a:p>
      <a:pPr>
        <a:defRPr sz="1400" baseline="0">
          <a:latin typeface="Noto Sans" panose="020B0502040504020204" pitchFamily="34"/>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1400" b="1" i="0" u="none" strike="noStrike" kern="1200" spc="0" baseline="0">
                <a:solidFill>
                  <a:schemeClr val="tx1"/>
                </a:solidFill>
                <a:latin typeface="Noto Sans" panose="020B0502040504020204" pitchFamily="34"/>
                <a:ea typeface="+mn-ea"/>
                <a:cs typeface="+mn-cs"/>
              </a:defRPr>
            </a:pPr>
            <a:r>
              <a:rPr lang="en-US" sz="1400" b="1"/>
              <a:t>Generic Concessionary as a % of Generics</a:t>
            </a:r>
          </a:p>
        </c:rich>
      </c:tx>
      <c:layout>
        <c:manualLayout>
          <c:xMode val="edge"/>
          <c:yMode val="edge"/>
          <c:x val="3.4616400489072538E-2"/>
          <c:y val="5.1009205540343702E-2"/>
        </c:manualLayout>
      </c:layout>
      <c:overlay val="0"/>
      <c:spPr>
        <a:noFill/>
        <a:ln>
          <a:noFill/>
        </a:ln>
        <a:effectLst/>
      </c:spPr>
      <c:txPr>
        <a:bodyPr rot="0" spcFirstLastPara="1" vertOverflow="ellipsis" vert="horz" wrap="square" anchor="ctr" anchorCtr="1"/>
        <a:lstStyle/>
        <a:p>
          <a:pPr algn="l">
            <a:defRPr sz="1400" b="1" i="0" u="none" strike="noStrike" kern="1200" spc="0" baseline="0">
              <a:solidFill>
                <a:schemeClr val="tx1"/>
              </a:solidFill>
              <a:latin typeface="Noto Sans" panose="020B0502040504020204" pitchFamily="34"/>
              <a:ea typeface="+mn-ea"/>
              <a:cs typeface="+mn-cs"/>
            </a:defRPr>
          </a:pPr>
          <a:endParaRPr lang="en-US"/>
        </a:p>
      </c:txPr>
    </c:title>
    <c:autoTitleDeleted val="0"/>
    <c:plotArea>
      <c:layout>
        <c:manualLayout>
          <c:layoutTarget val="inner"/>
          <c:xMode val="edge"/>
          <c:yMode val="edge"/>
          <c:x val="0.17221539581645559"/>
          <c:y val="0.15884367600903035"/>
          <c:w val="0.79365968493456229"/>
          <c:h val="0.68605953817120602"/>
        </c:manualLayout>
      </c:layout>
      <c:lineChart>
        <c:grouping val="standard"/>
        <c:varyColors val="0"/>
        <c:ser>
          <c:idx val="0"/>
          <c:order val="0"/>
          <c:tx>
            <c:strRef>
              <c:f>Sheet1!$B$1</c:f>
              <c:strCache>
                <c:ptCount val="1"/>
                <c:pt idx="0">
                  <c:v>Volume</c:v>
                </c:pt>
              </c:strCache>
            </c:strRef>
          </c:tx>
          <c:spPr>
            <a:ln w="28575" cap="rnd">
              <a:solidFill>
                <a:schemeClr val="accent1"/>
              </a:solidFill>
              <a:round/>
            </a:ln>
            <a:effectLst/>
          </c:spPr>
          <c:marker>
            <c:symbol val="none"/>
          </c:marker>
          <c:dLbls>
            <c:delete val="1"/>
          </c:dLbls>
          <c:cat>
            <c:numRef>
              <c:f>Sheet1!$A$2:$A$64</c:f>
              <c:numCache>
                <c:formatCode>mmm\-yy</c:formatCode>
                <c:ptCount val="61"/>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pt idx="18">
                  <c:v>44835</c:v>
                </c:pt>
                <c:pt idx="19">
                  <c:v>44866</c:v>
                </c:pt>
                <c:pt idx="20">
                  <c:v>44896</c:v>
                </c:pt>
                <c:pt idx="21">
                  <c:v>44927</c:v>
                </c:pt>
                <c:pt idx="22">
                  <c:v>44958</c:v>
                </c:pt>
                <c:pt idx="23">
                  <c:v>44986</c:v>
                </c:pt>
                <c:pt idx="24">
                  <c:v>45017</c:v>
                </c:pt>
                <c:pt idx="25">
                  <c:v>45047</c:v>
                </c:pt>
                <c:pt idx="26">
                  <c:v>45078</c:v>
                </c:pt>
                <c:pt idx="27">
                  <c:v>45108</c:v>
                </c:pt>
                <c:pt idx="28">
                  <c:v>45139</c:v>
                </c:pt>
                <c:pt idx="29">
                  <c:v>45170</c:v>
                </c:pt>
                <c:pt idx="30">
                  <c:v>45200</c:v>
                </c:pt>
                <c:pt idx="31">
                  <c:v>45231</c:v>
                </c:pt>
                <c:pt idx="32">
                  <c:v>45261</c:v>
                </c:pt>
                <c:pt idx="33">
                  <c:v>45292</c:v>
                </c:pt>
                <c:pt idx="34">
                  <c:v>45323</c:v>
                </c:pt>
                <c:pt idx="35">
                  <c:v>45352</c:v>
                </c:pt>
                <c:pt idx="36">
                  <c:v>45383</c:v>
                </c:pt>
                <c:pt idx="37">
                  <c:v>45413</c:v>
                </c:pt>
                <c:pt idx="38">
                  <c:v>45444</c:v>
                </c:pt>
                <c:pt idx="39">
                  <c:v>45474</c:v>
                </c:pt>
                <c:pt idx="40">
                  <c:v>45505</c:v>
                </c:pt>
                <c:pt idx="41">
                  <c:v>45536</c:v>
                </c:pt>
                <c:pt idx="42">
                  <c:v>45566</c:v>
                </c:pt>
                <c:pt idx="43">
                  <c:v>45597</c:v>
                </c:pt>
                <c:pt idx="44">
                  <c:v>45627</c:v>
                </c:pt>
                <c:pt idx="45">
                  <c:v>45658</c:v>
                </c:pt>
                <c:pt idx="46">
                  <c:v>45689</c:v>
                </c:pt>
                <c:pt idx="47">
                  <c:v>45717</c:v>
                </c:pt>
                <c:pt idx="48">
                  <c:v>45748</c:v>
                </c:pt>
                <c:pt idx="49">
                  <c:v>45778</c:v>
                </c:pt>
                <c:pt idx="50">
                  <c:v>45809</c:v>
                </c:pt>
                <c:pt idx="51">
                  <c:v>45839</c:v>
                </c:pt>
                <c:pt idx="52">
                  <c:v>45870</c:v>
                </c:pt>
                <c:pt idx="53">
                  <c:v>45901</c:v>
                </c:pt>
                <c:pt idx="54">
                  <c:v>45931</c:v>
                </c:pt>
                <c:pt idx="55">
                  <c:v>45962</c:v>
                </c:pt>
                <c:pt idx="56">
                  <c:v>45992</c:v>
                </c:pt>
                <c:pt idx="57">
                  <c:v>46023</c:v>
                </c:pt>
                <c:pt idx="58">
                  <c:v>46054</c:v>
                </c:pt>
                <c:pt idx="59">
                  <c:v>46082</c:v>
                </c:pt>
                <c:pt idx="60">
                  <c:v>46113</c:v>
                </c:pt>
              </c:numCache>
            </c:numRef>
          </c:cat>
          <c:val>
            <c:numRef>
              <c:f>Sheet1!$B$2:$B$64</c:f>
              <c:numCache>
                <c:formatCode>0.0%</c:formatCode>
                <c:ptCount val="61"/>
                <c:pt idx="0">
                  <c:v>1.86070576762115E-2</c:v>
                </c:pt>
                <c:pt idx="1">
                  <c:v>1.5746645760147737E-2</c:v>
                </c:pt>
                <c:pt idx="2">
                  <c:v>1.6218803632843112E-2</c:v>
                </c:pt>
                <c:pt idx="3">
                  <c:v>1.6057795510983516E-2</c:v>
                </c:pt>
                <c:pt idx="4">
                  <c:v>1.8512903567780431E-2</c:v>
                </c:pt>
                <c:pt idx="5">
                  <c:v>1.7473136573682612E-2</c:v>
                </c:pt>
                <c:pt idx="6">
                  <c:v>1.6921660462201997E-2</c:v>
                </c:pt>
                <c:pt idx="7">
                  <c:v>1.5664543865643785E-2</c:v>
                </c:pt>
                <c:pt idx="8">
                  <c:v>3.2614974726347397E-2</c:v>
                </c:pt>
                <c:pt idx="9">
                  <c:v>4.1491274225738971E-2</c:v>
                </c:pt>
                <c:pt idx="10">
                  <c:v>4.7090658543014474E-2</c:v>
                </c:pt>
                <c:pt idx="11">
                  <c:v>4.876835429202428E-2</c:v>
                </c:pt>
                <c:pt idx="12">
                  <c:v>4.8716675410893737E-2</c:v>
                </c:pt>
                <c:pt idx="13">
                  <c:v>5.4044531305243886E-2</c:v>
                </c:pt>
                <c:pt idx="14">
                  <c:v>6.3213828027536667E-2</c:v>
                </c:pt>
                <c:pt idx="15">
                  <c:v>7.9652918720559476E-2</c:v>
                </c:pt>
                <c:pt idx="16">
                  <c:v>9.9279929358848773E-2</c:v>
                </c:pt>
                <c:pt idx="17">
                  <c:v>0.11608990761973904</c:v>
                </c:pt>
                <c:pt idx="18">
                  <c:v>0.149519431098983</c:v>
                </c:pt>
                <c:pt idx="19">
                  <c:v>0.18181318730301951</c:v>
                </c:pt>
                <c:pt idx="20">
                  <c:v>0.21980291469503446</c:v>
                </c:pt>
                <c:pt idx="21">
                  <c:v>0.17238609652561912</c:v>
                </c:pt>
                <c:pt idx="22">
                  <c:v>0.17178777037701864</c:v>
                </c:pt>
                <c:pt idx="23">
                  <c:v>0.17395665977141059</c:v>
                </c:pt>
                <c:pt idx="24">
                  <c:v>0.15003492608407248</c:v>
                </c:pt>
                <c:pt idx="25">
                  <c:v>0.19193007427667069</c:v>
                </c:pt>
                <c:pt idx="26">
                  <c:v>0.18667108963636847</c:v>
                </c:pt>
                <c:pt idx="27">
                  <c:v>0.13993631665750147</c:v>
                </c:pt>
                <c:pt idx="28">
                  <c:v>0.13604648264914426</c:v>
                </c:pt>
                <c:pt idx="29">
                  <c:v>0.14035127829642766</c:v>
                </c:pt>
                <c:pt idx="30">
                  <c:v>0.12406507339574373</c:v>
                </c:pt>
                <c:pt idx="31">
                  <c:v>0.14483314474847303</c:v>
                </c:pt>
                <c:pt idx="32">
                  <c:v>0.18105933684985895</c:v>
                </c:pt>
                <c:pt idx="33">
                  <c:v>0.10748044094502585</c:v>
                </c:pt>
                <c:pt idx="34">
                  <c:v>0.11837140154252816</c:v>
                </c:pt>
                <c:pt idx="35">
                  <c:v>0.10043789789619154</c:v>
                </c:pt>
                <c:pt idx="36">
                  <c:v>7.1000515046043239E-2</c:v>
                </c:pt>
                <c:pt idx="37">
                  <c:v>7.4189067271923051E-2</c:v>
                </c:pt>
                <c:pt idx="38">
                  <c:v>0.14145959651181458</c:v>
                </c:pt>
                <c:pt idx="39">
                  <c:v>9.5079594023262187E-2</c:v>
                </c:pt>
                <c:pt idx="40">
                  <c:v>9.6461090629951618E-2</c:v>
                </c:pt>
                <c:pt idx="41">
                  <c:v>7.5158105832384955E-2</c:v>
                </c:pt>
                <c:pt idx="42">
                  <c:v>3.8077394623492106E-2</c:v>
                </c:pt>
                <c:pt idx="43">
                  <c:v>4.2791234632303943E-2</c:v>
                </c:pt>
                <c:pt idx="44">
                  <c:v>5.1653722328400271E-2</c:v>
                </c:pt>
                <c:pt idx="45">
                  <c:v>5.1835508701761734E-2</c:v>
                </c:pt>
                <c:pt idx="46">
                  <c:v>3.8731915881796052E-2</c:v>
                </c:pt>
                <c:pt idx="47">
                  <c:v>4.226046612143497E-2</c:v>
                </c:pt>
                <c:pt idx="48">
                  <c:v>4.9068862893689759E-2</c:v>
                </c:pt>
                <c:pt idx="49">
                  <c:v>4.0374193061716898E-2</c:v>
                </c:pt>
                <c:pt idx="50">
                  <c:v>4.9898592638346687E-2</c:v>
                </c:pt>
                <c:pt idx="51">
                  <c:v>4.1943482809724236E-2</c:v>
                </c:pt>
                <c:pt idx="52">
                  <c:v>4.1308256736478526E-2</c:v>
                </c:pt>
                <c:pt idx="53">
                  <c:v>4.9499207280362396E-2</c:v>
                </c:pt>
                <c:pt idx="54">
                  <c:v>6.3723701867299726E-2</c:v>
                </c:pt>
                <c:pt idx="55">
                  <c:v>5.6678800837199325E-2</c:v>
                </c:pt>
                <c:pt idx="56">
                  <c:v>7.5086733680410911E-2</c:v>
                </c:pt>
                <c:pt idx="57">
                  <c:v>0.12129168763470789</c:v>
                </c:pt>
                <c:pt idx="58">
                  <c:v>0.16173168807849339</c:v>
                </c:pt>
                <c:pt idx="59">
                  <c:v>0.18222563253711349</c:v>
                </c:pt>
                <c:pt idx="60">
                  <c:v>0.17194072659488066</c:v>
                </c:pt>
              </c:numCache>
            </c:numRef>
          </c:val>
          <c:smooth val="1"/>
          <c:extLst>
            <c:ext xmlns:c16="http://schemas.microsoft.com/office/drawing/2014/chart" uri="{C3380CC4-5D6E-409C-BE32-E72D297353CC}">
              <c16:uniqueId val="{00000000-1D98-4A6D-A124-1A404BB8FF69}"/>
            </c:ext>
          </c:extLst>
        </c:ser>
        <c:ser>
          <c:idx val="1"/>
          <c:order val="1"/>
          <c:tx>
            <c:strRef>
              <c:f>Sheet1!$C$1</c:f>
              <c:strCache>
                <c:ptCount val="1"/>
                <c:pt idx="0">
                  <c:v>Value</c:v>
                </c:pt>
              </c:strCache>
            </c:strRef>
          </c:tx>
          <c:spPr>
            <a:ln w="28575" cap="rnd">
              <a:solidFill>
                <a:schemeClr val="accent2"/>
              </a:solidFill>
              <a:round/>
            </a:ln>
            <a:effectLst/>
          </c:spPr>
          <c:marker>
            <c:symbol val="none"/>
          </c:marker>
          <c:dLbls>
            <c:delete val="1"/>
          </c:dLbls>
          <c:cat>
            <c:numRef>
              <c:f>Sheet1!$A$2:$A$64</c:f>
              <c:numCache>
                <c:formatCode>mmm\-yy</c:formatCode>
                <c:ptCount val="61"/>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pt idx="18">
                  <c:v>44835</c:v>
                </c:pt>
                <c:pt idx="19">
                  <c:v>44866</c:v>
                </c:pt>
                <c:pt idx="20">
                  <c:v>44896</c:v>
                </c:pt>
                <c:pt idx="21">
                  <c:v>44927</c:v>
                </c:pt>
                <c:pt idx="22">
                  <c:v>44958</c:v>
                </c:pt>
                <c:pt idx="23">
                  <c:v>44986</c:v>
                </c:pt>
                <c:pt idx="24">
                  <c:v>45017</c:v>
                </c:pt>
                <c:pt idx="25">
                  <c:v>45047</c:v>
                </c:pt>
                <c:pt idx="26">
                  <c:v>45078</c:v>
                </c:pt>
                <c:pt idx="27">
                  <c:v>45108</c:v>
                </c:pt>
                <c:pt idx="28">
                  <c:v>45139</c:v>
                </c:pt>
                <c:pt idx="29">
                  <c:v>45170</c:v>
                </c:pt>
                <c:pt idx="30">
                  <c:v>45200</c:v>
                </c:pt>
                <c:pt idx="31">
                  <c:v>45231</c:v>
                </c:pt>
                <c:pt idx="32">
                  <c:v>45261</c:v>
                </c:pt>
                <c:pt idx="33">
                  <c:v>45292</c:v>
                </c:pt>
                <c:pt idx="34">
                  <c:v>45323</c:v>
                </c:pt>
                <c:pt idx="35">
                  <c:v>45352</c:v>
                </c:pt>
                <c:pt idx="36">
                  <c:v>45383</c:v>
                </c:pt>
                <c:pt idx="37">
                  <c:v>45413</c:v>
                </c:pt>
                <c:pt idx="38">
                  <c:v>45444</c:v>
                </c:pt>
                <c:pt idx="39">
                  <c:v>45474</c:v>
                </c:pt>
                <c:pt idx="40">
                  <c:v>45505</c:v>
                </c:pt>
                <c:pt idx="41">
                  <c:v>45536</c:v>
                </c:pt>
                <c:pt idx="42">
                  <c:v>45566</c:v>
                </c:pt>
                <c:pt idx="43">
                  <c:v>45597</c:v>
                </c:pt>
                <c:pt idx="44">
                  <c:v>45627</c:v>
                </c:pt>
                <c:pt idx="45">
                  <c:v>45658</c:v>
                </c:pt>
                <c:pt idx="46">
                  <c:v>45689</c:v>
                </c:pt>
                <c:pt idx="47">
                  <c:v>45717</c:v>
                </c:pt>
                <c:pt idx="48">
                  <c:v>45748</c:v>
                </c:pt>
                <c:pt idx="49">
                  <c:v>45778</c:v>
                </c:pt>
                <c:pt idx="50">
                  <c:v>45809</c:v>
                </c:pt>
                <c:pt idx="51">
                  <c:v>45839</c:v>
                </c:pt>
                <c:pt idx="52">
                  <c:v>45870</c:v>
                </c:pt>
                <c:pt idx="53">
                  <c:v>45901</c:v>
                </c:pt>
                <c:pt idx="54">
                  <c:v>45931</c:v>
                </c:pt>
                <c:pt idx="55">
                  <c:v>45962</c:v>
                </c:pt>
                <c:pt idx="56">
                  <c:v>45992</c:v>
                </c:pt>
                <c:pt idx="57">
                  <c:v>46023</c:v>
                </c:pt>
                <c:pt idx="58">
                  <c:v>46054</c:v>
                </c:pt>
                <c:pt idx="59">
                  <c:v>46082</c:v>
                </c:pt>
                <c:pt idx="60">
                  <c:v>46113</c:v>
                </c:pt>
              </c:numCache>
            </c:numRef>
          </c:cat>
          <c:val>
            <c:numRef>
              <c:f>Sheet1!$C$2:$C$64</c:f>
              <c:numCache>
                <c:formatCode>0.0%</c:formatCode>
                <c:ptCount val="61"/>
                <c:pt idx="0">
                  <c:v>3.7967518820885462E-2</c:v>
                </c:pt>
                <c:pt idx="1">
                  <c:v>3.466559371970946E-2</c:v>
                </c:pt>
                <c:pt idx="2">
                  <c:v>3.229151533727051E-2</c:v>
                </c:pt>
                <c:pt idx="3">
                  <c:v>3.380985583670592E-2</c:v>
                </c:pt>
                <c:pt idx="4">
                  <c:v>3.7086662877476813E-2</c:v>
                </c:pt>
                <c:pt idx="5">
                  <c:v>3.4863700040275766E-2</c:v>
                </c:pt>
                <c:pt idx="6">
                  <c:v>3.3493183948050835E-2</c:v>
                </c:pt>
                <c:pt idx="7">
                  <c:v>5.4034190285394301E-2</c:v>
                </c:pt>
                <c:pt idx="8">
                  <c:v>7.5956783069312833E-2</c:v>
                </c:pt>
                <c:pt idx="9">
                  <c:v>9.1686624281143866E-2</c:v>
                </c:pt>
                <c:pt idx="10">
                  <c:v>8.6551829609627609E-2</c:v>
                </c:pt>
                <c:pt idx="11">
                  <c:v>9.7723788696936695E-2</c:v>
                </c:pt>
                <c:pt idx="12">
                  <c:v>0.10540191087443741</c:v>
                </c:pt>
                <c:pt idx="13">
                  <c:v>0.10709163323118145</c:v>
                </c:pt>
                <c:pt idx="14">
                  <c:v>0.12457912504096076</c:v>
                </c:pt>
                <c:pt idx="15">
                  <c:v>0.15394396160880916</c:v>
                </c:pt>
                <c:pt idx="16">
                  <c:v>0.19159540721950816</c:v>
                </c:pt>
                <c:pt idx="17">
                  <c:v>0.22477267139820059</c:v>
                </c:pt>
                <c:pt idx="18">
                  <c:v>0.21206272016619104</c:v>
                </c:pt>
                <c:pt idx="19">
                  <c:v>0.23768913883735041</c:v>
                </c:pt>
                <c:pt idx="20">
                  <c:v>0.30961613573971475</c:v>
                </c:pt>
                <c:pt idx="21">
                  <c:v>0.23260722856082569</c:v>
                </c:pt>
                <c:pt idx="22">
                  <c:v>0.21925916637305992</c:v>
                </c:pt>
                <c:pt idx="23">
                  <c:v>0.21553304643447518</c:v>
                </c:pt>
                <c:pt idx="24">
                  <c:v>0.17230330735319008</c:v>
                </c:pt>
                <c:pt idx="25">
                  <c:v>0.17488155653637882</c:v>
                </c:pt>
                <c:pt idx="26">
                  <c:v>0.15276689561907006</c:v>
                </c:pt>
                <c:pt idx="27">
                  <c:v>0.1488659546967214</c:v>
                </c:pt>
                <c:pt idx="28">
                  <c:v>0.14184287217721911</c:v>
                </c:pt>
                <c:pt idx="29">
                  <c:v>0.13297137738749648</c:v>
                </c:pt>
                <c:pt idx="30">
                  <c:v>0.13452114711799187</c:v>
                </c:pt>
                <c:pt idx="31">
                  <c:v>0.14807781654551164</c:v>
                </c:pt>
                <c:pt idx="32">
                  <c:v>0.16635266312447097</c:v>
                </c:pt>
                <c:pt idx="33">
                  <c:v>0.19515240057042738</c:v>
                </c:pt>
                <c:pt idx="34">
                  <c:v>0.18980561750419273</c:v>
                </c:pt>
                <c:pt idx="35">
                  <c:v>0.16312558236939512</c:v>
                </c:pt>
                <c:pt idx="36">
                  <c:v>0.13092592021448327</c:v>
                </c:pt>
                <c:pt idx="37">
                  <c:v>0.12703124796700616</c:v>
                </c:pt>
                <c:pt idx="38">
                  <c:v>0.1606727339952147</c:v>
                </c:pt>
                <c:pt idx="39">
                  <c:v>0.16490296749067174</c:v>
                </c:pt>
                <c:pt idx="40">
                  <c:v>0.16992386842005708</c:v>
                </c:pt>
                <c:pt idx="41">
                  <c:v>0.12774712575616068</c:v>
                </c:pt>
                <c:pt idx="42">
                  <c:v>7.3620757345626522E-2</c:v>
                </c:pt>
                <c:pt idx="43">
                  <c:v>7.6198659490571571E-2</c:v>
                </c:pt>
                <c:pt idx="44">
                  <c:v>8.2875358444488151E-2</c:v>
                </c:pt>
                <c:pt idx="45">
                  <c:v>7.9422962969328548E-2</c:v>
                </c:pt>
                <c:pt idx="46">
                  <c:v>5.8007927437519487E-2</c:v>
                </c:pt>
                <c:pt idx="47">
                  <c:v>5.9597241842184637E-2</c:v>
                </c:pt>
                <c:pt idx="48">
                  <c:v>7.0715550855165593E-2</c:v>
                </c:pt>
                <c:pt idx="49">
                  <c:v>6.1486242072582901E-2</c:v>
                </c:pt>
                <c:pt idx="50">
                  <c:v>7.3070863961856233E-2</c:v>
                </c:pt>
                <c:pt idx="51">
                  <c:v>8.2909586140912997E-2</c:v>
                </c:pt>
                <c:pt idx="52">
                  <c:v>7.9351817918864878E-2</c:v>
                </c:pt>
                <c:pt idx="53">
                  <c:v>8.5816103374785346E-2</c:v>
                </c:pt>
                <c:pt idx="54">
                  <c:v>9.9526757371825855E-2</c:v>
                </c:pt>
                <c:pt idx="55">
                  <c:v>9.9419625556648239E-2</c:v>
                </c:pt>
                <c:pt idx="56">
                  <c:v>0.11043579719406568</c:v>
                </c:pt>
                <c:pt idx="57">
                  <c:v>0.14654156634215704</c:v>
                </c:pt>
                <c:pt idx="58">
                  <c:v>0.17167578304987502</c:v>
                </c:pt>
                <c:pt idx="59">
                  <c:v>0.17405190102799939</c:v>
                </c:pt>
                <c:pt idx="60">
                  <c:v>0.20588493667530355</c:v>
                </c:pt>
              </c:numCache>
            </c:numRef>
          </c:val>
          <c:smooth val="1"/>
          <c:extLst>
            <c:ext xmlns:c16="http://schemas.microsoft.com/office/drawing/2014/chart" uri="{C3380CC4-5D6E-409C-BE32-E72D297353CC}">
              <c16:uniqueId val="{00000001-1D98-4A6D-A124-1A404BB8FF69}"/>
            </c:ext>
          </c:extLst>
        </c:ser>
        <c:dLbls>
          <c:showLegendKey val="0"/>
          <c:showVal val="1"/>
          <c:showCatName val="0"/>
          <c:showSerName val="0"/>
          <c:showPercent val="0"/>
          <c:showBubbleSize val="0"/>
        </c:dLbls>
        <c:smooth val="0"/>
        <c:axId val="1322452559"/>
        <c:axId val="1369080127"/>
      </c:lineChart>
      <c:dateAx>
        <c:axId val="1322452559"/>
        <c:scaling>
          <c:orientation val="minMax"/>
        </c:scaling>
        <c:delete val="0"/>
        <c:axPos val="b"/>
        <c:numFmt formatCode="mmm\-yy" sourceLinked="1"/>
        <c:majorTickMark val="none"/>
        <c:minorTickMark val="none"/>
        <c:tickLblPos val="nextTo"/>
        <c:spPr>
          <a:noFill/>
          <a:ln w="38100" cap="rnd" cmpd="sng" algn="ctr">
            <a:solidFill>
              <a:srgbClr val="CACED0"/>
            </a:solidFill>
            <a:round/>
          </a:ln>
          <a:effectLst/>
        </c:spPr>
        <c:txPr>
          <a:bodyPr rot="-5400000" spcFirstLastPara="1" vertOverflow="ellipsis" wrap="square" anchor="ctr" anchorCtr="1"/>
          <a:lstStyle/>
          <a:p>
            <a:pPr>
              <a:defRPr sz="1200" b="0" i="0" u="none" strike="noStrike" kern="1200" baseline="0">
                <a:solidFill>
                  <a:schemeClr val="tx1"/>
                </a:solidFill>
                <a:latin typeface="Noto Sans" panose="020B0502040504020204" pitchFamily="34"/>
                <a:ea typeface="+mn-ea"/>
                <a:cs typeface="+mn-cs"/>
              </a:defRPr>
            </a:pPr>
            <a:endParaRPr lang="en-US"/>
          </a:p>
        </c:txPr>
        <c:crossAx val="1369080127"/>
        <c:crossesAt val="0"/>
        <c:auto val="1"/>
        <c:lblOffset val="100"/>
        <c:baseTimeUnit val="months"/>
        <c:majorUnit val="12"/>
        <c:majorTimeUnit val="months"/>
      </c:dateAx>
      <c:valAx>
        <c:axId val="1369080127"/>
        <c:scaling>
          <c:orientation val="minMax"/>
        </c:scaling>
        <c:delete val="0"/>
        <c:axPos val="l"/>
        <c:majorGridlines>
          <c:spPr>
            <a:ln w="9525"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r>
                  <a:rPr lang="en-US"/>
                  <a:t>GC proportion</a:t>
                </a:r>
              </a:p>
            </c:rich>
          </c:tx>
          <c:layout>
            <c:manualLayout>
              <c:xMode val="edge"/>
              <c:yMode val="edge"/>
              <c:x val="3.0896463902913153E-2"/>
              <c:y val="0.36812144718367695"/>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title>
        <c:numFmt formatCode="0%" sourceLinked="0"/>
        <c:majorTickMark val="out"/>
        <c:minorTickMark val="none"/>
        <c:tickLblPos val="nextTo"/>
        <c:spPr>
          <a:noFill/>
          <a:ln w="38100" cap="rnd">
            <a:solidFill>
              <a:srgbClr val="CACED0"/>
            </a:solidFill>
          </a:ln>
          <a:effectLst/>
        </c:spPr>
        <c:txPr>
          <a:bodyPr rot="-60000000" spcFirstLastPara="1" vertOverflow="ellipsis" vert="horz" wrap="square" anchor="ctr" anchorCtr="1"/>
          <a:lstStyle/>
          <a:p>
            <a:pPr>
              <a:defRPr sz="1200" b="0" i="0" u="none" strike="noStrike" kern="1200" baseline="0">
                <a:solidFill>
                  <a:schemeClr val="tx1"/>
                </a:solidFill>
                <a:latin typeface="Noto Sans" panose="020B0502040504020204" pitchFamily="34"/>
                <a:ea typeface="+mn-ea"/>
                <a:cs typeface="+mn-cs"/>
              </a:defRPr>
            </a:pPr>
            <a:endParaRPr lang="en-US"/>
          </a:p>
        </c:txPr>
        <c:crossAx val="1322452559"/>
        <c:crosses val="autoZero"/>
        <c:crossBetween val="between"/>
      </c:valAx>
      <c:spPr>
        <a:noFill/>
        <a:ln>
          <a:noFill/>
        </a:ln>
        <a:effectLst/>
      </c:spPr>
    </c:plotArea>
    <c:legend>
      <c:legendPos val="b"/>
      <c:layout>
        <c:manualLayout>
          <c:xMode val="edge"/>
          <c:yMode val="edge"/>
          <c:x val="0.73709601445149497"/>
          <c:y val="0.16014041241178645"/>
          <c:w val="0.24202024496252827"/>
          <c:h val="0.1077971159865299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Noto Sans" panose="020B0502040504020204" pitchFamily="34"/>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solidFill>
        <a:srgbClr val="2B3A42"/>
      </a:solidFill>
    </a:ln>
    <a:effectLst/>
  </c:spPr>
  <c:txPr>
    <a:bodyPr/>
    <a:lstStyle/>
    <a:p>
      <a:pPr>
        <a:defRPr sz="1400" baseline="0">
          <a:latin typeface="Noto Sans" panose="020B0502040504020204" pitchFamily="34"/>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GB" sz="1200" b="1" dirty="0">
                <a:solidFill>
                  <a:srgbClr val="000000"/>
                </a:solidFill>
              </a:rPr>
              <a:t>Store</a:t>
            </a:r>
            <a:r>
              <a:rPr lang="en-GB" sz="1200" b="1" baseline="0" dirty="0">
                <a:solidFill>
                  <a:srgbClr val="000000"/>
                </a:solidFill>
              </a:rPr>
              <a:t> </a:t>
            </a:r>
            <a:r>
              <a:rPr lang="en-GB" sz="1200" b="1" dirty="0">
                <a:solidFill>
                  <a:srgbClr val="000000"/>
                </a:solidFill>
              </a:rPr>
              <a:t>Trend by Channel</a:t>
            </a:r>
          </a:p>
        </c:rich>
      </c:tx>
      <c:layout>
        <c:manualLayout>
          <c:xMode val="edge"/>
          <c:yMode val="edge"/>
          <c:x val="0.39564062500000002"/>
          <c:y val="2.1093748702402271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1209208321009566E-2"/>
          <c:y val="7.9230556149695125E-2"/>
          <c:w val="0.86720385980479164"/>
          <c:h val="0.72914487832822661"/>
        </c:manualLayout>
      </c:layout>
      <c:lineChart>
        <c:grouping val="standard"/>
        <c:varyColors val="0"/>
        <c:ser>
          <c:idx val="0"/>
          <c:order val="0"/>
          <c:tx>
            <c:strRef>
              <c:f>Sheet1!$B$1</c:f>
              <c:strCache>
                <c:ptCount val="1"/>
                <c:pt idx="0">
                  <c:v>Independents</c:v>
                </c:pt>
              </c:strCache>
            </c:strRef>
          </c:tx>
          <c:spPr>
            <a:ln w="15875" cap="rnd">
              <a:solidFill>
                <a:srgbClr val="00A3E0"/>
              </a:solidFill>
              <a:prstDash val="solid"/>
              <a:round/>
            </a:ln>
            <a:effectLst/>
          </c:spPr>
          <c:marker>
            <c:symbol val="none"/>
          </c:marker>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B$2:$B$50</c:f>
              <c:numCache>
                <c:formatCode>General</c:formatCode>
                <c:ptCount val="49"/>
                <c:pt idx="0">
                  <c:v>4014</c:v>
                </c:pt>
                <c:pt idx="1">
                  <c:v>4013</c:v>
                </c:pt>
                <c:pt idx="2">
                  <c:v>4017</c:v>
                </c:pt>
                <c:pt idx="3">
                  <c:v>4030</c:v>
                </c:pt>
                <c:pt idx="4">
                  <c:v>4028</c:v>
                </c:pt>
                <c:pt idx="5">
                  <c:v>4029</c:v>
                </c:pt>
                <c:pt idx="6">
                  <c:v>4026</c:v>
                </c:pt>
                <c:pt idx="7">
                  <c:v>4028</c:v>
                </c:pt>
                <c:pt idx="8">
                  <c:v>4026</c:v>
                </c:pt>
                <c:pt idx="9">
                  <c:v>4035</c:v>
                </c:pt>
                <c:pt idx="10">
                  <c:v>4048</c:v>
                </c:pt>
                <c:pt idx="11">
                  <c:v>4064</c:v>
                </c:pt>
                <c:pt idx="12">
                  <c:v>4081</c:v>
                </c:pt>
                <c:pt idx="13">
                  <c:v>4089</c:v>
                </c:pt>
                <c:pt idx="14">
                  <c:v>4116</c:v>
                </c:pt>
                <c:pt idx="15">
                  <c:v>4167</c:v>
                </c:pt>
                <c:pt idx="16">
                  <c:v>4224</c:v>
                </c:pt>
                <c:pt idx="17">
                  <c:v>4323</c:v>
                </c:pt>
                <c:pt idx="18">
                  <c:v>4448</c:v>
                </c:pt>
                <c:pt idx="19">
                  <c:v>4540</c:v>
                </c:pt>
                <c:pt idx="20">
                  <c:v>4620</c:v>
                </c:pt>
                <c:pt idx="21">
                  <c:v>4646</c:v>
                </c:pt>
                <c:pt idx="22">
                  <c:v>4659</c:v>
                </c:pt>
                <c:pt idx="23">
                  <c:v>4670</c:v>
                </c:pt>
                <c:pt idx="24">
                  <c:v>4686</c:v>
                </c:pt>
                <c:pt idx="25">
                  <c:v>4706</c:v>
                </c:pt>
                <c:pt idx="26">
                  <c:v>4718</c:v>
                </c:pt>
                <c:pt idx="27">
                  <c:v>4717</c:v>
                </c:pt>
                <c:pt idx="28">
                  <c:v>4752</c:v>
                </c:pt>
                <c:pt idx="29">
                  <c:v>4782</c:v>
                </c:pt>
                <c:pt idx="30">
                  <c:v>4786</c:v>
                </c:pt>
                <c:pt idx="31">
                  <c:v>4806</c:v>
                </c:pt>
                <c:pt idx="32">
                  <c:v>4803</c:v>
                </c:pt>
                <c:pt idx="33">
                  <c:v>4824</c:v>
                </c:pt>
                <c:pt idx="34">
                  <c:v>4815</c:v>
                </c:pt>
                <c:pt idx="35">
                  <c:v>4821</c:v>
                </c:pt>
                <c:pt idx="36">
                  <c:v>4840</c:v>
                </c:pt>
                <c:pt idx="37">
                  <c:v>4854</c:v>
                </c:pt>
                <c:pt idx="38">
                  <c:v>4835</c:v>
                </c:pt>
                <c:pt idx="39">
                  <c:v>4847</c:v>
                </c:pt>
                <c:pt idx="40">
                  <c:v>4858</c:v>
                </c:pt>
                <c:pt idx="41">
                  <c:v>4871</c:v>
                </c:pt>
                <c:pt idx="42">
                  <c:v>4880</c:v>
                </c:pt>
                <c:pt idx="43">
                  <c:v>4887</c:v>
                </c:pt>
                <c:pt idx="44">
                  <c:v>4903</c:v>
                </c:pt>
                <c:pt idx="45">
                  <c:v>4926</c:v>
                </c:pt>
                <c:pt idx="46">
                  <c:v>4937</c:v>
                </c:pt>
                <c:pt idx="47">
                  <c:v>4950</c:v>
                </c:pt>
                <c:pt idx="48">
                  <c:v>4966</c:v>
                </c:pt>
              </c:numCache>
            </c:numRef>
          </c:val>
          <c:smooth val="1"/>
          <c:extLst>
            <c:ext xmlns:c16="http://schemas.microsoft.com/office/drawing/2014/chart" uri="{C3380CC4-5D6E-409C-BE32-E72D297353CC}">
              <c16:uniqueId val="{00000000-0AFC-47E9-9D72-973F07B8AECD}"/>
            </c:ext>
          </c:extLst>
        </c:ser>
        <c:ser>
          <c:idx val="1"/>
          <c:order val="1"/>
          <c:tx>
            <c:strRef>
              <c:f>Sheet1!$C$1</c:f>
              <c:strCache>
                <c:ptCount val="1"/>
                <c:pt idx="0">
                  <c:v>Regional Chains</c:v>
                </c:pt>
              </c:strCache>
            </c:strRef>
          </c:tx>
          <c:spPr>
            <a:ln w="15875" cap="rnd">
              <a:solidFill>
                <a:schemeClr val="accent2"/>
              </a:solidFill>
              <a:round/>
            </a:ln>
            <a:effectLst/>
          </c:spPr>
          <c:marker>
            <c:symbol val="none"/>
          </c:marker>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C$2:$C$50</c:f>
              <c:numCache>
                <c:formatCode>General</c:formatCode>
                <c:ptCount val="49"/>
                <c:pt idx="0">
                  <c:v>1789</c:v>
                </c:pt>
                <c:pt idx="1">
                  <c:v>1790</c:v>
                </c:pt>
                <c:pt idx="2">
                  <c:v>1787</c:v>
                </c:pt>
                <c:pt idx="3">
                  <c:v>1785</c:v>
                </c:pt>
                <c:pt idx="4">
                  <c:v>1786</c:v>
                </c:pt>
                <c:pt idx="5">
                  <c:v>1786</c:v>
                </c:pt>
                <c:pt idx="6">
                  <c:v>1792</c:v>
                </c:pt>
                <c:pt idx="7">
                  <c:v>1788</c:v>
                </c:pt>
                <c:pt idx="8">
                  <c:v>1793</c:v>
                </c:pt>
                <c:pt idx="9">
                  <c:v>1798</c:v>
                </c:pt>
                <c:pt idx="10">
                  <c:v>1799</c:v>
                </c:pt>
                <c:pt idx="11">
                  <c:v>1797</c:v>
                </c:pt>
                <c:pt idx="12">
                  <c:v>1801</c:v>
                </c:pt>
                <c:pt idx="13">
                  <c:v>1819</c:v>
                </c:pt>
                <c:pt idx="14">
                  <c:v>1845</c:v>
                </c:pt>
                <c:pt idx="15">
                  <c:v>1871</c:v>
                </c:pt>
                <c:pt idx="16">
                  <c:v>1893</c:v>
                </c:pt>
                <c:pt idx="17">
                  <c:v>1923</c:v>
                </c:pt>
                <c:pt idx="18">
                  <c:v>1955</c:v>
                </c:pt>
                <c:pt idx="19">
                  <c:v>1967</c:v>
                </c:pt>
                <c:pt idx="20">
                  <c:v>1967</c:v>
                </c:pt>
                <c:pt idx="21">
                  <c:v>1963</c:v>
                </c:pt>
                <c:pt idx="22">
                  <c:v>1952</c:v>
                </c:pt>
                <c:pt idx="23">
                  <c:v>1952</c:v>
                </c:pt>
                <c:pt idx="24">
                  <c:v>1955</c:v>
                </c:pt>
                <c:pt idx="25">
                  <c:v>1961</c:v>
                </c:pt>
                <c:pt idx="26">
                  <c:v>1975</c:v>
                </c:pt>
                <c:pt idx="27">
                  <c:v>1981</c:v>
                </c:pt>
                <c:pt idx="28">
                  <c:v>1987</c:v>
                </c:pt>
                <c:pt idx="29">
                  <c:v>1986</c:v>
                </c:pt>
                <c:pt idx="30">
                  <c:v>1986</c:v>
                </c:pt>
                <c:pt idx="31">
                  <c:v>1984</c:v>
                </c:pt>
                <c:pt idx="32">
                  <c:v>1991</c:v>
                </c:pt>
                <c:pt idx="33">
                  <c:v>1990</c:v>
                </c:pt>
                <c:pt idx="34">
                  <c:v>1987</c:v>
                </c:pt>
                <c:pt idx="35">
                  <c:v>1989</c:v>
                </c:pt>
                <c:pt idx="36">
                  <c:v>1996</c:v>
                </c:pt>
                <c:pt idx="37">
                  <c:v>1991</c:v>
                </c:pt>
                <c:pt idx="38">
                  <c:v>1984</c:v>
                </c:pt>
                <c:pt idx="39">
                  <c:v>1988</c:v>
                </c:pt>
                <c:pt idx="40">
                  <c:v>1996</c:v>
                </c:pt>
                <c:pt idx="41">
                  <c:v>1990</c:v>
                </c:pt>
                <c:pt idx="42">
                  <c:v>1990</c:v>
                </c:pt>
                <c:pt idx="43">
                  <c:v>1984</c:v>
                </c:pt>
                <c:pt idx="44">
                  <c:v>1976</c:v>
                </c:pt>
                <c:pt idx="45">
                  <c:v>1957</c:v>
                </c:pt>
                <c:pt idx="46">
                  <c:v>1943</c:v>
                </c:pt>
                <c:pt idx="47">
                  <c:v>1946</c:v>
                </c:pt>
                <c:pt idx="48">
                  <c:v>1937</c:v>
                </c:pt>
              </c:numCache>
            </c:numRef>
          </c:val>
          <c:smooth val="1"/>
          <c:extLst>
            <c:ext xmlns:c16="http://schemas.microsoft.com/office/drawing/2014/chart" uri="{C3380CC4-5D6E-409C-BE32-E72D297353CC}">
              <c16:uniqueId val="{00000001-0AFC-47E9-9D72-973F07B8AECD}"/>
            </c:ext>
          </c:extLst>
        </c:ser>
        <c:ser>
          <c:idx val="2"/>
          <c:order val="2"/>
          <c:tx>
            <c:strRef>
              <c:f>Sheet1!$D$1</c:f>
              <c:strCache>
                <c:ptCount val="1"/>
                <c:pt idx="0">
                  <c:v>National Chains</c:v>
                </c:pt>
              </c:strCache>
            </c:strRef>
          </c:tx>
          <c:spPr>
            <a:ln w="15875" cap="rnd">
              <a:solidFill>
                <a:schemeClr val="accent6"/>
              </a:solidFill>
              <a:round/>
            </a:ln>
            <a:effectLst/>
          </c:spPr>
          <c:marker>
            <c:symbol val="none"/>
          </c:marker>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D$2:$D$50</c:f>
              <c:numCache>
                <c:formatCode>General</c:formatCode>
                <c:ptCount val="49"/>
                <c:pt idx="0">
                  <c:v>4267</c:v>
                </c:pt>
                <c:pt idx="1">
                  <c:v>4252</c:v>
                </c:pt>
                <c:pt idx="2">
                  <c:v>4246</c:v>
                </c:pt>
                <c:pt idx="3">
                  <c:v>4238</c:v>
                </c:pt>
                <c:pt idx="4">
                  <c:v>4222</c:v>
                </c:pt>
                <c:pt idx="5">
                  <c:v>4210</c:v>
                </c:pt>
                <c:pt idx="6">
                  <c:v>4201</c:v>
                </c:pt>
                <c:pt idx="7">
                  <c:v>4194</c:v>
                </c:pt>
                <c:pt idx="8">
                  <c:v>4184</c:v>
                </c:pt>
                <c:pt idx="9">
                  <c:v>4161</c:v>
                </c:pt>
                <c:pt idx="10">
                  <c:v>4150</c:v>
                </c:pt>
                <c:pt idx="11">
                  <c:v>4141</c:v>
                </c:pt>
                <c:pt idx="12">
                  <c:v>4116</c:v>
                </c:pt>
                <c:pt idx="13">
                  <c:v>4091</c:v>
                </c:pt>
                <c:pt idx="14">
                  <c:v>4050</c:v>
                </c:pt>
                <c:pt idx="15">
                  <c:v>3907</c:v>
                </c:pt>
                <c:pt idx="16">
                  <c:v>3788</c:v>
                </c:pt>
                <c:pt idx="17">
                  <c:v>3639</c:v>
                </c:pt>
                <c:pt idx="18">
                  <c:v>3498</c:v>
                </c:pt>
                <c:pt idx="19">
                  <c:v>3329</c:v>
                </c:pt>
                <c:pt idx="20">
                  <c:v>3190</c:v>
                </c:pt>
                <c:pt idx="21">
                  <c:v>3055</c:v>
                </c:pt>
                <c:pt idx="22">
                  <c:v>3011</c:v>
                </c:pt>
                <c:pt idx="23">
                  <c:v>2998</c:v>
                </c:pt>
                <c:pt idx="24">
                  <c:v>2937</c:v>
                </c:pt>
                <c:pt idx="25">
                  <c:v>2864</c:v>
                </c:pt>
                <c:pt idx="26">
                  <c:v>2807</c:v>
                </c:pt>
                <c:pt idx="27">
                  <c:v>2775</c:v>
                </c:pt>
                <c:pt idx="28">
                  <c:v>2755</c:v>
                </c:pt>
                <c:pt idx="29">
                  <c:v>2719</c:v>
                </c:pt>
                <c:pt idx="30">
                  <c:v>2698</c:v>
                </c:pt>
                <c:pt idx="31">
                  <c:v>2680</c:v>
                </c:pt>
                <c:pt idx="32">
                  <c:v>2664</c:v>
                </c:pt>
                <c:pt idx="33">
                  <c:v>2653</c:v>
                </c:pt>
                <c:pt idx="34">
                  <c:v>2642</c:v>
                </c:pt>
                <c:pt idx="35">
                  <c:v>2632</c:v>
                </c:pt>
                <c:pt idx="36">
                  <c:v>2626</c:v>
                </c:pt>
                <c:pt idx="37">
                  <c:v>2614</c:v>
                </c:pt>
                <c:pt idx="38">
                  <c:v>2604</c:v>
                </c:pt>
                <c:pt idx="39">
                  <c:v>2593</c:v>
                </c:pt>
                <c:pt idx="40">
                  <c:v>2583</c:v>
                </c:pt>
                <c:pt idx="41">
                  <c:v>2566</c:v>
                </c:pt>
                <c:pt idx="42">
                  <c:v>2566</c:v>
                </c:pt>
                <c:pt idx="43">
                  <c:v>2560</c:v>
                </c:pt>
                <c:pt idx="44">
                  <c:v>2557</c:v>
                </c:pt>
                <c:pt idx="45">
                  <c:v>2549</c:v>
                </c:pt>
                <c:pt idx="46">
                  <c:v>2541</c:v>
                </c:pt>
                <c:pt idx="47">
                  <c:v>2541</c:v>
                </c:pt>
                <c:pt idx="48">
                  <c:v>2536</c:v>
                </c:pt>
              </c:numCache>
            </c:numRef>
          </c:val>
          <c:smooth val="1"/>
          <c:extLst>
            <c:ext xmlns:c16="http://schemas.microsoft.com/office/drawing/2014/chart" uri="{C3380CC4-5D6E-409C-BE32-E72D297353CC}">
              <c16:uniqueId val="{00000002-0AFC-47E9-9D72-973F07B8AECD}"/>
            </c:ext>
          </c:extLst>
        </c:ser>
        <c:ser>
          <c:idx val="3"/>
          <c:order val="3"/>
          <c:tx>
            <c:strRef>
              <c:f>Sheet1!$E$1</c:f>
              <c:strCache>
                <c:ptCount val="1"/>
                <c:pt idx="0">
                  <c:v>Supermarkets</c:v>
                </c:pt>
              </c:strCache>
            </c:strRef>
          </c:tx>
          <c:spPr>
            <a:ln w="15875" cap="rnd">
              <a:solidFill>
                <a:srgbClr val="00BFB3"/>
              </a:solidFill>
              <a:round/>
            </a:ln>
            <a:effectLst/>
          </c:spPr>
          <c:marker>
            <c:symbol val="none"/>
          </c:marker>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E$2:$E$50</c:f>
              <c:numCache>
                <c:formatCode>General</c:formatCode>
                <c:ptCount val="49"/>
                <c:pt idx="0">
                  <c:v>685</c:v>
                </c:pt>
                <c:pt idx="1">
                  <c:v>685</c:v>
                </c:pt>
                <c:pt idx="2">
                  <c:v>685</c:v>
                </c:pt>
                <c:pt idx="3">
                  <c:v>685</c:v>
                </c:pt>
                <c:pt idx="4">
                  <c:v>685</c:v>
                </c:pt>
                <c:pt idx="5">
                  <c:v>685</c:v>
                </c:pt>
                <c:pt idx="6">
                  <c:v>685</c:v>
                </c:pt>
                <c:pt idx="7">
                  <c:v>685</c:v>
                </c:pt>
                <c:pt idx="8">
                  <c:v>685</c:v>
                </c:pt>
                <c:pt idx="9">
                  <c:v>685</c:v>
                </c:pt>
                <c:pt idx="10">
                  <c:v>685</c:v>
                </c:pt>
                <c:pt idx="11">
                  <c:v>685</c:v>
                </c:pt>
                <c:pt idx="12">
                  <c:v>685</c:v>
                </c:pt>
                <c:pt idx="13">
                  <c:v>685</c:v>
                </c:pt>
                <c:pt idx="14">
                  <c:v>685</c:v>
                </c:pt>
                <c:pt idx="15">
                  <c:v>685</c:v>
                </c:pt>
                <c:pt idx="16">
                  <c:v>685</c:v>
                </c:pt>
                <c:pt idx="17">
                  <c:v>683</c:v>
                </c:pt>
                <c:pt idx="18">
                  <c:v>683</c:v>
                </c:pt>
                <c:pt idx="19">
                  <c:v>671</c:v>
                </c:pt>
                <c:pt idx="20">
                  <c:v>671</c:v>
                </c:pt>
                <c:pt idx="21">
                  <c:v>670</c:v>
                </c:pt>
                <c:pt idx="22">
                  <c:v>670</c:v>
                </c:pt>
                <c:pt idx="23">
                  <c:v>670</c:v>
                </c:pt>
                <c:pt idx="24">
                  <c:v>670</c:v>
                </c:pt>
                <c:pt idx="25">
                  <c:v>670</c:v>
                </c:pt>
                <c:pt idx="26">
                  <c:v>670</c:v>
                </c:pt>
                <c:pt idx="27">
                  <c:v>670</c:v>
                </c:pt>
                <c:pt idx="28">
                  <c:v>670</c:v>
                </c:pt>
                <c:pt idx="29">
                  <c:v>669</c:v>
                </c:pt>
                <c:pt idx="30">
                  <c:v>665</c:v>
                </c:pt>
                <c:pt idx="31">
                  <c:v>665</c:v>
                </c:pt>
                <c:pt idx="32">
                  <c:v>665</c:v>
                </c:pt>
                <c:pt idx="33">
                  <c:v>665</c:v>
                </c:pt>
                <c:pt idx="34">
                  <c:v>665</c:v>
                </c:pt>
                <c:pt idx="35">
                  <c:v>665</c:v>
                </c:pt>
                <c:pt idx="36">
                  <c:v>665</c:v>
                </c:pt>
                <c:pt idx="37">
                  <c:v>665</c:v>
                </c:pt>
                <c:pt idx="38">
                  <c:v>665</c:v>
                </c:pt>
                <c:pt idx="39">
                  <c:v>665</c:v>
                </c:pt>
                <c:pt idx="40">
                  <c:v>658</c:v>
                </c:pt>
                <c:pt idx="41">
                  <c:v>658</c:v>
                </c:pt>
                <c:pt idx="42">
                  <c:v>658</c:v>
                </c:pt>
                <c:pt idx="43">
                  <c:v>655</c:v>
                </c:pt>
                <c:pt idx="44">
                  <c:v>655</c:v>
                </c:pt>
                <c:pt idx="45">
                  <c:v>655</c:v>
                </c:pt>
                <c:pt idx="46">
                  <c:v>655</c:v>
                </c:pt>
                <c:pt idx="47">
                  <c:v>655</c:v>
                </c:pt>
                <c:pt idx="48">
                  <c:v>655</c:v>
                </c:pt>
              </c:numCache>
            </c:numRef>
          </c:val>
          <c:smooth val="1"/>
          <c:extLst>
            <c:ext xmlns:c16="http://schemas.microsoft.com/office/drawing/2014/chart" uri="{C3380CC4-5D6E-409C-BE32-E72D297353CC}">
              <c16:uniqueId val="{00000004-0AFC-47E9-9D72-973F07B8AECD}"/>
            </c:ext>
          </c:extLst>
        </c:ser>
        <c:ser>
          <c:idx val="4"/>
          <c:order val="4"/>
          <c:tx>
            <c:strRef>
              <c:f>Sheet1!$F$1</c:f>
              <c:strCache>
                <c:ptCount val="1"/>
                <c:pt idx="0">
                  <c:v>DSPs</c:v>
                </c:pt>
              </c:strCache>
            </c:strRef>
          </c:tx>
          <c:spPr>
            <a:ln w="15875" cap="rnd">
              <a:solidFill>
                <a:srgbClr val="C00000"/>
              </a:solidFill>
              <a:round/>
            </a:ln>
            <a:effectLst/>
          </c:spPr>
          <c:marker>
            <c:symbol val="none"/>
          </c:marker>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F$2:$F$50</c:f>
              <c:numCache>
                <c:formatCode>General</c:formatCode>
                <c:ptCount val="49"/>
                <c:pt idx="0">
                  <c:v>382</c:v>
                </c:pt>
                <c:pt idx="1">
                  <c:v>383</c:v>
                </c:pt>
                <c:pt idx="2">
                  <c:v>385</c:v>
                </c:pt>
                <c:pt idx="3">
                  <c:v>386</c:v>
                </c:pt>
                <c:pt idx="4">
                  <c:v>390</c:v>
                </c:pt>
                <c:pt idx="5">
                  <c:v>391</c:v>
                </c:pt>
                <c:pt idx="6">
                  <c:v>392</c:v>
                </c:pt>
                <c:pt idx="7">
                  <c:v>392</c:v>
                </c:pt>
                <c:pt idx="8">
                  <c:v>392</c:v>
                </c:pt>
                <c:pt idx="9">
                  <c:v>391</c:v>
                </c:pt>
                <c:pt idx="10">
                  <c:v>392</c:v>
                </c:pt>
                <c:pt idx="11">
                  <c:v>392</c:v>
                </c:pt>
                <c:pt idx="12">
                  <c:v>394</c:v>
                </c:pt>
                <c:pt idx="13">
                  <c:v>392</c:v>
                </c:pt>
                <c:pt idx="14">
                  <c:v>393</c:v>
                </c:pt>
                <c:pt idx="15">
                  <c:v>393</c:v>
                </c:pt>
                <c:pt idx="16">
                  <c:v>394</c:v>
                </c:pt>
                <c:pt idx="17">
                  <c:v>395</c:v>
                </c:pt>
                <c:pt idx="18">
                  <c:v>396</c:v>
                </c:pt>
                <c:pt idx="19">
                  <c:v>397</c:v>
                </c:pt>
                <c:pt idx="20">
                  <c:v>401</c:v>
                </c:pt>
                <c:pt idx="21">
                  <c:v>399</c:v>
                </c:pt>
                <c:pt idx="22">
                  <c:v>401</c:v>
                </c:pt>
                <c:pt idx="23">
                  <c:v>401</c:v>
                </c:pt>
                <c:pt idx="24">
                  <c:v>399</c:v>
                </c:pt>
                <c:pt idx="25">
                  <c:v>398</c:v>
                </c:pt>
                <c:pt idx="26">
                  <c:v>396</c:v>
                </c:pt>
                <c:pt idx="27">
                  <c:v>392</c:v>
                </c:pt>
                <c:pt idx="28">
                  <c:v>386</c:v>
                </c:pt>
                <c:pt idx="29">
                  <c:v>385</c:v>
                </c:pt>
                <c:pt idx="30">
                  <c:v>383</c:v>
                </c:pt>
                <c:pt idx="31">
                  <c:v>380</c:v>
                </c:pt>
                <c:pt idx="32">
                  <c:v>377</c:v>
                </c:pt>
                <c:pt idx="33">
                  <c:v>373</c:v>
                </c:pt>
                <c:pt idx="34">
                  <c:v>372</c:v>
                </c:pt>
                <c:pt idx="35">
                  <c:v>370</c:v>
                </c:pt>
                <c:pt idx="36">
                  <c:v>368</c:v>
                </c:pt>
                <c:pt idx="37">
                  <c:v>362</c:v>
                </c:pt>
                <c:pt idx="38">
                  <c:v>356</c:v>
                </c:pt>
                <c:pt idx="39">
                  <c:v>356</c:v>
                </c:pt>
                <c:pt idx="40">
                  <c:v>353</c:v>
                </c:pt>
                <c:pt idx="41">
                  <c:v>352</c:v>
                </c:pt>
                <c:pt idx="42">
                  <c:v>352</c:v>
                </c:pt>
                <c:pt idx="43">
                  <c:v>347</c:v>
                </c:pt>
                <c:pt idx="44">
                  <c:v>347</c:v>
                </c:pt>
                <c:pt idx="45">
                  <c:v>346</c:v>
                </c:pt>
                <c:pt idx="46">
                  <c:v>344</c:v>
                </c:pt>
                <c:pt idx="47">
                  <c:v>341</c:v>
                </c:pt>
                <c:pt idx="48">
                  <c:v>338</c:v>
                </c:pt>
              </c:numCache>
            </c:numRef>
          </c:val>
          <c:smooth val="1"/>
          <c:extLst>
            <c:ext xmlns:c16="http://schemas.microsoft.com/office/drawing/2014/chart" uri="{C3380CC4-5D6E-409C-BE32-E72D297353CC}">
              <c16:uniqueId val="{00000005-0AFC-47E9-9D72-973F07B8AECD}"/>
            </c:ext>
          </c:extLst>
        </c:ser>
        <c:ser>
          <c:idx val="5"/>
          <c:order val="5"/>
          <c:tx>
            <c:strRef>
              <c:f>Sheet1!$G$1</c:f>
              <c:strCache>
                <c:ptCount val="1"/>
                <c:pt idx="0">
                  <c:v>Independents_</c:v>
                </c:pt>
              </c:strCache>
            </c:strRef>
          </c:tx>
          <c:spPr>
            <a:ln w="28575" cap="rnd">
              <a:noFill/>
              <a:round/>
            </a:ln>
            <a:effectLst/>
          </c:spPr>
          <c:marker>
            <c:symbol val="circle"/>
            <c:size val="5"/>
            <c:spPr>
              <a:solidFill>
                <a:schemeClr val="bg1"/>
              </a:solidFill>
              <a:ln w="12700">
                <a:solidFill>
                  <a:schemeClr val="accent1"/>
                </a:solidFill>
              </a:ln>
              <a:effectLst/>
            </c:spPr>
          </c:marker>
          <c:dLbls>
            <c:dLbl>
              <c:idx val="24"/>
              <c:layout>
                <c:manualLayout>
                  <c:x val="-3.2272749679582033E-2"/>
                  <c:y val="-4.3063666618464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65-4E95-9FB6-AB9CCA997816}"/>
                </c:ext>
              </c:extLst>
            </c:dLbl>
            <c:dLbl>
              <c:idx val="36"/>
              <c:layout>
                <c:manualLayout>
                  <c:x val="-3.3837868480725626E-2"/>
                  <c:y val="-3.24633794508425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D04-4968-A94E-C2DADA60B8CE}"/>
                </c:ext>
              </c:extLst>
            </c:dLbl>
            <c:dLbl>
              <c:idx val="4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5D7-401D-B04E-97A756307DD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G$2:$G$50</c:f>
              <c:numCache>
                <c:formatCode>General</c:formatCode>
                <c:ptCount val="49"/>
                <c:pt idx="0">
                  <c:v>4014</c:v>
                </c:pt>
                <c:pt idx="12">
                  <c:v>4081</c:v>
                </c:pt>
                <c:pt idx="24">
                  <c:v>4686</c:v>
                </c:pt>
                <c:pt idx="36">
                  <c:v>4840</c:v>
                </c:pt>
                <c:pt idx="48">
                  <c:v>4966</c:v>
                </c:pt>
              </c:numCache>
            </c:numRef>
          </c:val>
          <c:smooth val="1"/>
          <c:extLst>
            <c:ext xmlns:c16="http://schemas.microsoft.com/office/drawing/2014/chart" uri="{C3380CC4-5D6E-409C-BE32-E72D297353CC}">
              <c16:uniqueId val="{00000000-7289-4C28-B3D5-3D3D5C45B983}"/>
            </c:ext>
          </c:extLst>
        </c:ser>
        <c:ser>
          <c:idx val="6"/>
          <c:order val="6"/>
          <c:tx>
            <c:strRef>
              <c:f>Sheet1!$H$1</c:f>
              <c:strCache>
                <c:ptCount val="1"/>
                <c:pt idx="0">
                  <c:v>Regional Chains_</c:v>
                </c:pt>
              </c:strCache>
            </c:strRef>
          </c:tx>
          <c:spPr>
            <a:ln w="28575" cap="rnd">
              <a:noFill/>
              <a:round/>
            </a:ln>
            <a:effectLst/>
          </c:spPr>
          <c:marker>
            <c:symbol val="circle"/>
            <c:size val="5"/>
            <c:spPr>
              <a:solidFill>
                <a:schemeClr val="bg1"/>
              </a:solidFill>
              <a:ln w="12700">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H$2:$H$50</c:f>
              <c:numCache>
                <c:formatCode>General</c:formatCode>
                <c:ptCount val="49"/>
                <c:pt idx="0">
                  <c:v>1789</c:v>
                </c:pt>
                <c:pt idx="12">
                  <c:v>1801</c:v>
                </c:pt>
                <c:pt idx="24">
                  <c:v>1955</c:v>
                </c:pt>
                <c:pt idx="36">
                  <c:v>1996</c:v>
                </c:pt>
                <c:pt idx="48">
                  <c:v>1937</c:v>
                </c:pt>
              </c:numCache>
            </c:numRef>
          </c:val>
          <c:smooth val="0"/>
          <c:extLst>
            <c:ext xmlns:c16="http://schemas.microsoft.com/office/drawing/2014/chart" uri="{C3380CC4-5D6E-409C-BE32-E72D297353CC}">
              <c16:uniqueId val="{00000000-F868-40D1-AC21-D7B66C8A9A9A}"/>
            </c:ext>
          </c:extLst>
        </c:ser>
        <c:ser>
          <c:idx val="7"/>
          <c:order val="7"/>
          <c:tx>
            <c:strRef>
              <c:f>Sheet1!$I$1</c:f>
              <c:strCache>
                <c:ptCount val="1"/>
                <c:pt idx="0">
                  <c:v>National Chains_</c:v>
                </c:pt>
              </c:strCache>
            </c:strRef>
          </c:tx>
          <c:spPr>
            <a:ln w="28575" cap="rnd">
              <a:noFill/>
              <a:round/>
            </a:ln>
            <a:effectLst/>
          </c:spPr>
          <c:marker>
            <c:symbol val="circle"/>
            <c:size val="5"/>
            <c:spPr>
              <a:solidFill>
                <a:schemeClr val="bg1"/>
              </a:solidFill>
              <a:ln w="12700">
                <a:solidFill>
                  <a:schemeClr val="accent6"/>
                </a:solidFill>
              </a:ln>
              <a:effectLst/>
            </c:spPr>
          </c:marker>
          <c:dLbls>
            <c:dLbl>
              <c:idx val="24"/>
              <c:layout>
                <c:manualLayout>
                  <c:x val="-3.2272749679582033E-2"/>
                  <c:y val="2.71632358670314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965-4E95-9FB6-AB9CCA997816}"/>
                </c:ext>
              </c:extLst>
            </c:dLbl>
            <c:dLbl>
              <c:idx val="36"/>
              <c:layout>
                <c:manualLayout>
                  <c:x val="-4.1663462486443856E-2"/>
                  <c:y val="2.98133076589370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D04-4968-A94E-C2DADA60B8CE}"/>
                </c:ext>
              </c:extLst>
            </c:dLbl>
            <c:dLbl>
              <c:idx val="48"/>
              <c:layout>
                <c:manualLayout>
                  <c:x val="-2.8336414275855384E-2"/>
                  <c:y val="2.84882717629842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D7-401D-B04E-97A756307DD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I$2:$I$50</c:f>
              <c:numCache>
                <c:formatCode>General</c:formatCode>
                <c:ptCount val="49"/>
                <c:pt idx="0">
                  <c:v>4267</c:v>
                </c:pt>
                <c:pt idx="12">
                  <c:v>4116</c:v>
                </c:pt>
                <c:pt idx="24">
                  <c:v>2937</c:v>
                </c:pt>
                <c:pt idx="36">
                  <c:v>2626</c:v>
                </c:pt>
                <c:pt idx="48">
                  <c:v>2536</c:v>
                </c:pt>
              </c:numCache>
            </c:numRef>
          </c:val>
          <c:smooth val="0"/>
          <c:extLst>
            <c:ext xmlns:c16="http://schemas.microsoft.com/office/drawing/2014/chart" uri="{C3380CC4-5D6E-409C-BE32-E72D297353CC}">
              <c16:uniqueId val="{00000001-F868-40D1-AC21-D7B66C8A9A9A}"/>
            </c:ext>
          </c:extLst>
        </c:ser>
        <c:ser>
          <c:idx val="8"/>
          <c:order val="8"/>
          <c:tx>
            <c:strRef>
              <c:f>Sheet1!$J$1</c:f>
              <c:strCache>
                <c:ptCount val="1"/>
                <c:pt idx="0">
                  <c:v>Supermarkets_</c:v>
                </c:pt>
              </c:strCache>
            </c:strRef>
          </c:tx>
          <c:spPr>
            <a:ln w="28575" cap="rnd">
              <a:noFill/>
              <a:round/>
            </a:ln>
            <a:effectLst/>
          </c:spPr>
          <c:marker>
            <c:symbol val="circle"/>
            <c:size val="5"/>
            <c:spPr>
              <a:solidFill>
                <a:schemeClr val="bg1"/>
              </a:solidFill>
              <a:ln w="12700">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3"/>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J$2:$J$50</c:f>
              <c:numCache>
                <c:formatCode>General</c:formatCode>
                <c:ptCount val="49"/>
                <c:pt idx="0">
                  <c:v>685</c:v>
                </c:pt>
                <c:pt idx="12">
                  <c:v>685</c:v>
                </c:pt>
                <c:pt idx="24">
                  <c:v>670</c:v>
                </c:pt>
                <c:pt idx="36">
                  <c:v>665</c:v>
                </c:pt>
                <c:pt idx="48">
                  <c:v>655</c:v>
                </c:pt>
              </c:numCache>
            </c:numRef>
          </c:val>
          <c:smooth val="0"/>
          <c:extLst>
            <c:ext xmlns:c16="http://schemas.microsoft.com/office/drawing/2014/chart" uri="{C3380CC4-5D6E-409C-BE32-E72D297353CC}">
              <c16:uniqueId val="{00000002-F868-40D1-AC21-D7B66C8A9A9A}"/>
            </c:ext>
          </c:extLst>
        </c:ser>
        <c:ser>
          <c:idx val="9"/>
          <c:order val="9"/>
          <c:tx>
            <c:strRef>
              <c:f>Sheet1!$K$1</c:f>
              <c:strCache>
                <c:ptCount val="1"/>
                <c:pt idx="0">
                  <c:v>DSPs_</c:v>
                </c:pt>
              </c:strCache>
            </c:strRef>
          </c:tx>
          <c:spPr>
            <a:ln w="28575" cap="rnd">
              <a:noFill/>
              <a:round/>
            </a:ln>
            <a:effectLst/>
          </c:spPr>
          <c:marker>
            <c:symbol val="circle"/>
            <c:size val="5"/>
            <c:spPr>
              <a:solidFill>
                <a:schemeClr val="bg1"/>
              </a:solidFill>
              <a:ln w="12700">
                <a:solidFill>
                  <a:srgbClr val="C0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C00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0</c:f>
              <c:numCache>
                <c:formatCode>mmm\-yy</c:formatCode>
                <c:ptCount val="49"/>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pt idx="20">
                  <c:v>45200</c:v>
                </c:pt>
                <c:pt idx="21">
                  <c:v>45231</c:v>
                </c:pt>
                <c:pt idx="22">
                  <c:v>45261</c:v>
                </c:pt>
                <c:pt idx="23">
                  <c:v>45292</c:v>
                </c:pt>
                <c:pt idx="24">
                  <c:v>45323</c:v>
                </c:pt>
                <c:pt idx="25">
                  <c:v>45352</c:v>
                </c:pt>
                <c:pt idx="26">
                  <c:v>45383</c:v>
                </c:pt>
                <c:pt idx="27">
                  <c:v>45413</c:v>
                </c:pt>
                <c:pt idx="28">
                  <c:v>45444</c:v>
                </c:pt>
                <c:pt idx="29">
                  <c:v>45474</c:v>
                </c:pt>
                <c:pt idx="30">
                  <c:v>45505</c:v>
                </c:pt>
                <c:pt idx="31">
                  <c:v>45536</c:v>
                </c:pt>
                <c:pt idx="32">
                  <c:v>45566</c:v>
                </c:pt>
                <c:pt idx="33">
                  <c:v>45597</c:v>
                </c:pt>
                <c:pt idx="34">
                  <c:v>45627</c:v>
                </c:pt>
                <c:pt idx="35">
                  <c:v>45658</c:v>
                </c:pt>
                <c:pt idx="36">
                  <c:v>45689</c:v>
                </c:pt>
                <c:pt idx="37">
                  <c:v>45717</c:v>
                </c:pt>
                <c:pt idx="38">
                  <c:v>45748</c:v>
                </c:pt>
                <c:pt idx="39">
                  <c:v>45778</c:v>
                </c:pt>
                <c:pt idx="40">
                  <c:v>45809</c:v>
                </c:pt>
                <c:pt idx="41">
                  <c:v>45839</c:v>
                </c:pt>
                <c:pt idx="42">
                  <c:v>45870</c:v>
                </c:pt>
                <c:pt idx="43">
                  <c:v>45901</c:v>
                </c:pt>
                <c:pt idx="44">
                  <c:v>45931</c:v>
                </c:pt>
                <c:pt idx="45">
                  <c:v>45962</c:v>
                </c:pt>
                <c:pt idx="46">
                  <c:v>45992</c:v>
                </c:pt>
                <c:pt idx="47">
                  <c:v>46023</c:v>
                </c:pt>
                <c:pt idx="48">
                  <c:v>46054</c:v>
                </c:pt>
              </c:numCache>
            </c:numRef>
          </c:cat>
          <c:val>
            <c:numRef>
              <c:f>Sheet1!$K$2:$K$50</c:f>
              <c:numCache>
                <c:formatCode>General</c:formatCode>
                <c:ptCount val="49"/>
                <c:pt idx="0">
                  <c:v>382</c:v>
                </c:pt>
                <c:pt idx="12">
                  <c:v>394</c:v>
                </c:pt>
                <c:pt idx="24">
                  <c:v>399</c:v>
                </c:pt>
                <c:pt idx="36">
                  <c:v>368</c:v>
                </c:pt>
                <c:pt idx="48">
                  <c:v>338</c:v>
                </c:pt>
              </c:numCache>
            </c:numRef>
          </c:val>
          <c:smooth val="0"/>
          <c:extLst>
            <c:ext xmlns:c16="http://schemas.microsoft.com/office/drawing/2014/chart" uri="{C3380CC4-5D6E-409C-BE32-E72D297353CC}">
              <c16:uniqueId val="{00000003-F868-40D1-AC21-D7B66C8A9A9A}"/>
            </c:ext>
          </c:extLst>
        </c:ser>
        <c:dLbls>
          <c:showLegendKey val="0"/>
          <c:showVal val="0"/>
          <c:showCatName val="0"/>
          <c:showSerName val="0"/>
          <c:showPercent val="0"/>
          <c:showBubbleSize val="0"/>
        </c:dLbls>
        <c:smooth val="0"/>
        <c:axId val="715789984"/>
        <c:axId val="715789656"/>
      </c:lineChart>
      <c:dateAx>
        <c:axId val="715789984"/>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rgbClr val="000000"/>
                </a:solidFill>
                <a:latin typeface="+mn-lt"/>
                <a:ea typeface="+mn-ea"/>
                <a:cs typeface="+mn-cs"/>
              </a:defRPr>
            </a:pPr>
            <a:endParaRPr lang="en-US"/>
          </a:p>
        </c:txPr>
        <c:crossAx val="715789656"/>
        <c:crosses val="autoZero"/>
        <c:auto val="0"/>
        <c:lblOffset val="100"/>
        <c:baseTimeUnit val="months"/>
        <c:majorUnit val="2"/>
        <c:majorTimeUnit val="months"/>
      </c:dateAx>
      <c:valAx>
        <c:axId val="715789656"/>
        <c:scaling>
          <c:orientation val="minMax"/>
        </c:scaling>
        <c:delete val="0"/>
        <c:axPos val="l"/>
        <c:majorGridlines>
          <c:spPr>
            <a:ln w="6350"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b="1" dirty="0">
                    <a:solidFill>
                      <a:srgbClr val="000000"/>
                    </a:solidFill>
                  </a:rPr>
                  <a:t># of stores</a:t>
                </a:r>
              </a:p>
            </c:rich>
          </c:tx>
          <c:layout>
            <c:manualLayout>
              <c:xMode val="edge"/>
              <c:yMode val="edge"/>
              <c:x val="1.7529562836903451E-2"/>
              <c:y val="0.40318546976069858"/>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quot;k&quot;" sourceLinked="0"/>
        <c:majorTickMark val="out"/>
        <c:minorTickMark val="none"/>
        <c:tickLblPos val="nextTo"/>
        <c:spPr>
          <a:noFill/>
          <a:ln w="6350">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715789984"/>
        <c:crosses val="autoZero"/>
        <c:crossBetween val="between"/>
      </c:valAx>
      <c:spPr>
        <a:noFill/>
        <a:ln>
          <a:noFill/>
        </a:ln>
        <a:effectLst/>
      </c:spPr>
    </c:plotArea>
    <c:legend>
      <c:legendPos val="b"/>
      <c:legendEntry>
        <c:idx val="5"/>
        <c:delete val="1"/>
      </c:legendEntry>
      <c:legendEntry>
        <c:idx val="6"/>
        <c:delete val="1"/>
      </c:legendEntry>
      <c:legendEntry>
        <c:idx val="7"/>
        <c:delete val="1"/>
      </c:legendEntry>
      <c:legendEntry>
        <c:idx val="8"/>
        <c:delete val="1"/>
      </c:legendEntry>
      <c:legendEntry>
        <c:idx val="9"/>
        <c:delete val="1"/>
      </c:legendEntry>
      <c:layout>
        <c:manualLayout>
          <c:xMode val="edge"/>
          <c:yMode val="edge"/>
          <c:x val="8.4791728285517107E-2"/>
          <c:y val="0.93239249524708578"/>
          <c:w val="0.87151631667159624"/>
          <c:h val="4.6252391559172788E-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a:solidFill>
        <a:srgbClr val="000000"/>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40418940889985"/>
          <c:y val="4.3260182748724764E-2"/>
          <c:w val="0.79519162118220033"/>
          <c:h val="0.83334267307323229"/>
        </c:manualLayout>
      </c:layout>
      <c:barChart>
        <c:barDir val="bar"/>
        <c:grouping val="clustered"/>
        <c:varyColors val="0"/>
        <c:ser>
          <c:idx val="0"/>
          <c:order val="0"/>
          <c:tx>
            <c:strRef>
              <c:f>Sheet1!$B$1</c:f>
              <c:strCache>
                <c:ptCount val="1"/>
                <c:pt idx="0">
                  <c:v>Proportion</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3-DE00-407F-BAA9-88B13C669C82}"/>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4-DE00-407F-BAA9-88B13C669C82}"/>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5-DE00-407F-BAA9-88B13C669C82}"/>
              </c:ext>
            </c:extLst>
          </c:dPt>
          <c:dPt>
            <c:idx val="4"/>
            <c:invertIfNegative val="0"/>
            <c:bubble3D val="0"/>
            <c:spPr>
              <a:solidFill>
                <a:srgbClr val="C00000"/>
              </a:solidFill>
              <a:ln>
                <a:noFill/>
              </a:ln>
              <a:effectLst/>
            </c:spPr>
            <c:extLst>
              <c:ext xmlns:c16="http://schemas.microsoft.com/office/drawing/2014/chart" uri="{C3380CC4-5D6E-409C-BE32-E72D297353CC}">
                <c16:uniqueId val="{00000006-DE00-407F-BAA9-88B13C669C82}"/>
              </c:ext>
            </c:extLst>
          </c:dPt>
          <c:dLbls>
            <c:spPr>
              <a:noFill/>
              <a:ln>
                <a:noFill/>
              </a:ln>
              <a:effectLst/>
            </c:spPr>
            <c:txPr>
              <a:bodyPr rot="0" spcFirstLastPara="1" vertOverflow="ellipsis" vert="horz" wrap="non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dependents</c:v>
                </c:pt>
                <c:pt idx="1">
                  <c:v>Regional Chains</c:v>
                </c:pt>
                <c:pt idx="2">
                  <c:v>National Chains</c:v>
                </c:pt>
                <c:pt idx="3">
                  <c:v>Supermarkets</c:v>
                </c:pt>
                <c:pt idx="4">
                  <c:v>DSPs</c:v>
                </c:pt>
              </c:strCache>
            </c:strRef>
          </c:cat>
          <c:val>
            <c:numRef>
              <c:f>Sheet1!$B$2:$B$6</c:f>
              <c:numCache>
                <c:formatCode>0.0%</c:formatCode>
                <c:ptCount val="5"/>
                <c:pt idx="0">
                  <c:v>0.47603527607361962</c:v>
                </c:pt>
                <c:pt idx="1">
                  <c:v>0.1856786809815951</c:v>
                </c:pt>
                <c:pt idx="2">
                  <c:v>0.24309815950920247</c:v>
                </c:pt>
                <c:pt idx="3">
                  <c:v>6.278757668711657E-2</c:v>
                </c:pt>
                <c:pt idx="4">
                  <c:v>3.2400306748466258E-2</c:v>
                </c:pt>
              </c:numCache>
            </c:numRef>
          </c:val>
          <c:extLst>
            <c:ext xmlns:c16="http://schemas.microsoft.com/office/drawing/2014/chart" uri="{C3380CC4-5D6E-409C-BE32-E72D297353CC}">
              <c16:uniqueId val="{00000000-DE00-407F-BAA9-88B13C669C82}"/>
            </c:ext>
          </c:extLst>
        </c:ser>
        <c:dLbls>
          <c:showLegendKey val="0"/>
          <c:showVal val="0"/>
          <c:showCatName val="0"/>
          <c:showSerName val="0"/>
          <c:showPercent val="0"/>
          <c:showBubbleSize val="0"/>
        </c:dLbls>
        <c:gapWidth val="50"/>
        <c:axId val="1361342080"/>
        <c:axId val="1361335424"/>
      </c:barChart>
      <c:catAx>
        <c:axId val="1361342080"/>
        <c:scaling>
          <c:orientation val="maxMin"/>
        </c:scaling>
        <c:delete val="1"/>
        <c:axPos val="l"/>
        <c:numFmt formatCode="General" sourceLinked="1"/>
        <c:majorTickMark val="none"/>
        <c:minorTickMark val="none"/>
        <c:tickLblPos val="nextTo"/>
        <c:crossAx val="1361335424"/>
        <c:crosses val="autoZero"/>
        <c:auto val="1"/>
        <c:lblAlgn val="ctr"/>
        <c:lblOffset val="100"/>
        <c:noMultiLvlLbl val="0"/>
      </c:catAx>
      <c:valAx>
        <c:axId val="1361335424"/>
        <c:scaling>
          <c:orientation val="minMax"/>
          <c:max val="0.60000000000000009"/>
          <c:min val="0"/>
        </c:scaling>
        <c:delete val="1"/>
        <c:axPos val="t"/>
        <c:numFmt formatCode="0.0%" sourceLinked="1"/>
        <c:majorTickMark val="out"/>
        <c:minorTickMark val="none"/>
        <c:tickLblPos val="nextTo"/>
        <c:crossAx val="13613420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1"/>
          <c:tx>
            <c:strRef>
              <c:f>Sheet1!$C$1</c:f>
              <c:strCache>
                <c:ptCount val="1"/>
                <c:pt idx="0">
                  <c:v>Independents</c:v>
                </c:pt>
              </c:strCache>
            </c:strRef>
          </c:tx>
          <c:spPr>
            <a:solidFill>
              <a:schemeClr val="accent1"/>
            </a:solidFill>
            <a:ln w="635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C$2:$C$65</c:f>
              <c:numCache>
                <c:formatCode>\+0;\-0;0</c:formatCode>
                <c:ptCount val="49"/>
                <c:pt idx="0">
                  <c:v>30</c:v>
                </c:pt>
                <c:pt idx="1">
                  <c:v>18</c:v>
                </c:pt>
                <c:pt idx="2">
                  <c:v>34</c:v>
                </c:pt>
                <c:pt idx="3">
                  <c:v>58</c:v>
                </c:pt>
                <c:pt idx="4">
                  <c:v>64</c:v>
                </c:pt>
                <c:pt idx="5">
                  <c:v>105</c:v>
                </c:pt>
                <c:pt idx="6">
                  <c:v>130</c:v>
                </c:pt>
                <c:pt idx="7">
                  <c:v>104</c:v>
                </c:pt>
                <c:pt idx="8">
                  <c:v>95</c:v>
                </c:pt>
                <c:pt idx="9">
                  <c:v>40</c:v>
                </c:pt>
                <c:pt idx="10">
                  <c:v>29</c:v>
                </c:pt>
                <c:pt idx="11">
                  <c:v>21</c:v>
                </c:pt>
                <c:pt idx="12">
                  <c:v>33</c:v>
                </c:pt>
                <c:pt idx="13">
                  <c:v>35</c:v>
                </c:pt>
                <c:pt idx="14">
                  <c:v>33</c:v>
                </c:pt>
                <c:pt idx="15">
                  <c:v>24</c:v>
                </c:pt>
                <c:pt idx="16">
                  <c:v>49</c:v>
                </c:pt>
                <c:pt idx="17">
                  <c:v>45</c:v>
                </c:pt>
                <c:pt idx="18">
                  <c:v>44</c:v>
                </c:pt>
                <c:pt idx="19">
                  <c:v>46</c:v>
                </c:pt>
                <c:pt idx="20">
                  <c:v>30</c:v>
                </c:pt>
                <c:pt idx="21">
                  <c:v>42</c:v>
                </c:pt>
                <c:pt idx="22">
                  <c:v>21</c:v>
                </c:pt>
                <c:pt idx="23">
                  <c:v>25</c:v>
                </c:pt>
                <c:pt idx="24">
                  <c:v>35</c:v>
                </c:pt>
                <c:pt idx="25">
                  <c:v>39</c:v>
                </c:pt>
                <c:pt idx="26">
                  <c:v>28</c:v>
                </c:pt>
                <c:pt idx="27">
                  <c:v>36</c:v>
                </c:pt>
                <c:pt idx="28">
                  <c:v>32</c:v>
                </c:pt>
                <c:pt idx="29">
                  <c:v>29</c:v>
                </c:pt>
                <c:pt idx="30">
                  <c:v>31</c:v>
                </c:pt>
                <c:pt idx="31">
                  <c:v>27</c:v>
                </c:pt>
                <c:pt idx="32">
                  <c:v>39</c:v>
                </c:pt>
                <c:pt idx="33">
                  <c:v>34</c:v>
                </c:pt>
                <c:pt idx="34">
                  <c:v>26</c:v>
                </c:pt>
                <c:pt idx="35">
                  <c:v>30</c:v>
                </c:pt>
                <c:pt idx="36">
                  <c:v>42</c:v>
                </c:pt>
              </c:numCache>
            </c:numRef>
          </c:val>
          <c:extLst>
            <c:ext xmlns:c16="http://schemas.microsoft.com/office/drawing/2014/chart" uri="{C3380CC4-5D6E-409C-BE32-E72D297353CC}">
              <c16:uniqueId val="{00000000-7997-4EA5-B1CC-5DD69D9D85C3}"/>
            </c:ext>
          </c:extLst>
        </c:ser>
        <c:ser>
          <c:idx val="3"/>
          <c:order val="3"/>
          <c:tx>
            <c:strRef>
              <c:f>Sheet1!$E$1</c:f>
              <c:strCache>
                <c:ptCount val="1"/>
                <c:pt idx="0">
                  <c:v>Regional Chains</c:v>
                </c:pt>
              </c:strCache>
            </c:strRef>
          </c:tx>
          <c:spPr>
            <a:solidFill>
              <a:schemeClr val="accent4"/>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E$2:$E$65</c:f>
              <c:numCache>
                <c:formatCode>\+0;\-0;0</c:formatCode>
                <c:ptCount val="49"/>
                <c:pt idx="0">
                  <c:v>7</c:v>
                </c:pt>
                <c:pt idx="1">
                  <c:v>20</c:v>
                </c:pt>
                <c:pt idx="2">
                  <c:v>32</c:v>
                </c:pt>
                <c:pt idx="3">
                  <c:v>30</c:v>
                </c:pt>
                <c:pt idx="4">
                  <c:v>25</c:v>
                </c:pt>
                <c:pt idx="5">
                  <c:v>31</c:v>
                </c:pt>
                <c:pt idx="6">
                  <c:v>36</c:v>
                </c:pt>
                <c:pt idx="7">
                  <c:v>15</c:v>
                </c:pt>
                <c:pt idx="8">
                  <c:v>10</c:v>
                </c:pt>
                <c:pt idx="9">
                  <c:v>3</c:v>
                </c:pt>
                <c:pt idx="10">
                  <c:v>1</c:v>
                </c:pt>
                <c:pt idx="11">
                  <c:v>4</c:v>
                </c:pt>
                <c:pt idx="12">
                  <c:v>12</c:v>
                </c:pt>
                <c:pt idx="13">
                  <c:v>14</c:v>
                </c:pt>
                <c:pt idx="14">
                  <c:v>18</c:v>
                </c:pt>
                <c:pt idx="15">
                  <c:v>12</c:v>
                </c:pt>
                <c:pt idx="16">
                  <c:v>10</c:v>
                </c:pt>
                <c:pt idx="17">
                  <c:v>13</c:v>
                </c:pt>
                <c:pt idx="18">
                  <c:v>8</c:v>
                </c:pt>
                <c:pt idx="19">
                  <c:v>2</c:v>
                </c:pt>
                <c:pt idx="20">
                  <c:v>11</c:v>
                </c:pt>
                <c:pt idx="21">
                  <c:v>6</c:v>
                </c:pt>
                <c:pt idx="22">
                  <c:v>3</c:v>
                </c:pt>
                <c:pt idx="23">
                  <c:v>7</c:v>
                </c:pt>
                <c:pt idx="24">
                  <c:v>21</c:v>
                </c:pt>
                <c:pt idx="25">
                  <c:v>14</c:v>
                </c:pt>
                <c:pt idx="26">
                  <c:v>7</c:v>
                </c:pt>
                <c:pt idx="27">
                  <c:v>11</c:v>
                </c:pt>
                <c:pt idx="28">
                  <c:v>12</c:v>
                </c:pt>
                <c:pt idx="29">
                  <c:v>5</c:v>
                </c:pt>
                <c:pt idx="30">
                  <c:v>13</c:v>
                </c:pt>
                <c:pt idx="31">
                  <c:v>0</c:v>
                </c:pt>
                <c:pt idx="32">
                  <c:v>3</c:v>
                </c:pt>
                <c:pt idx="33">
                  <c:v>4</c:v>
                </c:pt>
                <c:pt idx="34">
                  <c:v>7</c:v>
                </c:pt>
                <c:pt idx="35">
                  <c:v>5</c:v>
                </c:pt>
                <c:pt idx="36">
                  <c:v>6</c:v>
                </c:pt>
              </c:numCache>
            </c:numRef>
          </c:val>
          <c:extLst>
            <c:ext xmlns:c16="http://schemas.microsoft.com/office/drawing/2014/chart" uri="{C3380CC4-5D6E-409C-BE32-E72D297353CC}">
              <c16:uniqueId val="{00000001-250F-4E78-B0D1-82750E69108E}"/>
            </c:ext>
          </c:extLst>
        </c:ser>
        <c:ser>
          <c:idx val="5"/>
          <c:order val="5"/>
          <c:tx>
            <c:strRef>
              <c:f>Sheet1!$G$1</c:f>
              <c:strCache>
                <c:ptCount val="1"/>
                <c:pt idx="0">
                  <c:v>National Chains</c:v>
                </c:pt>
              </c:strCache>
            </c:strRef>
          </c:tx>
          <c:spPr>
            <a:solidFill>
              <a:schemeClr val="accent2"/>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G$2:$G$65</c:f>
              <c:numCache>
                <c:formatCode>\+0;\-0;0</c:formatCode>
                <c:ptCount val="49"/>
                <c:pt idx="0">
                  <c:v>1</c:v>
                </c:pt>
                <c:pt idx="1">
                  <c:v>3</c:v>
                </c:pt>
                <c:pt idx="2">
                  <c:v>2</c:v>
                </c:pt>
                <c:pt idx="3">
                  <c:v>1</c:v>
                </c:pt>
                <c:pt idx="4">
                  <c:v>0</c:v>
                </c:pt>
                <c:pt idx="5">
                  <c:v>1</c:v>
                </c:pt>
                <c:pt idx="6">
                  <c:v>3</c:v>
                </c:pt>
                <c:pt idx="7">
                  <c:v>1</c:v>
                </c:pt>
                <c:pt idx="8">
                  <c:v>1</c:v>
                </c:pt>
                <c:pt idx="9">
                  <c:v>1</c:v>
                </c:pt>
                <c:pt idx="10">
                  <c:v>0</c:v>
                </c:pt>
                <c:pt idx="11">
                  <c:v>1</c:v>
                </c:pt>
                <c:pt idx="12">
                  <c:v>2</c:v>
                </c:pt>
                <c:pt idx="13">
                  <c:v>2</c:v>
                </c:pt>
                <c:pt idx="14">
                  <c:v>2</c:v>
                </c:pt>
                <c:pt idx="15">
                  <c:v>1</c:v>
                </c:pt>
                <c:pt idx="16">
                  <c:v>0</c:v>
                </c:pt>
                <c:pt idx="17">
                  <c:v>1</c:v>
                </c:pt>
                <c:pt idx="18">
                  <c:v>0</c:v>
                </c:pt>
                <c:pt idx="19">
                  <c:v>1</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2</c:v>
                </c:pt>
                <c:pt idx="36">
                  <c:v>0</c:v>
                </c:pt>
              </c:numCache>
            </c:numRef>
          </c:val>
          <c:extLst>
            <c:ext xmlns:c16="http://schemas.microsoft.com/office/drawing/2014/chart" uri="{C3380CC4-5D6E-409C-BE32-E72D297353CC}">
              <c16:uniqueId val="{00000003-250F-4E78-B0D1-82750E69108E}"/>
            </c:ext>
          </c:extLst>
        </c:ser>
        <c:ser>
          <c:idx val="7"/>
          <c:order val="7"/>
          <c:tx>
            <c:strRef>
              <c:f>Sheet1!$I$1</c:f>
              <c:strCache>
                <c:ptCount val="1"/>
                <c:pt idx="0">
                  <c:v>Supermarkets</c:v>
                </c:pt>
              </c:strCache>
            </c:strRef>
          </c:tx>
          <c:spPr>
            <a:solidFill>
              <a:schemeClr val="accent5"/>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I$2:$I$65</c:f>
              <c:numCache>
                <c:formatCode>\+0;\-0;0</c:formatCode>
                <c:ptCount val="4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numCache>
            </c:numRef>
          </c:val>
          <c:extLst>
            <c:ext xmlns:c16="http://schemas.microsoft.com/office/drawing/2014/chart" uri="{C3380CC4-5D6E-409C-BE32-E72D297353CC}">
              <c16:uniqueId val="{00000005-250F-4E78-B0D1-82750E69108E}"/>
            </c:ext>
          </c:extLst>
        </c:ser>
        <c:ser>
          <c:idx val="9"/>
          <c:order val="9"/>
          <c:tx>
            <c:strRef>
              <c:f>Sheet1!$K$1</c:f>
              <c:strCache>
                <c:ptCount val="1"/>
                <c:pt idx="0">
                  <c:v>DSPs</c:v>
                </c:pt>
              </c:strCache>
            </c:strRef>
          </c:tx>
          <c:spPr>
            <a:solidFill>
              <a:srgbClr val="830065"/>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K$2:$K$65</c:f>
              <c:numCache>
                <c:formatCode>\+0;\-0;0</c:formatCode>
                <c:ptCount val="49"/>
                <c:pt idx="0">
                  <c:v>3</c:v>
                </c:pt>
                <c:pt idx="1">
                  <c:v>4</c:v>
                </c:pt>
                <c:pt idx="2">
                  <c:v>3</c:v>
                </c:pt>
                <c:pt idx="3">
                  <c:v>0</c:v>
                </c:pt>
                <c:pt idx="4">
                  <c:v>5</c:v>
                </c:pt>
                <c:pt idx="5">
                  <c:v>2</c:v>
                </c:pt>
                <c:pt idx="6">
                  <c:v>1</c:v>
                </c:pt>
                <c:pt idx="7">
                  <c:v>3</c:v>
                </c:pt>
                <c:pt idx="8">
                  <c:v>8</c:v>
                </c:pt>
                <c:pt idx="9">
                  <c:v>0</c:v>
                </c:pt>
                <c:pt idx="10">
                  <c:v>3</c:v>
                </c:pt>
                <c:pt idx="11">
                  <c:v>0</c:v>
                </c:pt>
                <c:pt idx="12">
                  <c:v>0</c:v>
                </c:pt>
                <c:pt idx="13">
                  <c:v>0</c:v>
                </c:pt>
                <c:pt idx="14">
                  <c:v>1</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numCache>
            </c:numRef>
          </c:val>
          <c:extLst>
            <c:ext xmlns:c16="http://schemas.microsoft.com/office/drawing/2014/chart" uri="{C3380CC4-5D6E-409C-BE32-E72D297353CC}">
              <c16:uniqueId val="{00000007-250F-4E78-B0D1-82750E69108E}"/>
            </c:ext>
          </c:extLst>
        </c:ser>
        <c:dLbls>
          <c:showLegendKey val="0"/>
          <c:showVal val="0"/>
          <c:showCatName val="0"/>
          <c:showSerName val="0"/>
          <c:showPercent val="0"/>
          <c:showBubbleSize val="0"/>
        </c:dLbls>
        <c:gapWidth val="50"/>
        <c:overlap val="100"/>
        <c:axId val="507100496"/>
        <c:axId val="507102464"/>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Independents</c:v>
                      </c:pt>
                    </c:strCache>
                  </c:strRef>
                </c:tx>
                <c:spPr>
                  <a:solidFill>
                    <a:srgbClr val="00CCFF"/>
                  </a:solidFill>
                  <a:ln w="6350">
                    <a:noFill/>
                  </a:ln>
                  <a:effectLst/>
                </c:spPr>
                <c:invertIfNegative val="0"/>
                <c:cat>
                  <c:numRef>
                    <c:extLst>
                      <c:ext uri="{02D57815-91ED-43cb-92C2-25804820EDAC}">
                        <c15:formulaRef>
                          <c15:sqref>Sheet1!$A$2:$A$65</c15:sqref>
                        </c15:formulaRef>
                      </c:ext>
                    </c:extLst>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extLst>
                      <c:ext uri="{02D57815-91ED-43cb-92C2-25804820EDAC}">
                        <c15:formulaRef>
                          <c15:sqref>Sheet1!$B$2:$B$65</c15:sqref>
                        </c15:formulaRef>
                      </c:ext>
                    </c:extLst>
                    <c:numCache>
                      <c:formatCode>General</c:formatCode>
                      <c:ptCount val="49"/>
                      <c:pt idx="0">
                        <c:v>-13</c:v>
                      </c:pt>
                      <c:pt idx="1">
                        <c:v>-10</c:v>
                      </c:pt>
                      <c:pt idx="2">
                        <c:v>-7</c:v>
                      </c:pt>
                      <c:pt idx="3">
                        <c:v>-7</c:v>
                      </c:pt>
                      <c:pt idx="4">
                        <c:v>-7</c:v>
                      </c:pt>
                      <c:pt idx="5">
                        <c:v>-6</c:v>
                      </c:pt>
                      <c:pt idx="6">
                        <c:v>-5</c:v>
                      </c:pt>
                      <c:pt idx="7">
                        <c:v>-12</c:v>
                      </c:pt>
                      <c:pt idx="8">
                        <c:v>-15</c:v>
                      </c:pt>
                      <c:pt idx="9">
                        <c:v>-14</c:v>
                      </c:pt>
                      <c:pt idx="10">
                        <c:v>-16</c:v>
                      </c:pt>
                      <c:pt idx="11">
                        <c:v>-10</c:v>
                      </c:pt>
                      <c:pt idx="12">
                        <c:v>-17</c:v>
                      </c:pt>
                      <c:pt idx="13">
                        <c:v>-15</c:v>
                      </c:pt>
                      <c:pt idx="14">
                        <c:v>-21</c:v>
                      </c:pt>
                      <c:pt idx="15">
                        <c:v>-25</c:v>
                      </c:pt>
                      <c:pt idx="16">
                        <c:v>-14</c:v>
                      </c:pt>
                      <c:pt idx="17">
                        <c:v>-15</c:v>
                      </c:pt>
                      <c:pt idx="18">
                        <c:v>-40</c:v>
                      </c:pt>
                      <c:pt idx="19">
                        <c:v>-26</c:v>
                      </c:pt>
                      <c:pt idx="20">
                        <c:v>-33</c:v>
                      </c:pt>
                      <c:pt idx="21">
                        <c:v>-21</c:v>
                      </c:pt>
                      <c:pt idx="22">
                        <c:v>-30</c:v>
                      </c:pt>
                      <c:pt idx="23">
                        <c:v>-19</c:v>
                      </c:pt>
                      <c:pt idx="24">
                        <c:v>-16</c:v>
                      </c:pt>
                      <c:pt idx="25">
                        <c:v>-25</c:v>
                      </c:pt>
                      <c:pt idx="26">
                        <c:v>-47</c:v>
                      </c:pt>
                      <c:pt idx="27">
                        <c:v>-24</c:v>
                      </c:pt>
                      <c:pt idx="28">
                        <c:v>-21</c:v>
                      </c:pt>
                      <c:pt idx="29">
                        <c:v>-16</c:v>
                      </c:pt>
                      <c:pt idx="30">
                        <c:v>-22</c:v>
                      </c:pt>
                      <c:pt idx="31">
                        <c:v>-20</c:v>
                      </c:pt>
                      <c:pt idx="32">
                        <c:v>-23</c:v>
                      </c:pt>
                      <c:pt idx="33">
                        <c:v>-11</c:v>
                      </c:pt>
                      <c:pt idx="34">
                        <c:v>-15</c:v>
                      </c:pt>
                      <c:pt idx="35">
                        <c:v>-17</c:v>
                      </c:pt>
                      <c:pt idx="36">
                        <c:v>-26</c:v>
                      </c:pt>
                    </c:numCache>
                  </c:numRef>
                </c:val>
                <c:extLst>
                  <c:ext xmlns:c16="http://schemas.microsoft.com/office/drawing/2014/chart" uri="{C3380CC4-5D6E-409C-BE32-E72D297353CC}">
                    <c16:uniqueId val="{00000006-7997-4EA5-B1CC-5DD69D9D85C3}"/>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Regional Chains</c:v>
                      </c:pt>
                    </c:strCache>
                  </c:strRef>
                </c:tx>
                <c:spPr>
                  <a:pattFill prst="pct70">
                    <a:fgClr>
                      <a:schemeClr val="accent4"/>
                    </a:fgClr>
                    <a:bgClr>
                      <a:schemeClr val="bg1"/>
                    </a:bgClr>
                  </a:pattFill>
                  <a:ln>
                    <a:noFill/>
                  </a:ln>
                  <a:effectLst/>
                </c:spPr>
                <c:invertIfNegative val="0"/>
                <c:cat>
                  <c:numRef>
                    <c:extLst xmlns:c15="http://schemas.microsoft.com/office/drawing/2012/chart">
                      <c:ext xmlns:c15="http://schemas.microsoft.com/office/drawing/2012/chart" uri="{02D57815-91ED-43cb-92C2-25804820EDAC}">
                        <c15:formulaRef>
                          <c15:sqref>Sheet1!$A$2:$A$65</c15:sqref>
                        </c15:formulaRef>
                      </c:ext>
                    </c:extLst>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extLst xmlns:c15="http://schemas.microsoft.com/office/drawing/2012/chart">
                      <c:ext xmlns:c15="http://schemas.microsoft.com/office/drawing/2012/chart" uri="{02D57815-91ED-43cb-92C2-25804820EDAC}">
                        <c15:formulaRef>
                          <c15:sqref>Sheet1!$D$2:$D$65</c15:sqref>
                        </c15:formulaRef>
                      </c:ext>
                    </c:extLst>
                    <c:numCache>
                      <c:formatCode>General</c:formatCode>
                      <c:ptCount val="49"/>
                      <c:pt idx="0">
                        <c:v>-3</c:v>
                      </c:pt>
                      <c:pt idx="1">
                        <c:v>-2</c:v>
                      </c:pt>
                      <c:pt idx="2">
                        <c:v>-6</c:v>
                      </c:pt>
                      <c:pt idx="3">
                        <c:v>-4</c:v>
                      </c:pt>
                      <c:pt idx="4">
                        <c:v>-3</c:v>
                      </c:pt>
                      <c:pt idx="5">
                        <c:v>-1</c:v>
                      </c:pt>
                      <c:pt idx="6">
                        <c:v>-4</c:v>
                      </c:pt>
                      <c:pt idx="7">
                        <c:v>-3</c:v>
                      </c:pt>
                      <c:pt idx="8">
                        <c:v>-10</c:v>
                      </c:pt>
                      <c:pt idx="9">
                        <c:v>-7</c:v>
                      </c:pt>
                      <c:pt idx="10">
                        <c:v>-12</c:v>
                      </c:pt>
                      <c:pt idx="11">
                        <c:v>-4</c:v>
                      </c:pt>
                      <c:pt idx="12">
                        <c:v>-9</c:v>
                      </c:pt>
                      <c:pt idx="13">
                        <c:v>-8</c:v>
                      </c:pt>
                      <c:pt idx="14">
                        <c:v>-4</c:v>
                      </c:pt>
                      <c:pt idx="15">
                        <c:v>-6</c:v>
                      </c:pt>
                      <c:pt idx="16">
                        <c:v>-4</c:v>
                      </c:pt>
                      <c:pt idx="17">
                        <c:v>-14</c:v>
                      </c:pt>
                      <c:pt idx="18">
                        <c:v>-8</c:v>
                      </c:pt>
                      <c:pt idx="19">
                        <c:v>-4</c:v>
                      </c:pt>
                      <c:pt idx="20">
                        <c:v>-4</c:v>
                      </c:pt>
                      <c:pt idx="21">
                        <c:v>-7</c:v>
                      </c:pt>
                      <c:pt idx="22">
                        <c:v>-6</c:v>
                      </c:pt>
                      <c:pt idx="23">
                        <c:v>-5</c:v>
                      </c:pt>
                      <c:pt idx="24">
                        <c:v>-14</c:v>
                      </c:pt>
                      <c:pt idx="25">
                        <c:v>-19</c:v>
                      </c:pt>
                      <c:pt idx="26">
                        <c:v>-14</c:v>
                      </c:pt>
                      <c:pt idx="27">
                        <c:v>-7</c:v>
                      </c:pt>
                      <c:pt idx="28">
                        <c:v>-4</c:v>
                      </c:pt>
                      <c:pt idx="29">
                        <c:v>-11</c:v>
                      </c:pt>
                      <c:pt idx="30">
                        <c:v>-13</c:v>
                      </c:pt>
                      <c:pt idx="31">
                        <c:v>-6</c:v>
                      </c:pt>
                      <c:pt idx="32">
                        <c:v>-11</c:v>
                      </c:pt>
                      <c:pt idx="33">
                        <c:v>-23</c:v>
                      </c:pt>
                      <c:pt idx="34">
                        <c:v>-21</c:v>
                      </c:pt>
                      <c:pt idx="35">
                        <c:v>-2</c:v>
                      </c:pt>
                      <c:pt idx="36">
                        <c:v>-15</c:v>
                      </c:pt>
                    </c:numCache>
                  </c:numRef>
                </c:val>
                <c:extLst xmlns:c15="http://schemas.microsoft.com/office/drawing/2012/chart">
                  <c:ext xmlns:c16="http://schemas.microsoft.com/office/drawing/2014/chart" uri="{C3380CC4-5D6E-409C-BE32-E72D297353CC}">
                    <c16:uniqueId val="{00000000-250F-4E78-B0D1-82750E69108E}"/>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National Chain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65</c15:sqref>
                        </c15:formulaRef>
                      </c:ext>
                    </c:extLst>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extLst xmlns:c15="http://schemas.microsoft.com/office/drawing/2012/chart">
                      <c:ext xmlns:c15="http://schemas.microsoft.com/office/drawing/2012/chart" uri="{02D57815-91ED-43cb-92C2-25804820EDAC}">
                        <c15:formulaRef>
                          <c15:sqref>Sheet1!$F$2:$F$65</c15:sqref>
                        </c15:formulaRef>
                      </c:ext>
                    </c:extLst>
                    <c:numCache>
                      <c:formatCode>General</c:formatCode>
                      <c:ptCount val="49"/>
                      <c:pt idx="0">
                        <c:v>-26</c:v>
                      </c:pt>
                      <c:pt idx="1">
                        <c:v>-28</c:v>
                      </c:pt>
                      <c:pt idx="2">
                        <c:v>-43</c:v>
                      </c:pt>
                      <c:pt idx="3">
                        <c:v>-144</c:v>
                      </c:pt>
                      <c:pt idx="4">
                        <c:v>-119</c:v>
                      </c:pt>
                      <c:pt idx="5">
                        <c:v>-150</c:v>
                      </c:pt>
                      <c:pt idx="6">
                        <c:v>-144</c:v>
                      </c:pt>
                      <c:pt idx="7">
                        <c:v>-170</c:v>
                      </c:pt>
                      <c:pt idx="8">
                        <c:v>-140</c:v>
                      </c:pt>
                      <c:pt idx="9">
                        <c:v>-136</c:v>
                      </c:pt>
                      <c:pt idx="10">
                        <c:v>-44</c:v>
                      </c:pt>
                      <c:pt idx="11">
                        <c:v>-14</c:v>
                      </c:pt>
                      <c:pt idx="12">
                        <c:v>-63</c:v>
                      </c:pt>
                      <c:pt idx="13">
                        <c:v>-75</c:v>
                      </c:pt>
                      <c:pt idx="14">
                        <c:v>-59</c:v>
                      </c:pt>
                      <c:pt idx="15">
                        <c:v>-33</c:v>
                      </c:pt>
                      <c:pt idx="16">
                        <c:v>-20</c:v>
                      </c:pt>
                      <c:pt idx="17">
                        <c:v>-37</c:v>
                      </c:pt>
                      <c:pt idx="18">
                        <c:v>-21</c:v>
                      </c:pt>
                      <c:pt idx="19">
                        <c:v>-19</c:v>
                      </c:pt>
                      <c:pt idx="20">
                        <c:v>-16</c:v>
                      </c:pt>
                      <c:pt idx="21">
                        <c:v>-11</c:v>
                      </c:pt>
                      <c:pt idx="22">
                        <c:v>-11</c:v>
                      </c:pt>
                      <c:pt idx="23">
                        <c:v>-10</c:v>
                      </c:pt>
                      <c:pt idx="24">
                        <c:v>-6</c:v>
                      </c:pt>
                      <c:pt idx="25">
                        <c:v>-12</c:v>
                      </c:pt>
                      <c:pt idx="26">
                        <c:v>-10</c:v>
                      </c:pt>
                      <c:pt idx="27">
                        <c:v>-11</c:v>
                      </c:pt>
                      <c:pt idx="28">
                        <c:v>-10</c:v>
                      </c:pt>
                      <c:pt idx="29">
                        <c:v>-17</c:v>
                      </c:pt>
                      <c:pt idx="30">
                        <c:v>0</c:v>
                      </c:pt>
                      <c:pt idx="31">
                        <c:v>-6</c:v>
                      </c:pt>
                      <c:pt idx="32">
                        <c:v>-3</c:v>
                      </c:pt>
                      <c:pt idx="33">
                        <c:v>-8</c:v>
                      </c:pt>
                      <c:pt idx="34">
                        <c:v>-8</c:v>
                      </c:pt>
                      <c:pt idx="35">
                        <c:v>-2</c:v>
                      </c:pt>
                      <c:pt idx="36">
                        <c:v>-5</c:v>
                      </c:pt>
                    </c:numCache>
                  </c:numRef>
                </c:val>
                <c:extLst xmlns:c15="http://schemas.microsoft.com/office/drawing/2012/chart">
                  <c:ext xmlns:c16="http://schemas.microsoft.com/office/drawing/2014/chart" uri="{C3380CC4-5D6E-409C-BE32-E72D297353CC}">
                    <c16:uniqueId val="{00000002-250F-4E78-B0D1-82750E69108E}"/>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upermarkets</c:v>
                      </c:pt>
                    </c:strCache>
                  </c:strRef>
                </c:tx>
                <c:spPr>
                  <a:pattFill prst="pct70">
                    <a:fgClr>
                      <a:schemeClr val="accent5"/>
                    </a:fgClr>
                    <a:bgClr>
                      <a:schemeClr val="bg1"/>
                    </a:bgClr>
                  </a:pattFill>
                  <a:ln>
                    <a:noFill/>
                  </a:ln>
                  <a:effectLst/>
                </c:spPr>
                <c:invertIfNegative val="0"/>
                <c:cat>
                  <c:numRef>
                    <c:extLst xmlns:c15="http://schemas.microsoft.com/office/drawing/2012/chart">
                      <c:ext xmlns:c15="http://schemas.microsoft.com/office/drawing/2012/chart" uri="{02D57815-91ED-43cb-92C2-25804820EDAC}">
                        <c15:formulaRef>
                          <c15:sqref>Sheet1!$A$2:$A$65</c15:sqref>
                        </c15:formulaRef>
                      </c:ext>
                    </c:extLst>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extLst xmlns:c15="http://schemas.microsoft.com/office/drawing/2012/chart">
                      <c:ext xmlns:c15="http://schemas.microsoft.com/office/drawing/2012/chart" uri="{02D57815-91ED-43cb-92C2-25804820EDAC}">
                        <c15:formulaRef>
                          <c15:sqref>Sheet1!$H$2:$H$65</c15:sqref>
                        </c15:formulaRef>
                      </c:ext>
                    </c:extLst>
                    <c:numCache>
                      <c:formatCode>General</c:formatCode>
                      <c:ptCount val="49"/>
                      <c:pt idx="0">
                        <c:v>0</c:v>
                      </c:pt>
                      <c:pt idx="1">
                        <c:v>0</c:v>
                      </c:pt>
                      <c:pt idx="2">
                        <c:v>0</c:v>
                      </c:pt>
                      <c:pt idx="3">
                        <c:v>0</c:v>
                      </c:pt>
                      <c:pt idx="4">
                        <c:v>0</c:v>
                      </c:pt>
                      <c:pt idx="5">
                        <c:v>-2</c:v>
                      </c:pt>
                      <c:pt idx="6">
                        <c:v>0</c:v>
                      </c:pt>
                      <c:pt idx="7">
                        <c:v>-12</c:v>
                      </c:pt>
                      <c:pt idx="8">
                        <c:v>0</c:v>
                      </c:pt>
                      <c:pt idx="9">
                        <c:v>-1</c:v>
                      </c:pt>
                      <c:pt idx="10">
                        <c:v>0</c:v>
                      </c:pt>
                      <c:pt idx="11">
                        <c:v>0</c:v>
                      </c:pt>
                      <c:pt idx="12">
                        <c:v>0</c:v>
                      </c:pt>
                      <c:pt idx="13">
                        <c:v>0</c:v>
                      </c:pt>
                      <c:pt idx="14">
                        <c:v>0</c:v>
                      </c:pt>
                      <c:pt idx="15">
                        <c:v>0</c:v>
                      </c:pt>
                      <c:pt idx="16">
                        <c:v>0</c:v>
                      </c:pt>
                      <c:pt idx="17">
                        <c:v>-1</c:v>
                      </c:pt>
                      <c:pt idx="18">
                        <c:v>-4</c:v>
                      </c:pt>
                      <c:pt idx="19">
                        <c:v>0</c:v>
                      </c:pt>
                      <c:pt idx="20">
                        <c:v>0</c:v>
                      </c:pt>
                      <c:pt idx="21">
                        <c:v>0</c:v>
                      </c:pt>
                      <c:pt idx="22">
                        <c:v>0</c:v>
                      </c:pt>
                      <c:pt idx="23">
                        <c:v>0</c:v>
                      </c:pt>
                      <c:pt idx="24">
                        <c:v>0</c:v>
                      </c:pt>
                      <c:pt idx="25">
                        <c:v>0</c:v>
                      </c:pt>
                      <c:pt idx="26">
                        <c:v>0</c:v>
                      </c:pt>
                      <c:pt idx="27">
                        <c:v>0</c:v>
                      </c:pt>
                      <c:pt idx="28">
                        <c:v>-7</c:v>
                      </c:pt>
                      <c:pt idx="29">
                        <c:v>0</c:v>
                      </c:pt>
                      <c:pt idx="30">
                        <c:v>0</c:v>
                      </c:pt>
                      <c:pt idx="31">
                        <c:v>-3</c:v>
                      </c:pt>
                      <c:pt idx="32">
                        <c:v>0</c:v>
                      </c:pt>
                      <c:pt idx="33">
                        <c:v>0</c:v>
                      </c:pt>
                      <c:pt idx="34">
                        <c:v>0</c:v>
                      </c:pt>
                      <c:pt idx="35">
                        <c:v>0</c:v>
                      </c:pt>
                      <c:pt idx="36">
                        <c:v>0</c:v>
                      </c:pt>
                    </c:numCache>
                  </c:numRef>
                </c:val>
                <c:extLst xmlns:c15="http://schemas.microsoft.com/office/drawing/2012/chart">
                  <c:ext xmlns:c16="http://schemas.microsoft.com/office/drawing/2014/chart" uri="{C3380CC4-5D6E-409C-BE32-E72D297353CC}">
                    <c16:uniqueId val="{00000004-250F-4E78-B0D1-82750E69108E}"/>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Sheet1!$J$1</c15:sqref>
                        </c15:formulaRef>
                      </c:ext>
                    </c:extLst>
                    <c:strCache>
                      <c:ptCount val="1"/>
                      <c:pt idx="0">
                        <c:v>DSPs</c:v>
                      </c:pt>
                    </c:strCache>
                  </c:strRef>
                </c:tx>
                <c:spPr>
                  <a:pattFill prst="pct60">
                    <a:fgClr>
                      <a:srgbClr val="830065"/>
                    </a:fgClr>
                    <a:bgClr>
                      <a:schemeClr val="bg1"/>
                    </a:bgClr>
                  </a:pattFill>
                  <a:ln>
                    <a:noFill/>
                  </a:ln>
                  <a:effectLst/>
                </c:spPr>
                <c:invertIfNegative val="0"/>
                <c:cat>
                  <c:numRef>
                    <c:extLst xmlns:c15="http://schemas.microsoft.com/office/drawing/2012/chart">
                      <c:ext xmlns:c15="http://schemas.microsoft.com/office/drawing/2012/chart" uri="{02D57815-91ED-43cb-92C2-25804820EDAC}">
                        <c15:formulaRef>
                          <c15:sqref>Sheet1!$A$2:$A$65</c15:sqref>
                        </c15:formulaRef>
                      </c:ext>
                    </c:extLst>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extLst xmlns:c15="http://schemas.microsoft.com/office/drawing/2012/chart">
                      <c:ext xmlns:c15="http://schemas.microsoft.com/office/drawing/2012/chart" uri="{02D57815-91ED-43cb-92C2-25804820EDAC}">
                        <c15:formulaRef>
                          <c15:sqref>Sheet1!$J$2:$J$65</c15:sqref>
                        </c15:formulaRef>
                      </c:ext>
                    </c:extLst>
                    <c:numCache>
                      <c:formatCode>General</c:formatCode>
                      <c:ptCount val="49"/>
                      <c:pt idx="0">
                        <c:v>-1</c:v>
                      </c:pt>
                      <c:pt idx="1">
                        <c:v>-6</c:v>
                      </c:pt>
                      <c:pt idx="2">
                        <c:v>-2</c:v>
                      </c:pt>
                      <c:pt idx="3">
                        <c:v>0</c:v>
                      </c:pt>
                      <c:pt idx="4">
                        <c:v>-4</c:v>
                      </c:pt>
                      <c:pt idx="5">
                        <c:v>-1</c:v>
                      </c:pt>
                      <c:pt idx="6">
                        <c:v>0</c:v>
                      </c:pt>
                      <c:pt idx="7">
                        <c:v>-2</c:v>
                      </c:pt>
                      <c:pt idx="8">
                        <c:v>-4</c:v>
                      </c:pt>
                      <c:pt idx="9">
                        <c:v>-2</c:v>
                      </c:pt>
                      <c:pt idx="10">
                        <c:v>-1</c:v>
                      </c:pt>
                      <c:pt idx="11">
                        <c:v>0</c:v>
                      </c:pt>
                      <c:pt idx="12">
                        <c:v>-2</c:v>
                      </c:pt>
                      <c:pt idx="13">
                        <c:v>-1</c:v>
                      </c:pt>
                      <c:pt idx="14">
                        <c:v>-3</c:v>
                      </c:pt>
                      <c:pt idx="15">
                        <c:v>-4</c:v>
                      </c:pt>
                      <c:pt idx="16">
                        <c:v>-6</c:v>
                      </c:pt>
                      <c:pt idx="17">
                        <c:v>-1</c:v>
                      </c:pt>
                      <c:pt idx="18">
                        <c:v>-2</c:v>
                      </c:pt>
                      <c:pt idx="19">
                        <c:v>-3</c:v>
                      </c:pt>
                      <c:pt idx="20">
                        <c:v>-3</c:v>
                      </c:pt>
                      <c:pt idx="21">
                        <c:v>-4</c:v>
                      </c:pt>
                      <c:pt idx="22">
                        <c:v>-1</c:v>
                      </c:pt>
                      <c:pt idx="23">
                        <c:v>-2</c:v>
                      </c:pt>
                      <c:pt idx="24">
                        <c:v>-2</c:v>
                      </c:pt>
                      <c:pt idx="25">
                        <c:v>-6</c:v>
                      </c:pt>
                      <c:pt idx="26">
                        <c:v>-6</c:v>
                      </c:pt>
                      <c:pt idx="27">
                        <c:v>0</c:v>
                      </c:pt>
                      <c:pt idx="28">
                        <c:v>-3</c:v>
                      </c:pt>
                      <c:pt idx="29">
                        <c:v>-1</c:v>
                      </c:pt>
                      <c:pt idx="30">
                        <c:v>0</c:v>
                      </c:pt>
                      <c:pt idx="31">
                        <c:v>-5</c:v>
                      </c:pt>
                      <c:pt idx="32">
                        <c:v>0</c:v>
                      </c:pt>
                      <c:pt idx="33">
                        <c:v>-1</c:v>
                      </c:pt>
                      <c:pt idx="34">
                        <c:v>-2</c:v>
                      </c:pt>
                      <c:pt idx="35">
                        <c:v>-3</c:v>
                      </c:pt>
                      <c:pt idx="36">
                        <c:v>-3</c:v>
                      </c:pt>
                    </c:numCache>
                  </c:numRef>
                </c:val>
                <c:extLst xmlns:c15="http://schemas.microsoft.com/office/drawing/2012/chart">
                  <c:ext xmlns:c16="http://schemas.microsoft.com/office/drawing/2014/chart" uri="{C3380CC4-5D6E-409C-BE32-E72D297353CC}">
                    <c16:uniqueId val="{00000006-250F-4E78-B0D1-82750E69108E}"/>
                  </c:ext>
                </c:extLst>
              </c15:ser>
            </c15:filteredBarSeries>
          </c:ext>
        </c:extLst>
      </c:barChart>
      <c:dateAx>
        <c:axId val="507100496"/>
        <c:scaling>
          <c:orientation val="minMax"/>
        </c:scaling>
        <c:delete val="1"/>
        <c:axPos val="b"/>
        <c:numFmt formatCode="mmm\-yy" sourceLinked="1"/>
        <c:majorTickMark val="none"/>
        <c:minorTickMark val="none"/>
        <c:tickLblPos val="low"/>
        <c:crossAx val="507102464"/>
        <c:crosses val="autoZero"/>
        <c:auto val="1"/>
        <c:lblOffset val="100"/>
        <c:baseTimeUnit val="months"/>
      </c:dateAx>
      <c:valAx>
        <c:axId val="507102464"/>
        <c:scaling>
          <c:orientation val="minMax"/>
        </c:scaling>
        <c:delete val="0"/>
        <c:axPos val="l"/>
        <c:majorGridlines>
          <c:spPr>
            <a:ln w="6350"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Stores Opened</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0"/>
        <c:majorTickMark val="out"/>
        <c:minorTickMark val="none"/>
        <c:tickLblPos val="nextTo"/>
        <c:spPr>
          <a:noFill/>
          <a:ln w="3175">
            <a:solidFill>
              <a:schemeClr val="bg1">
                <a:lumMod val="85000"/>
              </a:schemeClr>
            </a:solidFill>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en-US"/>
          </a:p>
        </c:txPr>
        <c:crossAx val="5071004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000945774157599E-2"/>
          <c:y val="5.9272080348963883E-2"/>
          <c:w val="0.91178338763781541"/>
          <c:h val="0.55948951031185878"/>
        </c:manualLayout>
      </c:layout>
      <c:barChart>
        <c:barDir val="col"/>
        <c:grouping val="stacked"/>
        <c:varyColors val="0"/>
        <c:ser>
          <c:idx val="0"/>
          <c:order val="0"/>
          <c:tx>
            <c:strRef>
              <c:f>Sheet1!$B$1</c:f>
              <c:strCache>
                <c:ptCount val="1"/>
                <c:pt idx="0">
                  <c:v>Independents</c:v>
                </c:pt>
              </c:strCache>
            </c:strRef>
          </c:tx>
          <c:spPr>
            <a:solidFill>
              <a:schemeClr val="accent1"/>
            </a:solidFill>
            <a:ln w="635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B$2:$B$65</c:f>
              <c:numCache>
                <c:formatCode>General</c:formatCode>
                <c:ptCount val="49"/>
                <c:pt idx="0">
                  <c:v>-13</c:v>
                </c:pt>
                <c:pt idx="1">
                  <c:v>-10</c:v>
                </c:pt>
                <c:pt idx="2">
                  <c:v>-7</c:v>
                </c:pt>
                <c:pt idx="3">
                  <c:v>-7</c:v>
                </c:pt>
                <c:pt idx="4">
                  <c:v>-7</c:v>
                </c:pt>
                <c:pt idx="5">
                  <c:v>-6</c:v>
                </c:pt>
                <c:pt idx="6">
                  <c:v>-5</c:v>
                </c:pt>
                <c:pt idx="7">
                  <c:v>-12</c:v>
                </c:pt>
                <c:pt idx="8">
                  <c:v>-15</c:v>
                </c:pt>
                <c:pt idx="9">
                  <c:v>-14</c:v>
                </c:pt>
                <c:pt idx="10">
                  <c:v>-16</c:v>
                </c:pt>
                <c:pt idx="11">
                  <c:v>-10</c:v>
                </c:pt>
                <c:pt idx="12">
                  <c:v>-17</c:v>
                </c:pt>
                <c:pt idx="13">
                  <c:v>-15</c:v>
                </c:pt>
                <c:pt idx="14">
                  <c:v>-21</c:v>
                </c:pt>
                <c:pt idx="15">
                  <c:v>-25</c:v>
                </c:pt>
                <c:pt idx="16">
                  <c:v>-14</c:v>
                </c:pt>
                <c:pt idx="17">
                  <c:v>-15</c:v>
                </c:pt>
                <c:pt idx="18">
                  <c:v>-40</c:v>
                </c:pt>
                <c:pt idx="19">
                  <c:v>-26</c:v>
                </c:pt>
                <c:pt idx="20">
                  <c:v>-33</c:v>
                </c:pt>
                <c:pt idx="21">
                  <c:v>-21</c:v>
                </c:pt>
                <c:pt idx="22">
                  <c:v>-30</c:v>
                </c:pt>
                <c:pt idx="23">
                  <c:v>-19</c:v>
                </c:pt>
                <c:pt idx="24">
                  <c:v>-16</c:v>
                </c:pt>
                <c:pt idx="25">
                  <c:v>-25</c:v>
                </c:pt>
                <c:pt idx="26">
                  <c:v>-47</c:v>
                </c:pt>
                <c:pt idx="27">
                  <c:v>-24</c:v>
                </c:pt>
                <c:pt idx="28">
                  <c:v>-21</c:v>
                </c:pt>
                <c:pt idx="29">
                  <c:v>-16</c:v>
                </c:pt>
                <c:pt idx="30">
                  <c:v>-22</c:v>
                </c:pt>
                <c:pt idx="31">
                  <c:v>-20</c:v>
                </c:pt>
                <c:pt idx="32">
                  <c:v>-23</c:v>
                </c:pt>
                <c:pt idx="33">
                  <c:v>-11</c:v>
                </c:pt>
                <c:pt idx="34">
                  <c:v>-15</c:v>
                </c:pt>
                <c:pt idx="35">
                  <c:v>-17</c:v>
                </c:pt>
                <c:pt idx="36">
                  <c:v>-26</c:v>
                </c:pt>
              </c:numCache>
            </c:numRef>
          </c:val>
          <c:extLst>
            <c:ext xmlns:c16="http://schemas.microsoft.com/office/drawing/2014/chart" uri="{C3380CC4-5D6E-409C-BE32-E72D297353CC}">
              <c16:uniqueId val="{00000006-7997-4EA5-B1CC-5DD69D9D85C3}"/>
            </c:ext>
          </c:extLst>
        </c:ser>
        <c:ser>
          <c:idx val="1"/>
          <c:order val="1"/>
          <c:tx>
            <c:strRef>
              <c:f>Sheet1!$C$1</c:f>
              <c:strCache>
                <c:ptCount val="1"/>
                <c:pt idx="0">
                  <c:v>Independent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C$2:$C$65</c:f>
            </c:numRef>
          </c:val>
          <c:extLst>
            <c:ext xmlns:c16="http://schemas.microsoft.com/office/drawing/2014/chart" uri="{C3380CC4-5D6E-409C-BE32-E72D297353CC}">
              <c16:uniqueId val="{00000000-7997-4EA5-B1CC-5DD69D9D85C3}"/>
            </c:ext>
          </c:extLst>
        </c:ser>
        <c:ser>
          <c:idx val="2"/>
          <c:order val="2"/>
          <c:tx>
            <c:strRef>
              <c:f>Sheet1!$D$1</c:f>
              <c:strCache>
                <c:ptCount val="1"/>
                <c:pt idx="0">
                  <c:v>Regional Chains</c:v>
                </c:pt>
              </c:strCache>
            </c:strRef>
          </c:tx>
          <c:spPr>
            <a:solidFill>
              <a:schemeClr val="accent4"/>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D$2:$D$65</c:f>
              <c:numCache>
                <c:formatCode>General</c:formatCode>
                <c:ptCount val="49"/>
                <c:pt idx="0">
                  <c:v>-3</c:v>
                </c:pt>
                <c:pt idx="1">
                  <c:v>-2</c:v>
                </c:pt>
                <c:pt idx="2">
                  <c:v>-6</c:v>
                </c:pt>
                <c:pt idx="3">
                  <c:v>-4</c:v>
                </c:pt>
                <c:pt idx="4">
                  <c:v>-3</c:v>
                </c:pt>
                <c:pt idx="5">
                  <c:v>-1</c:v>
                </c:pt>
                <c:pt idx="6">
                  <c:v>-4</c:v>
                </c:pt>
                <c:pt idx="7">
                  <c:v>-3</c:v>
                </c:pt>
                <c:pt idx="8">
                  <c:v>-10</c:v>
                </c:pt>
                <c:pt idx="9">
                  <c:v>-7</c:v>
                </c:pt>
                <c:pt idx="10">
                  <c:v>-12</c:v>
                </c:pt>
                <c:pt idx="11">
                  <c:v>-4</c:v>
                </c:pt>
                <c:pt idx="12">
                  <c:v>-9</c:v>
                </c:pt>
                <c:pt idx="13">
                  <c:v>-8</c:v>
                </c:pt>
                <c:pt idx="14">
                  <c:v>-4</c:v>
                </c:pt>
                <c:pt idx="15">
                  <c:v>-6</c:v>
                </c:pt>
                <c:pt idx="16">
                  <c:v>-4</c:v>
                </c:pt>
                <c:pt idx="17">
                  <c:v>-14</c:v>
                </c:pt>
                <c:pt idx="18">
                  <c:v>-8</c:v>
                </c:pt>
                <c:pt idx="19">
                  <c:v>-4</c:v>
                </c:pt>
                <c:pt idx="20">
                  <c:v>-4</c:v>
                </c:pt>
                <c:pt idx="21">
                  <c:v>-7</c:v>
                </c:pt>
                <c:pt idx="22">
                  <c:v>-6</c:v>
                </c:pt>
                <c:pt idx="23">
                  <c:v>-5</c:v>
                </c:pt>
                <c:pt idx="24">
                  <c:v>-14</c:v>
                </c:pt>
                <c:pt idx="25">
                  <c:v>-19</c:v>
                </c:pt>
                <c:pt idx="26">
                  <c:v>-14</c:v>
                </c:pt>
                <c:pt idx="27">
                  <c:v>-7</c:v>
                </c:pt>
                <c:pt idx="28">
                  <c:v>-4</c:v>
                </c:pt>
                <c:pt idx="29">
                  <c:v>-11</c:v>
                </c:pt>
                <c:pt idx="30">
                  <c:v>-13</c:v>
                </c:pt>
                <c:pt idx="31">
                  <c:v>-6</c:v>
                </c:pt>
                <c:pt idx="32">
                  <c:v>-11</c:v>
                </c:pt>
                <c:pt idx="33">
                  <c:v>-23</c:v>
                </c:pt>
                <c:pt idx="34">
                  <c:v>-21</c:v>
                </c:pt>
                <c:pt idx="35">
                  <c:v>-2</c:v>
                </c:pt>
                <c:pt idx="36">
                  <c:v>-15</c:v>
                </c:pt>
              </c:numCache>
            </c:numRef>
          </c:val>
          <c:extLst>
            <c:ext xmlns:c16="http://schemas.microsoft.com/office/drawing/2014/chart" uri="{C3380CC4-5D6E-409C-BE32-E72D297353CC}">
              <c16:uniqueId val="{00000000-250F-4E78-B0D1-82750E69108E}"/>
            </c:ext>
          </c:extLst>
        </c:ser>
        <c:ser>
          <c:idx val="3"/>
          <c:order val="3"/>
          <c:tx>
            <c:strRef>
              <c:f>Sheet1!$E$1</c:f>
              <c:strCache>
                <c:ptCount val="1"/>
                <c:pt idx="0">
                  <c:v>Regional Chains</c:v>
                </c:pt>
              </c:strCache>
            </c:strRef>
          </c:tx>
          <c:spPr>
            <a:solidFill>
              <a:schemeClr val="accent4"/>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E$2:$E$65</c:f>
            </c:numRef>
          </c:val>
          <c:extLst>
            <c:ext xmlns:c16="http://schemas.microsoft.com/office/drawing/2014/chart" uri="{C3380CC4-5D6E-409C-BE32-E72D297353CC}">
              <c16:uniqueId val="{00000001-250F-4E78-B0D1-82750E69108E}"/>
            </c:ext>
          </c:extLst>
        </c:ser>
        <c:ser>
          <c:idx val="4"/>
          <c:order val="4"/>
          <c:tx>
            <c:strRef>
              <c:f>Sheet1!$F$1</c:f>
              <c:strCache>
                <c:ptCount val="1"/>
                <c:pt idx="0">
                  <c:v>National Chain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F$2:$F$65</c:f>
              <c:numCache>
                <c:formatCode>General</c:formatCode>
                <c:ptCount val="49"/>
                <c:pt idx="0">
                  <c:v>-26</c:v>
                </c:pt>
                <c:pt idx="1">
                  <c:v>-28</c:v>
                </c:pt>
                <c:pt idx="2">
                  <c:v>-43</c:v>
                </c:pt>
                <c:pt idx="3">
                  <c:v>-144</c:v>
                </c:pt>
                <c:pt idx="4">
                  <c:v>-119</c:v>
                </c:pt>
                <c:pt idx="5">
                  <c:v>-150</c:v>
                </c:pt>
                <c:pt idx="6">
                  <c:v>-144</c:v>
                </c:pt>
                <c:pt idx="7">
                  <c:v>-170</c:v>
                </c:pt>
                <c:pt idx="8">
                  <c:v>-140</c:v>
                </c:pt>
                <c:pt idx="9">
                  <c:v>-136</c:v>
                </c:pt>
                <c:pt idx="10">
                  <c:v>-44</c:v>
                </c:pt>
                <c:pt idx="11">
                  <c:v>-14</c:v>
                </c:pt>
                <c:pt idx="12">
                  <c:v>-63</c:v>
                </c:pt>
                <c:pt idx="13">
                  <c:v>-75</c:v>
                </c:pt>
                <c:pt idx="14">
                  <c:v>-59</c:v>
                </c:pt>
                <c:pt idx="15">
                  <c:v>-33</c:v>
                </c:pt>
                <c:pt idx="16">
                  <c:v>-20</c:v>
                </c:pt>
                <c:pt idx="17">
                  <c:v>-37</c:v>
                </c:pt>
                <c:pt idx="18">
                  <c:v>-21</c:v>
                </c:pt>
                <c:pt idx="19">
                  <c:v>-19</c:v>
                </c:pt>
                <c:pt idx="20">
                  <c:v>-16</c:v>
                </c:pt>
                <c:pt idx="21">
                  <c:v>-11</c:v>
                </c:pt>
                <c:pt idx="22">
                  <c:v>-11</c:v>
                </c:pt>
                <c:pt idx="23">
                  <c:v>-10</c:v>
                </c:pt>
                <c:pt idx="24">
                  <c:v>-6</c:v>
                </c:pt>
                <c:pt idx="25">
                  <c:v>-12</c:v>
                </c:pt>
                <c:pt idx="26">
                  <c:v>-10</c:v>
                </c:pt>
                <c:pt idx="27">
                  <c:v>-11</c:v>
                </c:pt>
                <c:pt idx="28">
                  <c:v>-10</c:v>
                </c:pt>
                <c:pt idx="29">
                  <c:v>-17</c:v>
                </c:pt>
                <c:pt idx="30">
                  <c:v>0</c:v>
                </c:pt>
                <c:pt idx="31">
                  <c:v>-6</c:v>
                </c:pt>
                <c:pt idx="32">
                  <c:v>-3</c:v>
                </c:pt>
                <c:pt idx="33">
                  <c:v>-8</c:v>
                </c:pt>
                <c:pt idx="34">
                  <c:v>-8</c:v>
                </c:pt>
                <c:pt idx="35">
                  <c:v>-2</c:v>
                </c:pt>
                <c:pt idx="36">
                  <c:v>-5</c:v>
                </c:pt>
              </c:numCache>
            </c:numRef>
          </c:val>
          <c:extLst>
            <c:ext xmlns:c16="http://schemas.microsoft.com/office/drawing/2014/chart" uri="{C3380CC4-5D6E-409C-BE32-E72D297353CC}">
              <c16:uniqueId val="{00000002-250F-4E78-B0D1-82750E69108E}"/>
            </c:ext>
          </c:extLst>
        </c:ser>
        <c:ser>
          <c:idx val="5"/>
          <c:order val="5"/>
          <c:tx>
            <c:strRef>
              <c:f>Sheet1!$G$1</c:f>
              <c:strCache>
                <c:ptCount val="1"/>
                <c:pt idx="0">
                  <c:v>National Chains</c:v>
                </c:pt>
              </c:strCache>
            </c:strRef>
          </c:tx>
          <c:spPr>
            <a:solidFill>
              <a:schemeClr val="accent6"/>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G$2:$G$65</c:f>
            </c:numRef>
          </c:val>
          <c:extLst>
            <c:ext xmlns:c16="http://schemas.microsoft.com/office/drawing/2014/chart" uri="{C3380CC4-5D6E-409C-BE32-E72D297353CC}">
              <c16:uniqueId val="{00000003-250F-4E78-B0D1-82750E69108E}"/>
            </c:ext>
          </c:extLst>
        </c:ser>
        <c:ser>
          <c:idx val="6"/>
          <c:order val="6"/>
          <c:tx>
            <c:strRef>
              <c:f>Sheet1!$H$1</c:f>
              <c:strCache>
                <c:ptCount val="1"/>
                <c:pt idx="0">
                  <c:v>Supermarkets</c:v>
                </c:pt>
              </c:strCache>
            </c:strRef>
          </c:tx>
          <c:spPr>
            <a:solidFill>
              <a:schemeClr val="accent5"/>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H$2:$H$65</c:f>
              <c:numCache>
                <c:formatCode>General</c:formatCode>
                <c:ptCount val="49"/>
                <c:pt idx="0">
                  <c:v>0</c:v>
                </c:pt>
                <c:pt idx="1">
                  <c:v>0</c:v>
                </c:pt>
                <c:pt idx="2">
                  <c:v>0</c:v>
                </c:pt>
                <c:pt idx="3">
                  <c:v>0</c:v>
                </c:pt>
                <c:pt idx="4">
                  <c:v>0</c:v>
                </c:pt>
                <c:pt idx="5">
                  <c:v>-2</c:v>
                </c:pt>
                <c:pt idx="6">
                  <c:v>0</c:v>
                </c:pt>
                <c:pt idx="7">
                  <c:v>-12</c:v>
                </c:pt>
                <c:pt idx="8">
                  <c:v>0</c:v>
                </c:pt>
                <c:pt idx="9">
                  <c:v>-1</c:v>
                </c:pt>
                <c:pt idx="10">
                  <c:v>0</c:v>
                </c:pt>
                <c:pt idx="11">
                  <c:v>0</c:v>
                </c:pt>
                <c:pt idx="12">
                  <c:v>0</c:v>
                </c:pt>
                <c:pt idx="13">
                  <c:v>0</c:v>
                </c:pt>
                <c:pt idx="14">
                  <c:v>0</c:v>
                </c:pt>
                <c:pt idx="15">
                  <c:v>0</c:v>
                </c:pt>
                <c:pt idx="16">
                  <c:v>0</c:v>
                </c:pt>
                <c:pt idx="17">
                  <c:v>-1</c:v>
                </c:pt>
                <c:pt idx="18">
                  <c:v>-4</c:v>
                </c:pt>
                <c:pt idx="19">
                  <c:v>0</c:v>
                </c:pt>
                <c:pt idx="20">
                  <c:v>0</c:v>
                </c:pt>
                <c:pt idx="21">
                  <c:v>0</c:v>
                </c:pt>
                <c:pt idx="22">
                  <c:v>0</c:v>
                </c:pt>
                <c:pt idx="23">
                  <c:v>0</c:v>
                </c:pt>
                <c:pt idx="24">
                  <c:v>0</c:v>
                </c:pt>
                <c:pt idx="25">
                  <c:v>0</c:v>
                </c:pt>
                <c:pt idx="26">
                  <c:v>0</c:v>
                </c:pt>
                <c:pt idx="27">
                  <c:v>0</c:v>
                </c:pt>
                <c:pt idx="28">
                  <c:v>-7</c:v>
                </c:pt>
                <c:pt idx="29">
                  <c:v>0</c:v>
                </c:pt>
                <c:pt idx="30">
                  <c:v>0</c:v>
                </c:pt>
                <c:pt idx="31">
                  <c:v>-3</c:v>
                </c:pt>
                <c:pt idx="32">
                  <c:v>0</c:v>
                </c:pt>
                <c:pt idx="33">
                  <c:v>0</c:v>
                </c:pt>
                <c:pt idx="34">
                  <c:v>0</c:v>
                </c:pt>
                <c:pt idx="35">
                  <c:v>0</c:v>
                </c:pt>
                <c:pt idx="36">
                  <c:v>0</c:v>
                </c:pt>
              </c:numCache>
            </c:numRef>
          </c:val>
          <c:extLst>
            <c:ext xmlns:c16="http://schemas.microsoft.com/office/drawing/2014/chart" uri="{C3380CC4-5D6E-409C-BE32-E72D297353CC}">
              <c16:uniqueId val="{00000004-250F-4E78-B0D1-82750E69108E}"/>
            </c:ext>
          </c:extLst>
        </c:ser>
        <c:ser>
          <c:idx val="7"/>
          <c:order val="7"/>
          <c:tx>
            <c:strRef>
              <c:f>Sheet1!$I$1</c:f>
              <c:strCache>
                <c:ptCount val="1"/>
                <c:pt idx="0">
                  <c:v>Supermarkets</c:v>
                </c:pt>
              </c:strCache>
            </c:strRef>
          </c:tx>
          <c:spPr>
            <a:solidFill>
              <a:schemeClr val="accent2">
                <a:lumMod val="60000"/>
              </a:schemeClr>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I$2:$I$65</c:f>
            </c:numRef>
          </c:val>
          <c:extLst>
            <c:ext xmlns:c16="http://schemas.microsoft.com/office/drawing/2014/chart" uri="{C3380CC4-5D6E-409C-BE32-E72D297353CC}">
              <c16:uniqueId val="{00000005-250F-4E78-B0D1-82750E69108E}"/>
            </c:ext>
          </c:extLst>
        </c:ser>
        <c:ser>
          <c:idx val="8"/>
          <c:order val="8"/>
          <c:tx>
            <c:strRef>
              <c:f>Sheet1!$J$1</c:f>
              <c:strCache>
                <c:ptCount val="1"/>
                <c:pt idx="0">
                  <c:v>DSPs</c:v>
                </c:pt>
              </c:strCache>
            </c:strRef>
          </c:tx>
          <c:spPr>
            <a:solidFill>
              <a:srgbClr val="830065"/>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J$2:$J$65</c:f>
              <c:numCache>
                <c:formatCode>General</c:formatCode>
                <c:ptCount val="49"/>
                <c:pt idx="0">
                  <c:v>-1</c:v>
                </c:pt>
                <c:pt idx="1">
                  <c:v>-6</c:v>
                </c:pt>
                <c:pt idx="2">
                  <c:v>-2</c:v>
                </c:pt>
                <c:pt idx="3">
                  <c:v>0</c:v>
                </c:pt>
                <c:pt idx="4">
                  <c:v>-4</c:v>
                </c:pt>
                <c:pt idx="5">
                  <c:v>-1</c:v>
                </c:pt>
                <c:pt idx="6">
                  <c:v>0</c:v>
                </c:pt>
                <c:pt idx="7">
                  <c:v>-2</c:v>
                </c:pt>
                <c:pt idx="8">
                  <c:v>-4</c:v>
                </c:pt>
                <c:pt idx="9">
                  <c:v>-2</c:v>
                </c:pt>
                <c:pt idx="10">
                  <c:v>-1</c:v>
                </c:pt>
                <c:pt idx="11">
                  <c:v>0</c:v>
                </c:pt>
                <c:pt idx="12">
                  <c:v>-2</c:v>
                </c:pt>
                <c:pt idx="13">
                  <c:v>-1</c:v>
                </c:pt>
                <c:pt idx="14">
                  <c:v>-3</c:v>
                </c:pt>
                <c:pt idx="15">
                  <c:v>-4</c:v>
                </c:pt>
                <c:pt idx="16">
                  <c:v>-6</c:v>
                </c:pt>
                <c:pt idx="17">
                  <c:v>-1</c:v>
                </c:pt>
                <c:pt idx="18">
                  <c:v>-2</c:v>
                </c:pt>
                <c:pt idx="19">
                  <c:v>-3</c:v>
                </c:pt>
                <c:pt idx="20">
                  <c:v>-3</c:v>
                </c:pt>
                <c:pt idx="21">
                  <c:v>-4</c:v>
                </c:pt>
                <c:pt idx="22">
                  <c:v>-1</c:v>
                </c:pt>
                <c:pt idx="23">
                  <c:v>-2</c:v>
                </c:pt>
                <c:pt idx="24">
                  <c:v>-2</c:v>
                </c:pt>
                <c:pt idx="25">
                  <c:v>-6</c:v>
                </c:pt>
                <c:pt idx="26">
                  <c:v>-6</c:v>
                </c:pt>
                <c:pt idx="27">
                  <c:v>0</c:v>
                </c:pt>
                <c:pt idx="28">
                  <c:v>-3</c:v>
                </c:pt>
                <c:pt idx="29">
                  <c:v>-1</c:v>
                </c:pt>
                <c:pt idx="30">
                  <c:v>0</c:v>
                </c:pt>
                <c:pt idx="31">
                  <c:v>-5</c:v>
                </c:pt>
                <c:pt idx="32">
                  <c:v>0</c:v>
                </c:pt>
                <c:pt idx="33">
                  <c:v>-1</c:v>
                </c:pt>
                <c:pt idx="34">
                  <c:v>-2</c:v>
                </c:pt>
                <c:pt idx="35">
                  <c:v>-3</c:v>
                </c:pt>
                <c:pt idx="36">
                  <c:v>-3</c:v>
                </c:pt>
              </c:numCache>
            </c:numRef>
          </c:val>
          <c:extLst>
            <c:ext xmlns:c16="http://schemas.microsoft.com/office/drawing/2014/chart" uri="{C3380CC4-5D6E-409C-BE32-E72D297353CC}">
              <c16:uniqueId val="{00000006-250F-4E78-B0D1-82750E69108E}"/>
            </c:ext>
          </c:extLst>
        </c:ser>
        <c:ser>
          <c:idx val="9"/>
          <c:order val="9"/>
          <c:tx>
            <c:strRef>
              <c:f>Sheet1!$K$1</c:f>
              <c:strCache>
                <c:ptCount val="1"/>
                <c:pt idx="0">
                  <c:v>DSPs</c:v>
                </c:pt>
              </c:strCache>
            </c:strRef>
          </c:tx>
          <c:spPr>
            <a:solidFill>
              <a:schemeClr val="accent4">
                <a:lumMod val="60000"/>
              </a:schemeClr>
            </a:solidFill>
            <a:ln>
              <a:noFill/>
            </a:ln>
            <a:effectLst/>
          </c:spPr>
          <c:invertIfNegative val="0"/>
          <c:cat>
            <c:numRef>
              <c:f>Sheet1!$A$2:$A$65</c:f>
              <c:numCache>
                <c:formatCode>mmm\-yy</c:formatCode>
                <c:ptCount val="49"/>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pt idx="33">
                  <c:v>45962</c:v>
                </c:pt>
                <c:pt idx="34">
                  <c:v>45992</c:v>
                </c:pt>
                <c:pt idx="35">
                  <c:v>46023</c:v>
                </c:pt>
                <c:pt idx="36">
                  <c:v>46054</c:v>
                </c:pt>
              </c:numCache>
            </c:numRef>
          </c:cat>
          <c:val>
            <c:numRef>
              <c:f>Sheet1!$K$2:$K$65</c:f>
            </c:numRef>
          </c:val>
          <c:extLst>
            <c:ext xmlns:c16="http://schemas.microsoft.com/office/drawing/2014/chart" uri="{C3380CC4-5D6E-409C-BE32-E72D297353CC}">
              <c16:uniqueId val="{00000007-250F-4E78-B0D1-82750E69108E}"/>
            </c:ext>
          </c:extLst>
        </c:ser>
        <c:dLbls>
          <c:showLegendKey val="0"/>
          <c:showVal val="0"/>
          <c:showCatName val="0"/>
          <c:showSerName val="0"/>
          <c:showPercent val="0"/>
          <c:showBubbleSize val="0"/>
        </c:dLbls>
        <c:gapWidth val="50"/>
        <c:overlap val="100"/>
        <c:axId val="507100496"/>
        <c:axId val="507102464"/>
      </c:barChart>
      <c:dateAx>
        <c:axId val="507100496"/>
        <c:scaling>
          <c:orientation val="minMax"/>
        </c:scaling>
        <c:delete val="0"/>
        <c:axPos val="b"/>
        <c:numFmt formatCode="mmm\-yy" sourceLinked="1"/>
        <c:majorTickMark val="none"/>
        <c:minorTickMark val="none"/>
        <c:tickLblPos val="low"/>
        <c:spPr>
          <a:noFill/>
          <a:ln w="3175" cap="flat" cmpd="sng" algn="ctr">
            <a:solidFill>
              <a:schemeClr val="bg1">
                <a:lumMod val="85000"/>
              </a:schemeClr>
            </a:solidFill>
            <a:round/>
          </a:ln>
          <a:effectLst/>
        </c:spPr>
        <c:txPr>
          <a:bodyPr rot="-5400000" spcFirstLastPara="1" vertOverflow="ellipsis" wrap="square" anchor="ctr" anchorCtr="1"/>
          <a:lstStyle/>
          <a:p>
            <a:pPr>
              <a:defRPr sz="1100" b="0" i="0" u="none" strike="noStrike" kern="1200" baseline="0">
                <a:solidFill>
                  <a:srgbClr val="000000"/>
                </a:solidFill>
                <a:latin typeface="+mn-lt"/>
                <a:ea typeface="+mn-ea"/>
                <a:cs typeface="+mn-cs"/>
              </a:defRPr>
            </a:pPr>
            <a:endParaRPr lang="en-US"/>
          </a:p>
        </c:txPr>
        <c:crossAx val="507102464"/>
        <c:crosses val="autoZero"/>
        <c:auto val="1"/>
        <c:lblOffset val="100"/>
        <c:baseTimeUnit val="months"/>
      </c:dateAx>
      <c:valAx>
        <c:axId val="507102464"/>
        <c:scaling>
          <c:orientation val="minMax"/>
          <c:min val="-200"/>
        </c:scaling>
        <c:delete val="0"/>
        <c:axPos val="l"/>
        <c:majorGridlines>
          <c:spPr>
            <a:ln w="6350" cap="flat" cmpd="sng" algn="ctr">
              <a:solidFill>
                <a:schemeClr val="tx1">
                  <a:lumMod val="15000"/>
                  <a:lumOff val="85000"/>
                </a:schemeClr>
              </a:solidFill>
              <a:prstDash val="dash"/>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a:t>Stores closed</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0"/>
        <c:majorTickMark val="out"/>
        <c:minorTickMark val="none"/>
        <c:tickLblPos val="nextTo"/>
        <c:spPr>
          <a:noFill/>
          <a:ln w="3175">
            <a:solidFill>
              <a:schemeClr val="bg1">
                <a:lumMod val="85000"/>
              </a:schemeClr>
            </a:solidFill>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en-US"/>
          </a:p>
        </c:txPr>
        <c:crossAx val="507100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175">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F8E4AE-345A-44F9-876B-63B02C2E6453}" type="datetimeFigureOut">
              <a:rPr lang="en-GB" smtClean="0"/>
              <a:t>02/07/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132931-A9A8-44EB-A315-FE64D2F6A735}" type="slidenum">
              <a:rPr lang="en-GB" smtClean="0"/>
              <a:t>‹#›</a:t>
            </a:fld>
            <a:endParaRPr lang="en-GB"/>
          </a:p>
        </p:txBody>
      </p:sp>
    </p:spTree>
    <p:extLst>
      <p:ext uri="{BB962C8B-B14F-4D97-AF65-F5344CB8AC3E}">
        <p14:creationId xmlns:p14="http://schemas.microsoft.com/office/powerpoint/2010/main" val="4588289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117475" marR="0" lvl="0" indent="-117475"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da-DK" sz="1200" b="0" i="0" u="none" strike="noStrike" kern="1200" cap="none" spc="0" normalizeH="0" baseline="0" noProof="0" dirty="0">
              <a:ln>
                <a:noFill/>
              </a:ln>
              <a:solidFill>
                <a:srgbClr val="FFFFFF"/>
              </a:solidFill>
              <a:effectLst/>
              <a:uLnTx/>
              <a:uFillTx/>
              <a:latin typeface="Noto Sans"/>
              <a:ea typeface="+mn-ea"/>
              <a:cs typeface="Arial" panose="020B0604020202020204" pitchFamily="34" charset="0"/>
            </a:endParaRPr>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740219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62996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6F40A-7A8B-8FAB-A028-F3A3D3394F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AC2457-69EF-7EBE-9951-14F5B923310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C989738-FC9E-76BB-01C2-5B8D8DFB39A5}"/>
              </a:ext>
            </a:extLst>
          </p:cNvPr>
          <p:cNvSpPr>
            <a:spLocks noGrp="1"/>
          </p:cNvSpPr>
          <p:nvPr>
            <p:ph type="body" idx="1"/>
          </p:nvPr>
        </p:nvSpPr>
        <p:spPr/>
        <p:txBody>
          <a:bodyPr/>
          <a:lstStyle/>
          <a:p>
            <a:pPr marL="0" indent="0">
              <a:buNone/>
            </a:pPr>
            <a:endParaRPr lang="en-GB" dirty="0"/>
          </a:p>
        </p:txBody>
      </p:sp>
      <p:sp>
        <p:nvSpPr>
          <p:cNvPr id="4" name="Header Placeholder 3">
            <a:extLst>
              <a:ext uri="{FF2B5EF4-FFF2-40B4-BE49-F238E27FC236}">
                <a16:creationId xmlns:a16="http://schemas.microsoft.com/office/drawing/2014/main" id="{9187D129-2C7F-27DF-5251-F77B6C7F0621}"/>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B3BB3027-2F63-4C52-B152-6568ADCB504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3D75B3C9-F6D5-3C1E-42F9-C1DC461261B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5559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2770F-93C0-CA92-26F3-255BD754BC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923AD9-F51F-8897-D36F-C011ABD1A69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ED75596F-F44A-50F6-0DC4-75CBFDE10CE3}"/>
              </a:ext>
            </a:extLst>
          </p:cNvPr>
          <p:cNvSpPr>
            <a:spLocks noGrp="1"/>
          </p:cNvSpPr>
          <p:nvPr>
            <p:ph type="body" idx="1"/>
          </p:nvPr>
        </p:nvSpPr>
        <p:spPr/>
        <p:txBody>
          <a:bodyPr/>
          <a:lstStyle/>
          <a:p>
            <a:endParaRPr lang="de-DE" dirty="0"/>
          </a:p>
        </p:txBody>
      </p:sp>
      <p:sp>
        <p:nvSpPr>
          <p:cNvPr id="4" name="Header Placeholder 3">
            <a:extLst>
              <a:ext uri="{FF2B5EF4-FFF2-40B4-BE49-F238E27FC236}">
                <a16:creationId xmlns:a16="http://schemas.microsoft.com/office/drawing/2014/main" id="{229E2FB3-36E3-A1CD-A037-D1E1E094C748}"/>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5E4FA101-C87E-AEEB-2BD5-03A2758C1DB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BA896C64-FD8D-92B7-FA04-68535299B3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901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indent="0">
              <a:buNone/>
            </a:pPr>
            <a:endParaRPr lang="en-GB"/>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GB"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36075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DD13B-C7AC-E8D6-1A43-4A11A268D8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151C92-EE34-1542-EC59-9D2354CA1E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D3861C-9892-D5EC-5CAA-B87D3E70DE6F}"/>
              </a:ext>
            </a:extLst>
          </p:cNvPr>
          <p:cNvSpPr>
            <a:spLocks noGrp="1"/>
          </p:cNvSpPr>
          <p:nvPr>
            <p:ph type="body" idx="1"/>
          </p:nvPr>
        </p:nvSpPr>
        <p:spPr/>
        <p:txBody>
          <a:bodyPr/>
          <a:lstStyle/>
          <a:p>
            <a:endParaRPr lang="en-GB" dirty="0"/>
          </a:p>
        </p:txBody>
      </p:sp>
      <p:sp>
        <p:nvSpPr>
          <p:cNvPr id="4" name="Header Placeholder 3">
            <a:extLst>
              <a:ext uri="{FF2B5EF4-FFF2-40B4-BE49-F238E27FC236}">
                <a16:creationId xmlns:a16="http://schemas.microsoft.com/office/drawing/2014/main" id="{D1CEE689-41F3-2AD7-5E4B-BA9A510ED8DC}"/>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330A45FC-EB23-C02A-0CCD-8CEE50FA57A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A91E8448-941D-7AE2-4DBD-342BD53703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067856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CB4FA-A844-4227-D761-177BF52689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440442-73A8-C072-5430-0478A21E0A9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23A84D8-9C4C-2204-5596-DA4FBFB51A73}"/>
              </a:ext>
            </a:extLst>
          </p:cNvPr>
          <p:cNvSpPr>
            <a:spLocks noGrp="1"/>
          </p:cNvSpPr>
          <p:nvPr>
            <p:ph type="body" idx="1"/>
          </p:nvPr>
        </p:nvSpPr>
        <p:spPr/>
        <p:txBody>
          <a:bodyPr/>
          <a:lstStyle/>
          <a:p>
            <a:endParaRPr lang="en-GB" dirty="0"/>
          </a:p>
        </p:txBody>
      </p:sp>
      <p:sp>
        <p:nvSpPr>
          <p:cNvPr id="4" name="Header Placeholder 3">
            <a:extLst>
              <a:ext uri="{FF2B5EF4-FFF2-40B4-BE49-F238E27FC236}">
                <a16:creationId xmlns:a16="http://schemas.microsoft.com/office/drawing/2014/main" id="{74195FA4-509C-D55D-030F-666A8F161F83}"/>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0C90C2AE-7E97-6B3B-51F3-D29F508AE7E4}"/>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5DFF562B-40B4-839F-398D-9DD10EA52A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615164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7812422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821212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73258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304D3-6DB4-3B28-2BE5-C196A2C266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195891-E16B-4701-197E-9E50D281D5F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5528991-3E63-45FC-2144-F5E19A980381}"/>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2007F419-BA0E-8F9D-778D-8F09F796B484}"/>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09DA1985-D075-7537-FE94-0721FF03298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9BB1A9B8-F39D-6A5C-A262-AD190EE3C7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0742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880300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117475" indent="-117475"/>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6E162-B8C1-4AB3-9E83-DF503179C610}" type="slidenum">
              <a:rPr kumimoji="0" lang="en-GB"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7197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1E2EC-2390-72FC-B32E-790E4657C8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85EA18-FA4E-37B1-9642-C8AD459142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1E8343-C1B0-91A1-009C-8F8DE2C143AC}"/>
              </a:ext>
            </a:extLst>
          </p:cNvPr>
          <p:cNvSpPr>
            <a:spLocks noGrp="1"/>
          </p:cNvSpPr>
          <p:nvPr>
            <p:ph type="body" idx="1"/>
          </p:nvPr>
        </p:nvSpPr>
        <p:spPr/>
        <p:txBody>
          <a:bodyPr/>
          <a:lstStyle/>
          <a:p>
            <a:endParaRPr lang="en-GB" dirty="0"/>
          </a:p>
        </p:txBody>
      </p:sp>
      <p:sp>
        <p:nvSpPr>
          <p:cNvPr id="4" name="Header Placeholder 3">
            <a:extLst>
              <a:ext uri="{FF2B5EF4-FFF2-40B4-BE49-F238E27FC236}">
                <a16:creationId xmlns:a16="http://schemas.microsoft.com/office/drawing/2014/main" id="{1CEE75F5-3F83-E11D-E258-5CD1FC11D3C5}"/>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55A5E941-7058-7C6E-D16B-3BF132BC2254}"/>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50785CB2-4051-C4AF-1F32-32BBA3535D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0257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30607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11271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C7706-F987-C8BC-CFF6-72023AB69E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05C75F-BCFD-1D7A-43D0-D072AB693B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51D47D-1384-1F1F-2F6D-124AA90E18BB}"/>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3C18F164-2398-6E53-85D4-0B8F88AA6BD2}"/>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E4FF717E-6154-E2F6-D050-B58A2EAB7FC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BC91AC0D-7823-4861-3ECD-9525750B11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57C527-D302-0D4C-8820-8247C93BFD8D}" type="slidenum">
              <a:rPr kumimoji="0" lang="en-US" sz="12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8944830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6.sv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5.xml"/><Relationship Id="rId1" Type="http://schemas.openxmlformats.org/officeDocument/2006/relationships/tags" Target="../tags/tag88.xml"/><Relationship Id="rId6" Type="http://schemas.openxmlformats.org/officeDocument/2006/relationships/image" Target="../media/image44.svg"/><Relationship Id="rId5" Type="http://schemas.openxmlformats.org/officeDocument/2006/relationships/image" Target="../media/image12.svg"/><Relationship Id="rId10" Type="http://schemas.openxmlformats.org/officeDocument/2006/relationships/image" Target="../media/image16.jpeg"/><Relationship Id="rId4" Type="http://schemas.openxmlformats.org/officeDocument/2006/relationships/image" Target="../media/image1.emf"/><Relationship Id="rId9" Type="http://schemas.openxmlformats.org/officeDocument/2006/relationships/image" Target="../media/image45.svg"/></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89.xml"/><Relationship Id="rId6" Type="http://schemas.openxmlformats.org/officeDocument/2006/relationships/image" Target="../media/image44.svg"/><Relationship Id="rId5" Type="http://schemas.openxmlformats.org/officeDocument/2006/relationships/image" Target="../media/image17.svg"/><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oleObject" Target="../embeddings/oleObject10.bin"/><Relationship Id="rId7" Type="http://schemas.openxmlformats.org/officeDocument/2006/relationships/image" Target="../media/image28.svg"/><Relationship Id="rId2" Type="http://schemas.openxmlformats.org/officeDocument/2006/relationships/slideMaster" Target="../slideMasters/slideMaster5.xml"/><Relationship Id="rId1" Type="http://schemas.openxmlformats.org/officeDocument/2006/relationships/tags" Target="../tags/tag90.xml"/><Relationship Id="rId6" Type="http://schemas.openxmlformats.org/officeDocument/2006/relationships/image" Target="../media/image7.jpeg"/><Relationship Id="rId5" Type="http://schemas.openxmlformats.org/officeDocument/2006/relationships/image" Target="../media/image8.jpeg"/><Relationship Id="rId10" Type="http://schemas.openxmlformats.org/officeDocument/2006/relationships/image" Target="../media/image46.svg"/><Relationship Id="rId4" Type="http://schemas.openxmlformats.org/officeDocument/2006/relationships/image" Target="../media/image1.emf"/><Relationship Id="rId9" Type="http://schemas.openxmlformats.org/officeDocument/2006/relationships/image" Target="../media/image19.svg"/></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91.xml"/><Relationship Id="rId5" Type="http://schemas.openxmlformats.org/officeDocument/2006/relationships/image" Target="../media/image28.svg"/><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92.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93.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94.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95.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96.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97.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12.bin"/><Relationship Id="rId7"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1.jpeg"/><Relationship Id="rId5" Type="http://schemas.openxmlformats.org/officeDocument/2006/relationships/image" Target="../media/image2.svg"/><Relationship Id="rId4" Type="http://schemas.openxmlformats.org/officeDocument/2006/relationships/image" Target="../media/image1.emf"/><Relationship Id="rId9" Type="http://schemas.openxmlformats.org/officeDocument/2006/relationships/image" Target="../media/image24.png"/></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98.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99.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100.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101.xml"/><Relationship Id="rId6" Type="http://schemas.openxmlformats.org/officeDocument/2006/relationships/image" Target="../media/image27.svg"/><Relationship Id="rId5" Type="http://schemas.openxmlformats.org/officeDocument/2006/relationships/image" Target="../media/image30.jpeg"/><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102.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103.xml"/><Relationship Id="rId6" Type="http://schemas.openxmlformats.org/officeDocument/2006/relationships/image" Target="../media/image30.jpeg"/><Relationship Id="rId5" Type="http://schemas.openxmlformats.org/officeDocument/2006/relationships/image" Target="../media/image27.svg"/><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104.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29.bin"/><Relationship Id="rId7"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105.xml"/><Relationship Id="rId6" Type="http://schemas.openxmlformats.org/officeDocument/2006/relationships/image" Target="../media/image22.png"/><Relationship Id="rId5" Type="http://schemas.openxmlformats.org/officeDocument/2006/relationships/image" Target="../media/image31.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13.bin"/><Relationship Id="rId7"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svg"/><Relationship Id="rId5" Type="http://schemas.openxmlformats.org/officeDocument/2006/relationships/image" Target="../media/image25.jpeg"/><Relationship Id="rId4" Type="http://schemas.openxmlformats.org/officeDocument/2006/relationships/image" Target="../media/image1.emf"/><Relationship Id="rId9" Type="http://schemas.openxmlformats.org/officeDocument/2006/relationships/image" Target="../media/image24.png"/></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106.xml"/><Relationship Id="rId6" Type="http://schemas.openxmlformats.org/officeDocument/2006/relationships/image" Target="../media/image28.svg"/><Relationship Id="rId5" Type="http://schemas.openxmlformats.org/officeDocument/2006/relationships/image" Target="../media/image32.jpeg"/><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107.xml"/><Relationship Id="rId6" Type="http://schemas.openxmlformats.org/officeDocument/2006/relationships/image" Target="../media/image28.svg"/><Relationship Id="rId5" Type="http://schemas.openxmlformats.org/officeDocument/2006/relationships/image" Target="../media/image33.jpeg"/><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108.xml"/><Relationship Id="rId6" Type="http://schemas.openxmlformats.org/officeDocument/2006/relationships/image" Target="../media/image28.svg"/><Relationship Id="rId5" Type="http://schemas.openxmlformats.org/officeDocument/2006/relationships/image" Target="../media/image34.jpeg"/><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33.bin"/><Relationship Id="rId7"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109.xml"/><Relationship Id="rId6" Type="http://schemas.openxmlformats.org/officeDocument/2006/relationships/image" Target="../media/image35.jpeg"/><Relationship Id="rId5" Type="http://schemas.openxmlformats.org/officeDocument/2006/relationships/image" Target="../media/image28.svg"/><Relationship Id="rId4" Type="http://schemas.openxmlformats.org/officeDocument/2006/relationships/image" Target="../media/image1.emf"/><Relationship Id="rId9" Type="http://schemas.openxmlformats.org/officeDocument/2006/relationships/image" Target="../media/image24.png"/></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110.xml"/><Relationship Id="rId6" Type="http://schemas.openxmlformats.org/officeDocument/2006/relationships/image" Target="../media/image11.jpeg"/><Relationship Id="rId5" Type="http://schemas.openxmlformats.org/officeDocument/2006/relationships/image" Target="../media/image28.svg"/><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111.xml"/><Relationship Id="rId5" Type="http://schemas.openxmlformats.org/officeDocument/2006/relationships/image" Target="../media/image28.svg"/><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112.xml"/><Relationship Id="rId5" Type="http://schemas.openxmlformats.org/officeDocument/2006/relationships/image" Target="../media/image44.svg"/><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44.svg"/><Relationship Id="rId2" Type="http://schemas.openxmlformats.org/officeDocument/2006/relationships/slideMaster" Target="../slideMasters/slideMaster5.xml"/><Relationship Id="rId1" Type="http://schemas.openxmlformats.org/officeDocument/2006/relationships/tags" Target="../tags/tag113.xml"/><Relationship Id="rId6" Type="http://schemas.openxmlformats.org/officeDocument/2006/relationships/image" Target="../media/image37.jpeg"/><Relationship Id="rId5" Type="http://schemas.openxmlformats.org/officeDocument/2006/relationships/image" Target="../media/image36.svg"/><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114.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4.sv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emf"/><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4.sv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8.sv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115.xml"/><Relationship Id="rId5" Type="http://schemas.openxmlformats.org/officeDocument/2006/relationships/image" Target="../media/image28.svg"/><Relationship Id="rId4" Type="http://schemas.openxmlformats.org/officeDocument/2006/relationships/image" Target="../media/image42.emf"/></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117.xml"/><Relationship Id="rId5" Type="http://schemas.openxmlformats.org/officeDocument/2006/relationships/image" Target="../media/image48.svg"/><Relationship Id="rId4" Type="http://schemas.openxmlformats.org/officeDocument/2006/relationships/image" Target="../media/image42.emf"/></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4.sv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7.xml"/><Relationship Id="rId1" Type="http://schemas.openxmlformats.org/officeDocument/2006/relationships/tags" Target="../tags/tag119.xml"/><Relationship Id="rId5" Type="http://schemas.openxmlformats.org/officeDocument/2006/relationships/image" Target="../media/image48.svg"/><Relationship Id="rId4" Type="http://schemas.openxmlformats.org/officeDocument/2006/relationships/image" Target="../media/image42.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50.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7.xml"/><Relationship Id="rId1" Type="http://schemas.openxmlformats.org/officeDocument/2006/relationships/tags" Target="../tags/tag120.xml"/><Relationship Id="rId5" Type="http://schemas.openxmlformats.org/officeDocument/2006/relationships/image" Target="../media/image6.svg"/><Relationship Id="rId4" Type="http://schemas.openxmlformats.org/officeDocument/2006/relationships/image" Target="../media/image42.emf"/></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7.xml"/><Relationship Id="rId1" Type="http://schemas.openxmlformats.org/officeDocument/2006/relationships/tags" Target="../tags/tag121.xml"/><Relationship Id="rId5" Type="http://schemas.openxmlformats.org/officeDocument/2006/relationships/image" Target="../media/image43.svg"/><Relationship Id="rId4" Type="http://schemas.openxmlformats.org/officeDocument/2006/relationships/image" Target="../media/image53.emf"/></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8.sv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3.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4.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6.sv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oleObject" Target="../embeddings/oleObject5.bin"/><Relationship Id="rId7"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7.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2.svg"/><Relationship Id="rId5" Type="http://schemas.openxmlformats.org/officeDocument/2006/relationships/image" Target="../media/image10.sv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2.svg"/><Relationship Id="rId5" Type="http://schemas.openxmlformats.org/officeDocument/2006/relationships/image" Target="../media/image12.svg"/><Relationship Id="rId10" Type="http://schemas.openxmlformats.org/officeDocument/2006/relationships/image" Target="../media/image16.jpeg"/><Relationship Id="rId4" Type="http://schemas.openxmlformats.org/officeDocument/2006/relationships/image" Target="../media/image1.emf"/><Relationship Id="rId9" Type="http://schemas.openxmlformats.org/officeDocument/2006/relationships/image" Target="../media/image15.sv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2.svg"/><Relationship Id="rId5" Type="http://schemas.openxmlformats.org/officeDocument/2006/relationships/image" Target="../media/image17.sv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oleObject" Target="../embeddings/oleObject10.bin"/><Relationship Id="rId7" Type="http://schemas.openxmlformats.org/officeDocument/2006/relationships/image" Target="../media/image6.svg"/><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7.jpeg"/><Relationship Id="rId5" Type="http://schemas.openxmlformats.org/officeDocument/2006/relationships/image" Target="../media/image8.jpe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sv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6.sv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oleObject" Target="../embeddings/oleObject5.bin"/><Relationship Id="rId7"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27.sv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5.xml"/><Relationship Id="rId6" Type="http://schemas.openxmlformats.org/officeDocument/2006/relationships/image" Target="../media/image3.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6.xml"/><Relationship Id="rId6" Type="http://schemas.openxmlformats.org/officeDocument/2006/relationships/image" Target="../media/image4.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7.xml"/><Relationship Id="rId6" Type="http://schemas.openxmlformats.org/officeDocument/2006/relationships/image" Target="../media/image6.svg"/><Relationship Id="rId5" Type="http://schemas.openxmlformats.org/officeDocument/2006/relationships/image" Target="../media/image5.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oleObject" Target="../embeddings/oleObject5.bin"/><Relationship Id="rId7"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48.xml"/><Relationship Id="rId6" Type="http://schemas.openxmlformats.org/officeDocument/2006/relationships/image" Target="../media/image7.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49.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jpeg"/><Relationship Id="rId2" Type="http://schemas.openxmlformats.org/officeDocument/2006/relationships/slideMaster" Target="../slideMasters/slideMaster3.xml"/><Relationship Id="rId1" Type="http://schemas.openxmlformats.org/officeDocument/2006/relationships/tags" Target="../tags/tag50.xml"/><Relationship Id="rId6" Type="http://schemas.openxmlformats.org/officeDocument/2006/relationships/image" Target="../media/image2.svg"/><Relationship Id="rId5" Type="http://schemas.openxmlformats.org/officeDocument/2006/relationships/image" Target="../media/image10.sv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51.xml"/><Relationship Id="rId6" Type="http://schemas.openxmlformats.org/officeDocument/2006/relationships/image" Target="../media/image2.svg"/><Relationship Id="rId5" Type="http://schemas.openxmlformats.org/officeDocument/2006/relationships/image" Target="../media/image12.svg"/><Relationship Id="rId10" Type="http://schemas.openxmlformats.org/officeDocument/2006/relationships/image" Target="../media/image16.jpeg"/><Relationship Id="rId4" Type="http://schemas.openxmlformats.org/officeDocument/2006/relationships/image" Target="../media/image1.emf"/><Relationship Id="rId9" Type="http://schemas.openxmlformats.org/officeDocument/2006/relationships/image" Target="../media/image15.svg"/></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2.xml"/><Relationship Id="rId6" Type="http://schemas.openxmlformats.org/officeDocument/2006/relationships/image" Target="../media/image2.svg"/><Relationship Id="rId5" Type="http://schemas.openxmlformats.org/officeDocument/2006/relationships/image" Target="../media/image17.sv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oleObject" Target="../embeddings/oleObject10.bin"/><Relationship Id="rId7" Type="http://schemas.openxmlformats.org/officeDocument/2006/relationships/image" Target="../media/image6.svg"/><Relationship Id="rId2" Type="http://schemas.openxmlformats.org/officeDocument/2006/relationships/slideMaster" Target="../slideMasters/slideMaster3.xml"/><Relationship Id="rId1" Type="http://schemas.openxmlformats.org/officeDocument/2006/relationships/tags" Target="../tags/tag53.xml"/><Relationship Id="rId6" Type="http://schemas.openxmlformats.org/officeDocument/2006/relationships/image" Target="../media/image7.jpeg"/><Relationship Id="rId5" Type="http://schemas.openxmlformats.org/officeDocument/2006/relationships/image" Target="../media/image8.jpe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svg"/></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54.xml"/><Relationship Id="rId5" Type="http://schemas.openxmlformats.org/officeDocument/2006/relationships/image" Target="../media/image6.sv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55.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56.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57.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58.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59.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60.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svg"/><Relationship Id="rId5" Type="http://schemas.openxmlformats.org/officeDocument/2006/relationships/image" Target="../media/image10.sv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61.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62.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63.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64.xml"/><Relationship Id="rId6" Type="http://schemas.openxmlformats.org/officeDocument/2006/relationships/image" Target="../media/image26.svg"/><Relationship Id="rId5" Type="http://schemas.openxmlformats.org/officeDocument/2006/relationships/image" Target="../media/image30.jpe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30.jpeg"/><Relationship Id="rId5" Type="http://schemas.openxmlformats.org/officeDocument/2006/relationships/image" Target="../media/image26.sv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26.sv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29.bin"/><Relationship Id="rId7" Type="http://schemas.openxmlformats.org/officeDocument/2006/relationships/image" Target="../media/image23.png"/><Relationship Id="rId2" Type="http://schemas.openxmlformats.org/officeDocument/2006/relationships/slideMaster" Target="../slideMasters/slideMaster3.xml"/><Relationship Id="rId1" Type="http://schemas.openxmlformats.org/officeDocument/2006/relationships/tags" Target="../tags/tag68.xml"/><Relationship Id="rId6" Type="http://schemas.openxmlformats.org/officeDocument/2006/relationships/image" Target="../media/image22.png"/><Relationship Id="rId5" Type="http://schemas.openxmlformats.org/officeDocument/2006/relationships/image" Target="../media/image31.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svg"/><Relationship Id="rId5" Type="http://schemas.openxmlformats.org/officeDocument/2006/relationships/image" Target="../media/image12.svg"/><Relationship Id="rId10" Type="http://schemas.openxmlformats.org/officeDocument/2006/relationships/image" Target="../media/image16.jpeg"/><Relationship Id="rId4" Type="http://schemas.openxmlformats.org/officeDocument/2006/relationships/image" Target="../media/image1.emf"/><Relationship Id="rId9"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69.xml"/><Relationship Id="rId6" Type="http://schemas.openxmlformats.org/officeDocument/2006/relationships/image" Target="../media/image6.svg"/><Relationship Id="rId5" Type="http://schemas.openxmlformats.org/officeDocument/2006/relationships/image" Target="../media/image32.jpe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70.xml"/><Relationship Id="rId6" Type="http://schemas.openxmlformats.org/officeDocument/2006/relationships/image" Target="../media/image6.svg"/><Relationship Id="rId5" Type="http://schemas.openxmlformats.org/officeDocument/2006/relationships/image" Target="../media/image33.jpe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71.xml"/><Relationship Id="rId6" Type="http://schemas.openxmlformats.org/officeDocument/2006/relationships/image" Target="../media/image6.svg"/><Relationship Id="rId5" Type="http://schemas.openxmlformats.org/officeDocument/2006/relationships/image" Target="../media/image34.jpe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33.bin"/><Relationship Id="rId7" Type="http://schemas.openxmlformats.org/officeDocument/2006/relationships/image" Target="../media/image22.png"/><Relationship Id="rId2" Type="http://schemas.openxmlformats.org/officeDocument/2006/relationships/slideMaster" Target="../slideMasters/slideMaster3.xml"/><Relationship Id="rId1" Type="http://schemas.openxmlformats.org/officeDocument/2006/relationships/tags" Target="../tags/tag72.xml"/><Relationship Id="rId6" Type="http://schemas.openxmlformats.org/officeDocument/2006/relationships/image" Target="../media/image35.jpeg"/><Relationship Id="rId5" Type="http://schemas.openxmlformats.org/officeDocument/2006/relationships/image" Target="../media/image6.svg"/><Relationship Id="rId4" Type="http://schemas.openxmlformats.org/officeDocument/2006/relationships/image" Target="../media/image1.emf"/><Relationship Id="rId9" Type="http://schemas.openxmlformats.org/officeDocument/2006/relationships/image" Target="../media/image24.png"/></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1.jpeg"/><Relationship Id="rId5" Type="http://schemas.openxmlformats.org/officeDocument/2006/relationships/image" Target="../media/image6.sv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74.xml"/><Relationship Id="rId5" Type="http://schemas.openxmlformats.org/officeDocument/2006/relationships/image" Target="../media/image6.sv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2.svg"/><Relationship Id="rId2" Type="http://schemas.openxmlformats.org/officeDocument/2006/relationships/slideMaster" Target="../slideMasters/slideMaster3.xml"/><Relationship Id="rId1" Type="http://schemas.openxmlformats.org/officeDocument/2006/relationships/tags" Target="../tags/tag76.xml"/><Relationship Id="rId6" Type="http://schemas.openxmlformats.org/officeDocument/2006/relationships/image" Target="../media/image37.jpeg"/><Relationship Id="rId5" Type="http://schemas.openxmlformats.org/officeDocument/2006/relationships/image" Target="../media/image36.sv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svg"/><Relationship Id="rId5" Type="http://schemas.openxmlformats.org/officeDocument/2006/relationships/image" Target="../media/image17.sv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2.svg"/><Relationship Id="rId4" Type="http://schemas.openxmlformats.org/officeDocument/2006/relationships/image" Target="../media/image42.emf"/></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oleObject" Target="../embeddings/oleObject10.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8.jpe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sv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2.xml"/><Relationship Id="rId6" Type="http://schemas.openxmlformats.org/officeDocument/2006/relationships/image" Target="../media/image3.jpeg"/><Relationship Id="rId5" Type="http://schemas.openxmlformats.org/officeDocument/2006/relationships/image" Target="../media/image44.svg"/><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83.xml"/><Relationship Id="rId6" Type="http://schemas.openxmlformats.org/officeDocument/2006/relationships/image" Target="../media/image4.jpeg"/><Relationship Id="rId5" Type="http://schemas.openxmlformats.org/officeDocument/2006/relationships/image" Target="../media/image44.svg"/><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84.xml"/><Relationship Id="rId6" Type="http://schemas.openxmlformats.org/officeDocument/2006/relationships/image" Target="../media/image28.svg"/><Relationship Id="rId5" Type="http://schemas.openxmlformats.org/officeDocument/2006/relationships/image" Target="../media/image5.jpeg"/><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oleObject" Target="../embeddings/oleObject5.bin"/><Relationship Id="rId7"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85.xml"/><Relationship Id="rId6" Type="http://schemas.openxmlformats.org/officeDocument/2006/relationships/image" Target="../media/image7.jpeg"/><Relationship Id="rId5" Type="http://schemas.openxmlformats.org/officeDocument/2006/relationships/image" Target="../media/image44.svg"/><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86.xml"/><Relationship Id="rId5" Type="http://schemas.openxmlformats.org/officeDocument/2006/relationships/image" Target="../media/image44.svg"/><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jpeg"/><Relationship Id="rId2" Type="http://schemas.openxmlformats.org/officeDocument/2006/relationships/slideMaster" Target="../slideMasters/slideMaster5.xml"/><Relationship Id="rId1" Type="http://schemas.openxmlformats.org/officeDocument/2006/relationships/tags" Target="../tags/tag87.xml"/><Relationship Id="rId6" Type="http://schemas.openxmlformats.org/officeDocument/2006/relationships/image" Target="../media/image44.svg"/><Relationship Id="rId5" Type="http://schemas.openxmlformats.org/officeDocument/2006/relationships/image" Target="../media/image10.sv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2026-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04067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Freeform: Shape 42">
            <a:extLst>
              <a:ext uri="{FF2B5EF4-FFF2-40B4-BE49-F238E27FC236}">
                <a16:creationId xmlns:a16="http://schemas.microsoft.com/office/drawing/2014/main" id="{C8F8E4AD-69DF-58FE-0B96-906A5A61D577}"/>
              </a:ext>
            </a:extLst>
          </p:cNvPr>
          <p:cNvSpPr/>
          <p:nvPr userDrawn="1"/>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gradFill>
            <a:gsLst>
              <a:gs pos="15000">
                <a:srgbClr val="140B42"/>
              </a:gs>
              <a:gs pos="80000">
                <a:srgbClr val="005587"/>
              </a:gs>
            </a:gsLst>
            <a:lin ang="2700000" scaled="0"/>
          </a:gradFill>
          <a:ln w="12700" cap="flat" cmpd="sng" algn="ctr">
            <a:noFill/>
            <a:prstDash val="solid"/>
            <a:miter lim="800000"/>
          </a:ln>
          <a:effectLst/>
        </p:spPr>
        <p:txBody>
          <a:bodyPr wrap="square" rtlCol="0" anchor="t" anchorCtr="0">
            <a:noAutofit/>
          </a:bodyPr>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0042"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a:t>
            </a:r>
            <a:br>
              <a:rPr lang="en-US" sz="800">
                <a:solidFill>
                  <a:srgbClr val="7FD1EF"/>
                </a:solidFill>
                <a:latin typeface="+mj-lt"/>
                <a:ea typeface="Arial" charset="0"/>
                <a:cs typeface="Arial" charset="0"/>
              </a:rPr>
            </a:br>
            <a:r>
              <a:rPr lang="en-US" sz="800">
                <a:solidFill>
                  <a:srgbClr val="7FD1EF"/>
                </a:solidFill>
                <a:latin typeface="+mj-lt"/>
                <a:ea typeface="Arial" charset="0"/>
                <a:cs typeface="Arial" charset="0"/>
              </a:rPr>
              <a:t>the United States, the European Union, and various other countries. </a:t>
            </a:r>
          </a:p>
        </p:txBody>
      </p:sp>
      <p:sp>
        <p:nvSpPr>
          <p:cNvPr id="29" name="Picture Placeholder 28">
            <a:extLst>
              <a:ext uri="{FF2B5EF4-FFF2-40B4-BE49-F238E27FC236}">
                <a16:creationId xmlns:a16="http://schemas.microsoft.com/office/drawing/2014/main" id="{ABDF996A-067F-C41E-7B0E-6CA1AB5BF3DB}"/>
              </a:ext>
            </a:extLst>
          </p:cNvPr>
          <p:cNvSpPr>
            <a:spLocks noGrp="1"/>
          </p:cNvSpPr>
          <p:nvPr>
            <p:ph type="pic" sz="quarter" idx="16" hasCustomPrompt="1"/>
          </p:nvPr>
        </p:nvSpPr>
        <p:spPr>
          <a:xfrm>
            <a:off x="3165812" y="0"/>
            <a:ext cx="9026188" cy="6858000"/>
          </a:xfrm>
          <a:custGeom>
            <a:avLst/>
            <a:gdLst>
              <a:gd name="connsiteX0" fmla="*/ 0 w 9026188"/>
              <a:gd name="connsiteY0" fmla="*/ 0 h 6858000"/>
              <a:gd name="connsiteX1" fmla="*/ 9026188 w 9026188"/>
              <a:gd name="connsiteY1" fmla="*/ 0 h 6858000"/>
              <a:gd name="connsiteX2" fmla="*/ 9026188 w 9026188"/>
              <a:gd name="connsiteY2" fmla="*/ 6858000 h 6858000"/>
              <a:gd name="connsiteX3" fmla="*/ 0 w 9026188"/>
              <a:gd name="connsiteY3" fmla="*/ 6858000 h 6858000"/>
              <a:gd name="connsiteX4" fmla="*/ 3429000 w 9026188"/>
              <a:gd name="connsiteY4" fmla="*/ 3429000 h 6858000"/>
              <a:gd name="connsiteX5" fmla="*/ 0 w 902618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188" h="6858000">
                <a:moveTo>
                  <a:pt x="0" y="0"/>
                </a:moveTo>
                <a:lnTo>
                  <a:pt x="9026188" y="0"/>
                </a:lnTo>
                <a:lnTo>
                  <a:pt x="9026188" y="6858000"/>
                </a:ln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14" name="Text Placeholder 13">
            <a:extLst>
              <a:ext uri="{FF2B5EF4-FFF2-40B4-BE49-F238E27FC236}">
                <a16:creationId xmlns:a16="http://schemas.microsoft.com/office/drawing/2014/main" id="{C88A32BA-45AE-C130-28F4-09992A9871F3}"/>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65120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Co-Brand 2026-10 - IQVIA">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43B117B-9DAD-CC97-C2A8-66F44CA68FD8}"/>
              </a:ext>
            </a:extLst>
          </p:cNvPr>
          <p:cNvGraphicFramePr>
            <a:graphicFrameLocks noChangeAspect="1"/>
          </p:cNvGraphicFramePr>
          <p:nvPr userDrawn="1">
            <p:custDataLst>
              <p:tags r:id="rId1"/>
            </p:custDataLst>
            <p:extLst>
              <p:ext uri="{D42A27DB-BD31-4B8C-83A1-F6EECF244321}">
                <p14:modId xmlns:p14="http://schemas.microsoft.com/office/powerpoint/2010/main" val="237742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C43B117B-9DAD-CC97-C2A8-66F44CA68F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000" b="0" i="1">
                <a:solidFill>
                  <a:schemeClr val="accent2"/>
                </a:solidFill>
                <a:latin typeface="+mj-lt"/>
              </a:defRPr>
            </a:lvl1pPr>
          </a:lstStyle>
          <a:p>
            <a:pPr lvl="0"/>
            <a:r>
              <a:rPr lang="en-US"/>
              <a:t>Subheads are 20pt Noto Sans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40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4pt Noto Sans</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rIns="45720">
            <a:noAutofit/>
          </a:bodyPr>
          <a:lstStyle>
            <a:lvl1pPr marL="0" indent="0" algn="l">
              <a:lnSpc>
                <a:spcPct val="100000"/>
              </a:lnSpc>
              <a:spcBef>
                <a:spcPts val="600"/>
              </a:spcBef>
              <a:buNone/>
              <a:defRPr sz="1000" b="0" i="0">
                <a:solidFill>
                  <a:schemeClr val="bg1"/>
                </a:solidFill>
                <a:latin typeface="+mj-lt"/>
              </a:defRPr>
            </a:lvl1pPr>
          </a:lstStyle>
          <a:p>
            <a:pPr lvl="0"/>
            <a:r>
              <a:rPr lang="en-US"/>
              <a:t>Co-brand and bid defense only: You may replace this box with a sponsor logo. Ensure the logo is on a white or transparent background and you have usage permission.</a:t>
            </a:r>
          </a:p>
          <a:p>
            <a:pPr lvl="0"/>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userDrawn="1"/>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latin typeface="+mj-lt"/>
            </a:endParaRPr>
          </a:p>
        </p:txBody>
      </p:sp>
      <p:sp>
        <p:nvSpPr>
          <p:cNvPr id="6" name="Freeform: Shape 5">
            <a:extLst>
              <a:ext uri="{FF2B5EF4-FFF2-40B4-BE49-F238E27FC236}">
                <a16:creationId xmlns:a16="http://schemas.microsoft.com/office/drawing/2014/main" id="{7FC2DBB2-A181-4E29-6CCA-A8F30AC33C44}"/>
              </a:ext>
            </a:extLst>
          </p:cNvPr>
          <p:cNvSpPr/>
          <p:nvPr userDrawn="1"/>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latin typeface="+mj-lt"/>
            </a:endParaRPr>
          </a:p>
        </p:txBody>
      </p:sp>
      <p:sp>
        <p:nvSpPr>
          <p:cNvPr id="7" name="Freeform: Shape 6">
            <a:extLst>
              <a:ext uri="{FF2B5EF4-FFF2-40B4-BE49-F238E27FC236}">
                <a16:creationId xmlns:a16="http://schemas.microsoft.com/office/drawing/2014/main" id="{AFC722F8-9A5C-19E5-0242-1E41CA5B41E8}"/>
              </a:ext>
            </a:extLst>
          </p:cNvPr>
          <p:cNvSpPr/>
          <p:nvPr userDrawn="1"/>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latin typeface="+mj-lt"/>
            </a:endParaRPr>
          </a:p>
        </p:txBody>
      </p:sp>
      <p:sp>
        <p:nvSpPr>
          <p:cNvPr id="8" name="Freeform: Shape 7">
            <a:extLst>
              <a:ext uri="{FF2B5EF4-FFF2-40B4-BE49-F238E27FC236}">
                <a16:creationId xmlns:a16="http://schemas.microsoft.com/office/drawing/2014/main" id="{461D5A5C-10B5-236E-C5A3-320C49CAC101}"/>
              </a:ext>
            </a:extLst>
          </p:cNvPr>
          <p:cNvSpPr/>
          <p:nvPr userDrawn="1"/>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latin typeface="+mj-lt"/>
            </a:endParaRPr>
          </a:p>
        </p:txBody>
      </p:sp>
      <p:sp>
        <p:nvSpPr>
          <p:cNvPr id="10" name="Freeform: Shape 9">
            <a:extLst>
              <a:ext uri="{FF2B5EF4-FFF2-40B4-BE49-F238E27FC236}">
                <a16:creationId xmlns:a16="http://schemas.microsoft.com/office/drawing/2014/main" id="{F380E180-0B33-1124-60B3-4CE23784FB15}"/>
              </a:ext>
            </a:extLst>
          </p:cNvPr>
          <p:cNvSpPr/>
          <p:nvPr userDrawn="1"/>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latin typeface="+mj-lt"/>
            </a:endParaRPr>
          </a:p>
        </p:txBody>
      </p:sp>
    </p:spTree>
    <p:extLst>
      <p:ext uri="{BB962C8B-B14F-4D97-AF65-F5344CB8AC3E}">
        <p14:creationId xmlns:p14="http://schemas.microsoft.com/office/powerpoint/2010/main" val="43500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v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207831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739BB318-2FA2-9BC0-C500-B054B13E410C}"/>
              </a:ext>
            </a:extLst>
          </p:cNvPr>
          <p:cNvSpPr/>
          <p:nvPr/>
        </p:nvSpPr>
        <p:spPr>
          <a:xfrm>
            <a:off x="-1"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5" name="Graphic 14">
            <a:extLst>
              <a:ext uri="{FF2B5EF4-FFF2-40B4-BE49-F238E27FC236}">
                <a16:creationId xmlns:a16="http://schemas.microsoft.com/office/drawing/2014/main" id="{8257E79C-F908-FC57-48EB-74840AB78064}"/>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7996138" y="1574801"/>
            <a:ext cx="1566472" cy="5029200"/>
          </a:xfrm>
          <a:prstGeom prst="rect">
            <a:avLst/>
          </a:prstGeom>
        </p:spPr>
      </p:pic>
      <p:sp>
        <p:nvSpPr>
          <p:cNvPr id="39" name="Freeform: Shape 38">
            <a:extLst>
              <a:ext uri="{FF2B5EF4-FFF2-40B4-BE49-F238E27FC236}">
                <a16:creationId xmlns:a16="http://schemas.microsoft.com/office/drawing/2014/main" id="{EA460FB5-1D71-63A8-83DD-7C183AC8C704}"/>
              </a:ext>
            </a:extLst>
          </p:cNvPr>
          <p:cNvSpPr>
            <a:spLocks/>
          </p:cNvSpPr>
          <p:nvPr/>
        </p:nvSpPr>
        <p:spPr>
          <a:xfrm>
            <a:off x="6115326" y="6091026"/>
            <a:ext cx="1562353" cy="751899"/>
          </a:xfrm>
          <a:custGeom>
            <a:avLst/>
            <a:gdLst>
              <a:gd name="connsiteX0" fmla="*/ 781177 w 1562353"/>
              <a:gd name="connsiteY0" fmla="*/ 0 h 751899"/>
              <a:gd name="connsiteX1" fmla="*/ 1549698 w 1562353"/>
              <a:gd name="connsiteY1" fmla="*/ 626363 h 751899"/>
              <a:gd name="connsiteX2" fmla="*/ 1562353 w 1562353"/>
              <a:gd name="connsiteY2" fmla="*/ 751899 h 751899"/>
              <a:gd name="connsiteX3" fmla="*/ 0 w 1562353"/>
              <a:gd name="connsiteY3" fmla="*/ 751899 h 751899"/>
              <a:gd name="connsiteX4" fmla="*/ 12655 w 1562353"/>
              <a:gd name="connsiteY4" fmla="*/ 626363 h 751899"/>
              <a:gd name="connsiteX5" fmla="*/ 781177 w 1562353"/>
              <a:gd name="connsiteY5" fmla="*/ 0 h 75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2353" h="751899">
                <a:moveTo>
                  <a:pt x="781177" y="0"/>
                </a:moveTo>
                <a:cubicBezTo>
                  <a:pt x="1160266" y="0"/>
                  <a:pt x="1476550" y="268899"/>
                  <a:pt x="1549698" y="626363"/>
                </a:cubicBezTo>
                <a:lnTo>
                  <a:pt x="1562353" y="751899"/>
                </a:lnTo>
                <a:lnTo>
                  <a:pt x="0" y="751899"/>
                </a:lnTo>
                <a:lnTo>
                  <a:pt x="12655" y="626363"/>
                </a:lnTo>
                <a:cubicBezTo>
                  <a:pt x="85803" y="268899"/>
                  <a:pt x="402087" y="0"/>
                  <a:pt x="781177" y="0"/>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0" name="Freeform: Shape 39">
            <a:extLst>
              <a:ext uri="{FF2B5EF4-FFF2-40B4-BE49-F238E27FC236}">
                <a16:creationId xmlns:a16="http://schemas.microsoft.com/office/drawing/2014/main" id="{F2AAAAF4-7481-56CC-28C1-4AD28C235C0D}"/>
              </a:ext>
            </a:extLst>
          </p:cNvPr>
          <p:cNvSpPr/>
          <p:nvPr/>
        </p:nvSpPr>
        <p:spPr>
          <a:xfrm>
            <a:off x="9914020" y="4855317"/>
            <a:ext cx="1574088" cy="1987609"/>
          </a:xfrm>
          <a:custGeom>
            <a:avLst/>
            <a:gdLst>
              <a:gd name="connsiteX0" fmla="*/ 1557049 w 1574088"/>
              <a:gd name="connsiteY0" fmla="*/ 0 h 1987609"/>
              <a:gd name="connsiteX1" fmla="*/ 1574088 w 1574088"/>
              <a:gd name="connsiteY1" fmla="*/ 1718 h 1987609"/>
              <a:gd name="connsiteX2" fmla="*/ 1574088 w 1574088"/>
              <a:gd name="connsiteY2" fmla="*/ 1987609 h 1987609"/>
              <a:gd name="connsiteX3" fmla="*/ 0 w 1574088"/>
              <a:gd name="connsiteY3" fmla="*/ 1987609 h 1987609"/>
              <a:gd name="connsiteX4" fmla="*/ 0 w 1574088"/>
              <a:gd name="connsiteY4" fmla="*/ 1557049 h 1987609"/>
              <a:gd name="connsiteX5" fmla="*/ 1557049 w 1574088"/>
              <a:gd name="connsiteY5" fmla="*/ 0 h 1987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088" h="1987609">
                <a:moveTo>
                  <a:pt x="1557049" y="0"/>
                </a:moveTo>
                <a:lnTo>
                  <a:pt x="1574088" y="1718"/>
                </a:lnTo>
                <a:lnTo>
                  <a:pt x="1574088" y="1987609"/>
                </a:lnTo>
                <a:lnTo>
                  <a:pt x="0" y="1987609"/>
                </a:lnTo>
                <a:lnTo>
                  <a:pt x="0" y="1557049"/>
                </a:lnTo>
                <a:cubicBezTo>
                  <a:pt x="0" y="697115"/>
                  <a:pt x="697115" y="0"/>
                  <a:pt x="1557049" y="0"/>
                </a:cubicBezTo>
                <a:close/>
              </a:path>
            </a:pathLst>
          </a:custGeom>
          <a:gradFill>
            <a:gsLst>
              <a:gs pos="0">
                <a:srgbClr val="6EEAC4"/>
              </a:gs>
              <a:gs pos="4000">
                <a:srgbClr val="69DFBD"/>
              </a:gs>
              <a:gs pos="39000">
                <a:srgbClr val="458588"/>
              </a:gs>
              <a:gs pos="68000">
                <a:srgbClr val="2A4360"/>
              </a:gs>
              <a:gs pos="89000">
                <a:srgbClr val="191A48"/>
              </a:gs>
              <a:gs pos="100000">
                <a:srgbClr val="130B3F"/>
              </a:gs>
            </a:gsLst>
            <a:lin ang="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3" name="Freeform: Shape 32">
            <a:extLst>
              <a:ext uri="{FF2B5EF4-FFF2-40B4-BE49-F238E27FC236}">
                <a16:creationId xmlns:a16="http://schemas.microsoft.com/office/drawing/2014/main" id="{913F0253-1103-0501-0DDE-FBAF667D32CE}"/>
              </a:ext>
            </a:extLst>
          </p:cNvPr>
          <p:cNvSpPr/>
          <p:nvPr/>
        </p:nvSpPr>
        <p:spPr>
          <a:xfrm>
            <a:off x="11821584" y="743158"/>
            <a:ext cx="375516" cy="1813796"/>
          </a:xfrm>
          <a:custGeom>
            <a:avLst/>
            <a:gdLst>
              <a:gd name="connsiteX0" fmla="*/ 375516 w 375516"/>
              <a:gd name="connsiteY0" fmla="*/ 0 h 1813796"/>
              <a:gd name="connsiteX1" fmla="*/ 375516 w 375516"/>
              <a:gd name="connsiteY1" fmla="*/ 1813796 h 1813796"/>
              <a:gd name="connsiteX2" fmla="*/ 287640 w 375516"/>
              <a:gd name="connsiteY2" fmla="*/ 1786518 h 1813796"/>
              <a:gd name="connsiteX3" fmla="*/ 0 w 375516"/>
              <a:gd name="connsiteY3" fmla="*/ 1352570 h 1813796"/>
              <a:gd name="connsiteX4" fmla="*/ 0 w 375516"/>
              <a:gd name="connsiteY4" fmla="*/ 461226 h 1813796"/>
              <a:gd name="connsiteX5" fmla="*/ 287640 w 375516"/>
              <a:gd name="connsiteY5" fmla="*/ 27278 h 181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516" h="1813796">
                <a:moveTo>
                  <a:pt x="375516" y="0"/>
                </a:moveTo>
                <a:lnTo>
                  <a:pt x="375516" y="1813796"/>
                </a:lnTo>
                <a:lnTo>
                  <a:pt x="287640" y="1786518"/>
                </a:lnTo>
                <a:cubicBezTo>
                  <a:pt x="118606" y="1715023"/>
                  <a:pt x="0" y="1547648"/>
                  <a:pt x="0" y="1352570"/>
                </a:cubicBezTo>
                <a:lnTo>
                  <a:pt x="0" y="461226"/>
                </a:lnTo>
                <a:cubicBezTo>
                  <a:pt x="0" y="266149"/>
                  <a:pt x="118606" y="98774"/>
                  <a:pt x="287640" y="27278"/>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1" name="Freeform: Shape 30">
            <a:extLst>
              <a:ext uri="{FF2B5EF4-FFF2-40B4-BE49-F238E27FC236}">
                <a16:creationId xmlns:a16="http://schemas.microsoft.com/office/drawing/2014/main" id="{47676A29-7E8F-1D6A-EC1B-460D31DC64E0}"/>
              </a:ext>
            </a:extLst>
          </p:cNvPr>
          <p:cNvSpPr/>
          <p:nvPr/>
        </p:nvSpPr>
        <p:spPr>
          <a:xfrm>
            <a:off x="11834966" y="2890625"/>
            <a:ext cx="362135" cy="3952299"/>
          </a:xfrm>
          <a:custGeom>
            <a:avLst/>
            <a:gdLst>
              <a:gd name="connsiteX0" fmla="*/ 362135 w 362135"/>
              <a:gd name="connsiteY0" fmla="*/ 0 h 3952299"/>
              <a:gd name="connsiteX1" fmla="*/ 362135 w 362135"/>
              <a:gd name="connsiteY1" fmla="*/ 3952299 h 3952299"/>
              <a:gd name="connsiteX2" fmla="*/ 345157 w 362135"/>
              <a:gd name="connsiteY2" fmla="*/ 3947029 h 3952299"/>
              <a:gd name="connsiteX3" fmla="*/ 0 w 362135"/>
              <a:gd name="connsiteY3" fmla="*/ 3426307 h 3952299"/>
              <a:gd name="connsiteX4" fmla="*/ 0 w 362135"/>
              <a:gd name="connsiteY4" fmla="*/ 525991 h 3952299"/>
              <a:gd name="connsiteX5" fmla="*/ 345157 w 362135"/>
              <a:gd name="connsiteY5" fmla="*/ 5270 h 39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135" h="3952299">
                <a:moveTo>
                  <a:pt x="362135" y="0"/>
                </a:moveTo>
                <a:lnTo>
                  <a:pt x="362135" y="3952299"/>
                </a:lnTo>
                <a:lnTo>
                  <a:pt x="345157" y="3947029"/>
                </a:lnTo>
                <a:cubicBezTo>
                  <a:pt x="142323" y="3861237"/>
                  <a:pt x="0" y="3660393"/>
                  <a:pt x="0" y="3426307"/>
                </a:cubicBezTo>
                <a:lnTo>
                  <a:pt x="0" y="525991"/>
                </a:lnTo>
                <a:cubicBezTo>
                  <a:pt x="0" y="291906"/>
                  <a:pt x="142323" y="91062"/>
                  <a:pt x="345157" y="527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68" name="Graphic 67">
            <a:extLst>
              <a:ext uri="{FF2B5EF4-FFF2-40B4-BE49-F238E27FC236}">
                <a16:creationId xmlns:a16="http://schemas.microsoft.com/office/drawing/2014/main" id="{A9941B5D-B587-2CD8-1E2F-5B1501282D47}"/>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73" name="TextBox 72">
            <a:extLst>
              <a:ext uri="{FF2B5EF4-FFF2-40B4-BE49-F238E27FC236}">
                <a16:creationId xmlns:a16="http://schemas.microsoft.com/office/drawing/2014/main" id="{A3F0ED94-D4EA-C9DE-D42F-D4FB64467424}"/>
              </a:ext>
            </a:extLst>
          </p:cNvPr>
          <p:cNvSpPr txBox="1"/>
          <p:nvPr/>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a:t>
            </a:r>
            <a:br>
              <a:rPr lang="en-US" sz="800">
                <a:solidFill>
                  <a:srgbClr val="7FD1EF"/>
                </a:solidFill>
                <a:latin typeface="+mj-lt"/>
                <a:ea typeface="Arial" charset="0"/>
                <a:cs typeface="Arial" charset="0"/>
              </a:rPr>
            </a:br>
            <a:r>
              <a:rPr lang="en-US" sz="800">
                <a:solidFill>
                  <a:srgbClr val="7FD1EF"/>
                </a:solidFill>
                <a:latin typeface="+mj-lt"/>
                <a:ea typeface="Arial" charset="0"/>
                <a:cs typeface="Arial" charset="0"/>
              </a:rPr>
              <a:t>the United States, the European Union, and various other countries. </a:t>
            </a:r>
          </a:p>
        </p:txBody>
      </p:sp>
      <p:sp>
        <p:nvSpPr>
          <p:cNvPr id="12" name="Picture Placeholder 11">
            <a:extLst>
              <a:ext uri="{FF2B5EF4-FFF2-40B4-BE49-F238E27FC236}">
                <a16:creationId xmlns:a16="http://schemas.microsoft.com/office/drawing/2014/main" id="{C4F16AE3-C94B-2D66-8339-457C0CFF0360}"/>
              </a:ext>
            </a:extLst>
          </p:cNvPr>
          <p:cNvSpPr>
            <a:spLocks noGrp="1"/>
          </p:cNvSpPr>
          <p:nvPr>
            <p:ph type="pic" sz="quarter" idx="14" hasCustomPrompt="1"/>
          </p:nvPr>
        </p:nvSpPr>
        <p:spPr>
          <a:xfrm>
            <a:off x="6098391" y="6350"/>
            <a:ext cx="1579288" cy="2314574"/>
          </a:xfrm>
          <a:custGeom>
            <a:avLst/>
            <a:gdLst>
              <a:gd name="connsiteX0" fmla="*/ 0 w 1579288"/>
              <a:gd name="connsiteY0" fmla="*/ 0 h 2314574"/>
              <a:gd name="connsiteX1" fmla="*/ 1579288 w 1579288"/>
              <a:gd name="connsiteY1" fmla="*/ 0 h 2314574"/>
              <a:gd name="connsiteX2" fmla="*/ 1579288 w 1579288"/>
              <a:gd name="connsiteY2" fmla="*/ 1524930 h 2314574"/>
              <a:gd name="connsiteX3" fmla="*/ 789644 w 1579288"/>
              <a:gd name="connsiteY3" fmla="*/ 2314574 h 2314574"/>
              <a:gd name="connsiteX4" fmla="*/ 0 w 1579288"/>
              <a:gd name="connsiteY4" fmla="*/ 1524930 h 2314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9288" h="2314574">
                <a:moveTo>
                  <a:pt x="0" y="0"/>
                </a:moveTo>
                <a:lnTo>
                  <a:pt x="1579288" y="0"/>
                </a:lnTo>
                <a:lnTo>
                  <a:pt x="1579288" y="1524930"/>
                </a:lnTo>
                <a:cubicBezTo>
                  <a:pt x="1579288" y="1961038"/>
                  <a:pt x="1225752" y="2314574"/>
                  <a:pt x="789644" y="2314574"/>
                </a:cubicBezTo>
                <a:cubicBezTo>
                  <a:pt x="353536" y="2314574"/>
                  <a:pt x="0" y="1961038"/>
                  <a:pt x="0" y="1524930"/>
                </a:cubicBezTo>
                <a:close/>
              </a:path>
            </a:pathLst>
          </a:cu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13" name="Picture Placeholder 12">
            <a:extLst>
              <a:ext uri="{FF2B5EF4-FFF2-40B4-BE49-F238E27FC236}">
                <a16:creationId xmlns:a16="http://schemas.microsoft.com/office/drawing/2014/main" id="{439A5091-7454-13CA-923E-0745779CED1A}"/>
              </a:ext>
            </a:extLst>
          </p:cNvPr>
          <p:cNvSpPr>
            <a:spLocks noGrp="1"/>
          </p:cNvSpPr>
          <p:nvPr>
            <p:ph type="pic" sz="quarter" idx="15" hasCustomPrompt="1"/>
          </p:nvPr>
        </p:nvSpPr>
        <p:spPr>
          <a:xfrm>
            <a:off x="6098391" y="2454442"/>
            <a:ext cx="1579288" cy="3489158"/>
          </a:xfrm>
          <a:custGeom>
            <a:avLst/>
            <a:gdLst>
              <a:gd name="connsiteX0" fmla="*/ 789644 w 1579288"/>
              <a:gd name="connsiteY0" fmla="*/ 0 h 3489158"/>
              <a:gd name="connsiteX1" fmla="*/ 1579288 w 1579288"/>
              <a:gd name="connsiteY1" fmla="*/ 789644 h 3489158"/>
              <a:gd name="connsiteX2" fmla="*/ 1579288 w 1579288"/>
              <a:gd name="connsiteY2" fmla="*/ 2699514 h 3489158"/>
              <a:gd name="connsiteX3" fmla="*/ 789644 w 1579288"/>
              <a:gd name="connsiteY3" fmla="*/ 3489158 h 3489158"/>
              <a:gd name="connsiteX4" fmla="*/ 0 w 1579288"/>
              <a:gd name="connsiteY4" fmla="*/ 2699514 h 3489158"/>
              <a:gd name="connsiteX5" fmla="*/ 0 w 1579288"/>
              <a:gd name="connsiteY5" fmla="*/ 789644 h 3489158"/>
              <a:gd name="connsiteX6" fmla="*/ 789644 w 1579288"/>
              <a:gd name="connsiteY6" fmla="*/ 0 h 348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9288" h="3489158">
                <a:moveTo>
                  <a:pt x="789644" y="0"/>
                </a:moveTo>
                <a:cubicBezTo>
                  <a:pt x="1225752" y="0"/>
                  <a:pt x="1579288" y="353536"/>
                  <a:pt x="1579288" y="789644"/>
                </a:cubicBezTo>
                <a:lnTo>
                  <a:pt x="1579288" y="2699514"/>
                </a:lnTo>
                <a:cubicBezTo>
                  <a:pt x="1579288" y="3135622"/>
                  <a:pt x="1225752" y="3489158"/>
                  <a:pt x="789644" y="3489158"/>
                </a:cubicBezTo>
                <a:cubicBezTo>
                  <a:pt x="353536" y="3489158"/>
                  <a:pt x="0" y="3135622"/>
                  <a:pt x="0" y="2699514"/>
                </a:cubicBezTo>
                <a:lnTo>
                  <a:pt x="0" y="789644"/>
                </a:lnTo>
                <a:cubicBezTo>
                  <a:pt x="0" y="353536"/>
                  <a:pt x="353536" y="0"/>
                  <a:pt x="789644"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8" name="Text Placeholder 21">
            <a:extLst>
              <a:ext uri="{FF2B5EF4-FFF2-40B4-BE49-F238E27FC236}">
                <a16:creationId xmlns:a16="http://schemas.microsoft.com/office/drawing/2014/main" id="{BF50C530-E22F-4FAC-5759-3DBBAD403F37}"/>
              </a:ext>
            </a:extLst>
          </p:cNvPr>
          <p:cNvSpPr>
            <a:spLocks noGrp="1"/>
          </p:cNvSpPr>
          <p:nvPr>
            <p:ph type="body" sz="quarter" idx="11" hasCustomPrompt="1"/>
          </p:nvPr>
        </p:nvSpPr>
        <p:spPr>
          <a:xfrm>
            <a:off x="560270" y="4513255"/>
            <a:ext cx="516934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a:t>
            </a:r>
            <a:br>
              <a:rPr lang="en-US"/>
            </a:br>
            <a:r>
              <a:rPr lang="en-US"/>
              <a:t>sentence case</a:t>
            </a:r>
          </a:p>
        </p:txBody>
      </p:sp>
      <p:sp>
        <p:nvSpPr>
          <p:cNvPr id="9" name="Title 1">
            <a:extLst>
              <a:ext uri="{FF2B5EF4-FFF2-40B4-BE49-F238E27FC236}">
                <a16:creationId xmlns:a16="http://schemas.microsoft.com/office/drawing/2014/main" id="{001CB714-76EF-FC5F-FA21-AAC2687A7804}"/>
              </a:ext>
            </a:extLst>
          </p:cNvPr>
          <p:cNvSpPr>
            <a:spLocks noGrp="1"/>
          </p:cNvSpPr>
          <p:nvPr>
            <p:ph type="ctrTitle" hasCustomPrompt="1"/>
          </p:nvPr>
        </p:nvSpPr>
        <p:spPr>
          <a:xfrm>
            <a:off x="560270" y="2292059"/>
            <a:ext cx="516934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0" name="Subtitle 2">
            <a:extLst>
              <a:ext uri="{FF2B5EF4-FFF2-40B4-BE49-F238E27FC236}">
                <a16:creationId xmlns:a16="http://schemas.microsoft.com/office/drawing/2014/main" id="{3AA1AF35-E214-5937-C222-35F7C8B61318}"/>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1" name="Text Placeholder 13">
            <a:extLst>
              <a:ext uri="{FF2B5EF4-FFF2-40B4-BE49-F238E27FC236}">
                <a16:creationId xmlns:a16="http://schemas.microsoft.com/office/drawing/2014/main" id="{BBDCA1FD-A8D4-1358-1CE3-87CF2BAF9D4D}"/>
              </a:ext>
            </a:extLst>
          </p:cNvPr>
          <p:cNvSpPr>
            <a:spLocks noGrp="1"/>
          </p:cNvSpPr>
          <p:nvPr>
            <p:ph type="body" sz="quarter" idx="17" hasCustomPrompt="1"/>
          </p:nvPr>
        </p:nvSpPr>
        <p:spPr>
          <a:xfrm>
            <a:off x="560269" y="5680710"/>
            <a:ext cx="516934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52" name="Graphic 51">
            <a:extLst>
              <a:ext uri="{FF2B5EF4-FFF2-40B4-BE49-F238E27FC236}">
                <a16:creationId xmlns:a16="http://schemas.microsoft.com/office/drawing/2014/main" id="{7CDFB77E-A09E-BDE9-B164-A894EB8370D1}"/>
              </a:ext>
            </a:extLst>
          </p:cNvPr>
          <p:cNvPicPr>
            <a:picLocks noChangeAspect="1"/>
          </p:cNvPicPr>
          <p:nvPr/>
        </p:nvPicPr>
        <p:blipFill>
          <a:blip>
            <a:extLst>
              <a:ext uri="{96DAC541-7B7A-43D3-8B79-37D633B846F1}">
                <asvg:svgBlip xmlns:asvg="http://schemas.microsoft.com/office/drawing/2016/SVG/main" r:embed="rId9"/>
              </a:ext>
            </a:extLst>
          </a:blip>
          <a:srcRect t="22893"/>
          <a:stretch>
            <a:fillRect/>
          </a:stretch>
        </p:blipFill>
        <p:spPr>
          <a:xfrm>
            <a:off x="7997572" y="0"/>
            <a:ext cx="1578228" cy="1574836"/>
          </a:xfrm>
          <a:custGeom>
            <a:avLst/>
            <a:gdLst>
              <a:gd name="connsiteX0" fmla="*/ 0 w 1578228"/>
              <a:gd name="connsiteY0" fmla="*/ 0 h 1574836"/>
              <a:gd name="connsiteX1" fmla="*/ 1578228 w 1578228"/>
              <a:gd name="connsiteY1" fmla="*/ 0 h 1574836"/>
              <a:gd name="connsiteX2" fmla="*/ 1578228 w 1578228"/>
              <a:gd name="connsiteY2" fmla="*/ 1574836 h 1574836"/>
              <a:gd name="connsiteX3" fmla="*/ 0 w 1578228"/>
              <a:gd name="connsiteY3" fmla="*/ 1574836 h 1574836"/>
            </a:gdLst>
            <a:ahLst/>
            <a:cxnLst>
              <a:cxn ang="0">
                <a:pos x="connsiteX0" y="connsiteY0"/>
              </a:cxn>
              <a:cxn ang="0">
                <a:pos x="connsiteX1" y="connsiteY1"/>
              </a:cxn>
              <a:cxn ang="0">
                <a:pos x="connsiteX2" y="connsiteY2"/>
              </a:cxn>
              <a:cxn ang="0">
                <a:pos x="connsiteX3" y="connsiteY3"/>
              </a:cxn>
            </a:cxnLst>
            <a:rect l="l" t="t" r="r" b="b"/>
            <a:pathLst>
              <a:path w="1578228" h="1574836">
                <a:moveTo>
                  <a:pt x="0" y="0"/>
                </a:moveTo>
                <a:lnTo>
                  <a:pt x="1578228" y="0"/>
                </a:lnTo>
                <a:lnTo>
                  <a:pt x="1578228" y="1574836"/>
                </a:lnTo>
                <a:lnTo>
                  <a:pt x="0" y="1574836"/>
                </a:lnTo>
                <a:close/>
              </a:path>
            </a:pathLst>
          </a:custGeom>
        </p:spPr>
      </p:pic>
      <p:sp>
        <p:nvSpPr>
          <p:cNvPr id="6" name="Picture Placeholder 16">
            <a:extLst>
              <a:ext uri="{FF2B5EF4-FFF2-40B4-BE49-F238E27FC236}">
                <a16:creationId xmlns:a16="http://schemas.microsoft.com/office/drawing/2014/main" id="{11F2F281-CD61-3144-F723-3FD15751644D}"/>
              </a:ext>
            </a:extLst>
          </p:cNvPr>
          <p:cNvSpPr>
            <a:spLocks noGrp="1"/>
          </p:cNvSpPr>
          <p:nvPr>
            <p:ph type="pic" sz="quarter" idx="18" hasCustomPrompt="1"/>
          </p:nvPr>
        </p:nvSpPr>
        <p:spPr>
          <a:xfrm>
            <a:off x="9914020" y="0"/>
            <a:ext cx="1574799" cy="4616449"/>
          </a:xfrm>
          <a:custGeom>
            <a:avLst/>
            <a:gdLst>
              <a:gd name="connsiteX0" fmla="*/ 776817 w 1574799"/>
              <a:gd name="connsiteY0" fmla="*/ 0 h 4616449"/>
              <a:gd name="connsiteX1" fmla="*/ 797982 w 1574799"/>
              <a:gd name="connsiteY1" fmla="*/ 0 h 4616449"/>
              <a:gd name="connsiteX2" fmla="*/ 1574799 w 1574799"/>
              <a:gd name="connsiteY2" fmla="*/ 776817 h 4616449"/>
              <a:gd name="connsiteX3" fmla="*/ 1574799 w 1574799"/>
              <a:gd name="connsiteY3" fmla="*/ 3839632 h 4616449"/>
              <a:gd name="connsiteX4" fmla="*/ 797982 w 1574799"/>
              <a:gd name="connsiteY4" fmla="*/ 4616449 h 4616449"/>
              <a:gd name="connsiteX5" fmla="*/ 776817 w 1574799"/>
              <a:gd name="connsiteY5" fmla="*/ 4616449 h 4616449"/>
              <a:gd name="connsiteX6" fmla="*/ 0 w 1574799"/>
              <a:gd name="connsiteY6" fmla="*/ 3839632 h 4616449"/>
              <a:gd name="connsiteX7" fmla="*/ 0 w 1574799"/>
              <a:gd name="connsiteY7" fmla="*/ 776817 h 4616449"/>
              <a:gd name="connsiteX8" fmla="*/ 776817 w 1574799"/>
              <a:gd name="connsiteY8" fmla="*/ 0 h 461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799" h="4616449">
                <a:moveTo>
                  <a:pt x="776817" y="0"/>
                </a:moveTo>
                <a:lnTo>
                  <a:pt x="797982" y="0"/>
                </a:lnTo>
                <a:cubicBezTo>
                  <a:pt x="1227006" y="0"/>
                  <a:pt x="1574799" y="347793"/>
                  <a:pt x="1574799" y="776817"/>
                </a:cubicBezTo>
                <a:lnTo>
                  <a:pt x="1574799" y="3839632"/>
                </a:lnTo>
                <a:cubicBezTo>
                  <a:pt x="1574799" y="4268656"/>
                  <a:pt x="1227006" y="4616449"/>
                  <a:pt x="797982" y="4616449"/>
                </a:cubicBezTo>
                <a:lnTo>
                  <a:pt x="776817" y="4616449"/>
                </a:lnTo>
                <a:cubicBezTo>
                  <a:pt x="347793" y="4616449"/>
                  <a:pt x="0" y="4268656"/>
                  <a:pt x="0" y="3839632"/>
                </a:cubicBezTo>
                <a:lnTo>
                  <a:pt x="0" y="776817"/>
                </a:lnTo>
                <a:cubicBezTo>
                  <a:pt x="0" y="347793"/>
                  <a:pt x="347793" y="0"/>
                  <a:pt x="776817" y="0"/>
                </a:cubicBezTo>
                <a:close/>
              </a:path>
            </a:pathLst>
          </a:custGeom>
          <a:blipFill>
            <a:blip r:embed="rId10"/>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384626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over 2026-08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605589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DA3FDF07-2EE4-1BD3-7BBF-76F0E37FCF2D}"/>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1" name="Freeform: Shape 30">
            <a:extLst>
              <a:ext uri="{FF2B5EF4-FFF2-40B4-BE49-F238E27FC236}">
                <a16:creationId xmlns:a16="http://schemas.microsoft.com/office/drawing/2014/main" id="{4594B7A1-4047-AFA3-498E-DD5DFA54DCB6}"/>
              </a:ext>
            </a:extLst>
          </p:cNvPr>
          <p:cNvSpPr/>
          <p:nvPr/>
        </p:nvSpPr>
        <p:spPr>
          <a:xfrm flipH="1">
            <a:off x="6258210" y="-1"/>
            <a:ext cx="5943600" cy="3791372"/>
          </a:xfrm>
          <a:custGeom>
            <a:avLst/>
            <a:gdLst>
              <a:gd name="connsiteX0" fmla="*/ 4047914 w 5943600"/>
              <a:gd name="connsiteY0" fmla="*/ 0 h 3791372"/>
              <a:gd name="connsiteX1" fmla="*/ 0 w 5943600"/>
              <a:gd name="connsiteY1" fmla="*/ 0 h 3791372"/>
              <a:gd name="connsiteX2" fmla="*/ 0 w 5943600"/>
              <a:gd name="connsiteY2" fmla="*/ 3791371 h 3791372"/>
              <a:gd name="connsiteX3" fmla="*/ 4047913 w 5943600"/>
              <a:gd name="connsiteY3" fmla="*/ 3791372 h 3791372"/>
              <a:gd name="connsiteX4" fmla="*/ 5943599 w 5943600"/>
              <a:gd name="connsiteY4" fmla="*/ 1895686 h 3791372"/>
              <a:gd name="connsiteX5" fmla="*/ 5943600 w 5943600"/>
              <a:gd name="connsiteY5" fmla="*/ 1895686 h 3791372"/>
              <a:gd name="connsiteX6" fmla="*/ 4047914 w 5943600"/>
              <a:gd name="connsiteY6" fmla="*/ 0 h 379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3600" h="3791372">
                <a:moveTo>
                  <a:pt x="4047914" y="0"/>
                </a:moveTo>
                <a:lnTo>
                  <a:pt x="0" y="0"/>
                </a:lnTo>
                <a:lnTo>
                  <a:pt x="0" y="3791371"/>
                </a:lnTo>
                <a:lnTo>
                  <a:pt x="4047913" y="3791372"/>
                </a:lnTo>
                <a:cubicBezTo>
                  <a:pt x="5094871" y="3791372"/>
                  <a:pt x="5943599" y="2942644"/>
                  <a:pt x="5943599" y="1895686"/>
                </a:cubicBezTo>
                <a:lnTo>
                  <a:pt x="5943600" y="1895686"/>
                </a:lnTo>
                <a:cubicBezTo>
                  <a:pt x="5943600" y="848728"/>
                  <a:pt x="5094872" y="0"/>
                  <a:pt x="4047914" y="0"/>
                </a:cubicBezTo>
                <a:close/>
              </a:path>
            </a:pathLst>
          </a:custGeom>
          <a:gradFill>
            <a:gsLst>
              <a:gs pos="75000">
                <a:srgbClr val="140A42"/>
              </a:gs>
              <a:gs pos="0">
                <a:srgbClr val="0DEFC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33" name="Graphic 32">
            <a:extLst>
              <a:ext uri="{FF2B5EF4-FFF2-40B4-BE49-F238E27FC236}">
                <a16:creationId xmlns:a16="http://schemas.microsoft.com/office/drawing/2014/main" id="{D98071B0-0BAC-CCBF-C8F1-4A3F454908D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652788" y="3098800"/>
            <a:ext cx="8979180" cy="3765875"/>
          </a:xfrm>
          <a:prstGeom prst="rect">
            <a:avLst/>
          </a:prstGeom>
        </p:spPr>
      </p:pic>
      <p:pic>
        <p:nvPicPr>
          <p:cNvPr id="25" name="Graphic 24">
            <a:extLst>
              <a:ext uri="{FF2B5EF4-FFF2-40B4-BE49-F238E27FC236}">
                <a16:creationId xmlns:a16="http://schemas.microsoft.com/office/drawing/2014/main" id="{81C40449-60F0-140A-3AD1-82ADF3046D44}"/>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36" name="TextBox 35">
            <a:extLst>
              <a:ext uri="{FF2B5EF4-FFF2-40B4-BE49-F238E27FC236}">
                <a16:creationId xmlns:a16="http://schemas.microsoft.com/office/drawing/2014/main" id="{87DE9C2D-C400-713C-8A35-AA4AC7DED97F}"/>
              </a:ext>
            </a:extLst>
          </p:cNvPr>
          <p:cNvSpPr txBox="1"/>
          <p:nvPr/>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sp>
        <p:nvSpPr>
          <p:cNvPr id="2" name="Text Placeholder 21">
            <a:extLst>
              <a:ext uri="{FF2B5EF4-FFF2-40B4-BE49-F238E27FC236}">
                <a16:creationId xmlns:a16="http://schemas.microsoft.com/office/drawing/2014/main" id="{860022E3-44E7-94B3-673D-7A83DC626D61}"/>
              </a:ext>
            </a:extLst>
          </p:cNvPr>
          <p:cNvSpPr>
            <a:spLocks noGrp="1"/>
          </p:cNvSpPr>
          <p:nvPr>
            <p:ph type="body" sz="quarter" idx="11" hasCustomPrompt="1"/>
          </p:nvPr>
        </p:nvSpPr>
        <p:spPr>
          <a:xfrm>
            <a:off x="560269" y="370087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4" name="Title 1">
            <a:extLst>
              <a:ext uri="{FF2B5EF4-FFF2-40B4-BE49-F238E27FC236}">
                <a16:creationId xmlns:a16="http://schemas.microsoft.com/office/drawing/2014/main" id="{B8700D2F-0738-919B-C35D-CB0DEA2A88A0}"/>
              </a:ext>
            </a:extLst>
          </p:cNvPr>
          <p:cNvSpPr>
            <a:spLocks noGrp="1"/>
          </p:cNvSpPr>
          <p:nvPr>
            <p:ph type="ctrTitle" hasCustomPrompt="1"/>
          </p:nvPr>
        </p:nvSpPr>
        <p:spPr>
          <a:xfrm>
            <a:off x="560269" y="1439889"/>
            <a:ext cx="484993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5" name="Subtitle 2">
            <a:extLst>
              <a:ext uri="{FF2B5EF4-FFF2-40B4-BE49-F238E27FC236}">
                <a16:creationId xmlns:a16="http://schemas.microsoft.com/office/drawing/2014/main" id="{C3A1FE95-0855-D501-FF26-012CD590C28C}"/>
              </a:ext>
            </a:extLst>
          </p:cNvPr>
          <p:cNvSpPr>
            <a:spLocks noGrp="1"/>
          </p:cNvSpPr>
          <p:nvPr>
            <p:ph type="subTitle" idx="1" hasCustomPrompt="1"/>
          </p:nvPr>
        </p:nvSpPr>
        <p:spPr>
          <a:xfrm>
            <a:off x="560269" y="4540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6" name="Text Placeholder 13">
            <a:extLst>
              <a:ext uri="{FF2B5EF4-FFF2-40B4-BE49-F238E27FC236}">
                <a16:creationId xmlns:a16="http://schemas.microsoft.com/office/drawing/2014/main" id="{2D8CDC11-4E82-CC71-FA89-59B33D5F4A95}"/>
              </a:ext>
            </a:extLst>
          </p:cNvPr>
          <p:cNvSpPr>
            <a:spLocks noGrp="1"/>
          </p:cNvSpPr>
          <p:nvPr>
            <p:ph type="body" sz="quarter" idx="17" hasCustomPrompt="1"/>
          </p:nvPr>
        </p:nvSpPr>
        <p:spPr>
          <a:xfrm>
            <a:off x="560269" y="490812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887232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ver 2026-09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351896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2562DA74-18F7-19C5-53FC-AD93FC6B5807}"/>
              </a:ext>
            </a:extLst>
          </p:cNvPr>
          <p:cNvSpPr/>
          <p:nvPr/>
        </p:nvSpPr>
        <p:spPr>
          <a:xfrm>
            <a:off x="648119" y="2375037"/>
            <a:ext cx="1730943" cy="3819542"/>
          </a:xfrm>
          <a:prstGeom prst="roundRect">
            <a:avLst>
              <a:gd name="adj" fmla="val 49328"/>
            </a:avLst>
          </a:prstGeom>
          <a:gradFill>
            <a:gsLst>
              <a:gs pos="0">
                <a:srgbClr val="6EEAC4"/>
              </a:gs>
              <a:gs pos="4000">
                <a:srgbClr val="69DFBD"/>
              </a:gs>
              <a:gs pos="39000">
                <a:srgbClr val="458588"/>
              </a:gs>
              <a:gs pos="68000">
                <a:srgbClr val="2A4360"/>
              </a:gs>
              <a:gs pos="89000">
                <a:srgbClr val="191A48"/>
              </a:gs>
              <a:gs pos="100000">
                <a:srgbClr val="130B3F"/>
              </a:gs>
            </a:gsLst>
            <a:lin ang="1620000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Subtitle 2">
            <a:extLst>
              <a:ext uri="{FF2B5EF4-FFF2-40B4-BE49-F238E27FC236}">
                <a16:creationId xmlns:a16="http://schemas.microsoft.com/office/drawing/2014/main" id="{4F08590D-7AB4-C9BE-B902-DC26BCDC65AD}"/>
              </a:ext>
            </a:extLst>
          </p:cNvPr>
          <p:cNvSpPr>
            <a:spLocks noGrp="1"/>
          </p:cNvSpPr>
          <p:nvPr>
            <p:ph type="subTitle" idx="1" hasCustomPrompt="1"/>
          </p:nvPr>
        </p:nvSpPr>
        <p:spPr>
          <a:xfrm>
            <a:off x="560269" y="2000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5" name="Picture Placeholder 4">
            <a:extLst>
              <a:ext uri="{FF2B5EF4-FFF2-40B4-BE49-F238E27FC236}">
                <a16:creationId xmlns:a16="http://schemas.microsoft.com/office/drawing/2014/main" id="{FB62F432-FEE6-8978-5F40-FEC041C6C4B4}"/>
              </a:ext>
            </a:extLst>
          </p:cNvPr>
          <p:cNvSpPr>
            <a:spLocks noGrp="1"/>
          </p:cNvSpPr>
          <p:nvPr>
            <p:ph type="pic" sz="quarter" idx="15" hasCustomPrompt="1"/>
          </p:nvPr>
        </p:nvSpPr>
        <p:spPr>
          <a:xfrm>
            <a:off x="648119" y="622721"/>
            <a:ext cx="1728216" cy="1728216"/>
          </a:xfrm>
          <a:prstGeom prst="ellipse">
            <a:avLst/>
          </a:prstGeom>
          <a:blipFill>
            <a:blip r:embed="rId5"/>
            <a:stretch>
              <a:fillRect/>
            </a:stretch>
          </a:blipFill>
          <a:ln>
            <a:no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Rectangle: Rounded Corners 5">
            <a:extLst>
              <a:ext uri="{FF2B5EF4-FFF2-40B4-BE49-F238E27FC236}">
                <a16:creationId xmlns:a16="http://schemas.microsoft.com/office/drawing/2014/main" id="{9E9020F3-8CAD-064C-515D-02A876808C1B}"/>
              </a:ext>
            </a:extLst>
          </p:cNvPr>
          <p:cNvSpPr/>
          <p:nvPr/>
        </p:nvSpPr>
        <p:spPr>
          <a:xfrm>
            <a:off x="2379546" y="623569"/>
            <a:ext cx="1730943" cy="3819542"/>
          </a:xfrm>
          <a:prstGeom prst="roundRect">
            <a:avLst>
              <a:gd name="adj" fmla="val 49328"/>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Oval 8">
            <a:extLst>
              <a:ext uri="{FF2B5EF4-FFF2-40B4-BE49-F238E27FC236}">
                <a16:creationId xmlns:a16="http://schemas.microsoft.com/office/drawing/2014/main" id="{07E83114-165C-1322-953A-6186533660A7}"/>
              </a:ext>
            </a:extLst>
          </p:cNvPr>
          <p:cNvSpPr>
            <a:spLocks/>
          </p:cNvSpPr>
          <p:nvPr/>
        </p:nvSpPr>
        <p:spPr>
          <a:xfrm>
            <a:off x="648119" y="4478373"/>
            <a:ext cx="1728216" cy="1728216"/>
          </a:xfrm>
          <a:prstGeom prst="ellipse">
            <a:avLst/>
          </a:pr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1" name="Picture Placeholder 20">
            <a:extLst>
              <a:ext uri="{FF2B5EF4-FFF2-40B4-BE49-F238E27FC236}">
                <a16:creationId xmlns:a16="http://schemas.microsoft.com/office/drawing/2014/main" id="{CDF14F0E-00FB-45E7-BA8A-D52C93844BE8}"/>
              </a:ext>
            </a:extLst>
          </p:cNvPr>
          <p:cNvSpPr>
            <a:spLocks noGrp="1"/>
          </p:cNvSpPr>
          <p:nvPr>
            <p:ph type="pic" sz="quarter" idx="14" hasCustomPrompt="1"/>
          </p:nvPr>
        </p:nvSpPr>
        <p:spPr>
          <a:xfrm>
            <a:off x="2384626" y="4456529"/>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22" name="Text Placeholder 21">
            <a:extLst>
              <a:ext uri="{FF2B5EF4-FFF2-40B4-BE49-F238E27FC236}">
                <a16:creationId xmlns:a16="http://schemas.microsoft.com/office/drawing/2014/main" id="{11BE6C84-E2C6-DDB5-A020-1D90363B2454}"/>
              </a:ext>
            </a:extLst>
          </p:cNvPr>
          <p:cNvSpPr>
            <a:spLocks noGrp="1"/>
          </p:cNvSpPr>
          <p:nvPr>
            <p:ph type="body" sz="quarter" idx="11" hasCustomPrompt="1"/>
          </p:nvPr>
        </p:nvSpPr>
        <p:spPr>
          <a:xfrm>
            <a:off x="6324599" y="4556224"/>
            <a:ext cx="5247793"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a:t>
            </a:r>
            <a:br>
              <a:rPr lang="en-US"/>
            </a:br>
            <a:r>
              <a:rPr lang="en-US"/>
              <a:t>sentence case</a:t>
            </a:r>
          </a:p>
        </p:txBody>
      </p:sp>
      <p:sp>
        <p:nvSpPr>
          <p:cNvPr id="23" name="Title 1">
            <a:extLst>
              <a:ext uri="{FF2B5EF4-FFF2-40B4-BE49-F238E27FC236}">
                <a16:creationId xmlns:a16="http://schemas.microsoft.com/office/drawing/2014/main" id="{487CCCF8-1C79-7D58-EE48-AF6A9196C7B9}"/>
              </a:ext>
            </a:extLst>
          </p:cNvPr>
          <p:cNvSpPr>
            <a:spLocks noGrp="1"/>
          </p:cNvSpPr>
          <p:nvPr>
            <p:ph type="ctrTitle" hasCustomPrompt="1"/>
          </p:nvPr>
        </p:nvSpPr>
        <p:spPr>
          <a:xfrm>
            <a:off x="6324599" y="2304759"/>
            <a:ext cx="524779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25" name="TextBox 24">
            <a:extLst>
              <a:ext uri="{FF2B5EF4-FFF2-40B4-BE49-F238E27FC236}">
                <a16:creationId xmlns:a16="http://schemas.microsoft.com/office/drawing/2014/main" id="{85CBFB29-7615-D0CB-3A29-CF41540B999E}"/>
              </a:ext>
            </a:extLst>
          </p:cNvPr>
          <p:cNvSpPr txBox="1"/>
          <p:nvPr/>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pic>
        <p:nvPicPr>
          <p:cNvPr id="30" name="Graphic 29">
            <a:extLst>
              <a:ext uri="{FF2B5EF4-FFF2-40B4-BE49-F238E27FC236}">
                <a16:creationId xmlns:a16="http://schemas.microsoft.com/office/drawing/2014/main" id="{230B9294-49C2-9A41-4093-3BF610123F60}"/>
              </a:ext>
            </a:extLst>
          </p:cNvPr>
          <p:cNvPicPr>
            <a:picLocks/>
          </p:cNvPicPr>
          <p:nvPr/>
        </p:nvPicPr>
        <p:blipFill>
          <a:blip>
            <a:extLst>
              <a:ext uri="{96DAC541-7B7A-43D3-8B79-37D633B846F1}">
                <asvg:svgBlip xmlns:asvg="http://schemas.microsoft.com/office/drawing/2016/SVG/main" r:embed="rId7"/>
              </a:ext>
            </a:extLst>
          </a:blip>
          <a:stretch>
            <a:fillRect/>
          </a:stretch>
        </p:blipFill>
        <p:spPr>
          <a:xfrm>
            <a:off x="9360095" y="611533"/>
            <a:ext cx="2212298" cy="399963"/>
          </a:xfrm>
          <a:prstGeom prst="rect">
            <a:avLst/>
          </a:prstGeom>
        </p:spPr>
      </p:pic>
      <p:sp>
        <p:nvSpPr>
          <p:cNvPr id="11" name="Picture Placeholder 10">
            <a:extLst>
              <a:ext uri="{FF2B5EF4-FFF2-40B4-BE49-F238E27FC236}">
                <a16:creationId xmlns:a16="http://schemas.microsoft.com/office/drawing/2014/main" id="{C5E08318-F3D9-A07C-F68B-384AFC7798EA}"/>
              </a:ext>
            </a:extLst>
          </p:cNvPr>
          <p:cNvSpPr>
            <a:spLocks noGrp="1"/>
          </p:cNvSpPr>
          <p:nvPr>
            <p:ph type="pic" sz="quarter" idx="16" hasCustomPrompt="1"/>
          </p:nvPr>
        </p:nvSpPr>
        <p:spPr>
          <a:xfrm>
            <a:off x="5869518" y="623569"/>
            <a:ext cx="2933699" cy="1431514"/>
          </a:xfrm>
          <a:custGeom>
            <a:avLst/>
            <a:gdLst>
              <a:gd name="connsiteX0" fmla="*/ 715757 w 2933699"/>
              <a:gd name="connsiteY0" fmla="*/ 0 h 1431514"/>
              <a:gd name="connsiteX1" fmla="*/ 2217942 w 2933699"/>
              <a:gd name="connsiteY1" fmla="*/ 0 h 1431514"/>
              <a:gd name="connsiteX2" fmla="*/ 2933699 w 2933699"/>
              <a:gd name="connsiteY2" fmla="*/ 715757 h 1431514"/>
              <a:gd name="connsiteX3" fmla="*/ 2217942 w 2933699"/>
              <a:gd name="connsiteY3" fmla="*/ 1431514 h 1431514"/>
              <a:gd name="connsiteX4" fmla="*/ 715757 w 2933699"/>
              <a:gd name="connsiteY4" fmla="*/ 1431514 h 1431514"/>
              <a:gd name="connsiteX5" fmla="*/ 0 w 2933699"/>
              <a:gd name="connsiteY5" fmla="*/ 715757 h 1431514"/>
              <a:gd name="connsiteX6" fmla="*/ 715757 w 2933699"/>
              <a:gd name="connsiteY6" fmla="*/ 0 h 143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699" h="1431514">
                <a:moveTo>
                  <a:pt x="715757" y="0"/>
                </a:moveTo>
                <a:lnTo>
                  <a:pt x="2217942" y="0"/>
                </a:lnTo>
                <a:cubicBezTo>
                  <a:pt x="2613244" y="0"/>
                  <a:pt x="2933699" y="320455"/>
                  <a:pt x="2933699" y="715757"/>
                </a:cubicBezTo>
                <a:cubicBezTo>
                  <a:pt x="2933699" y="1111059"/>
                  <a:pt x="2613244" y="1431514"/>
                  <a:pt x="2217942" y="1431514"/>
                </a:cubicBezTo>
                <a:lnTo>
                  <a:pt x="715757" y="1431514"/>
                </a:lnTo>
                <a:cubicBezTo>
                  <a:pt x="320456" y="1431514"/>
                  <a:pt x="0" y="1111059"/>
                  <a:pt x="0" y="715757"/>
                </a:cubicBezTo>
                <a:cubicBezTo>
                  <a:pt x="0" y="320455"/>
                  <a:pt x="320456" y="0"/>
                  <a:pt x="715757"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4" name="Text Placeholder 13">
            <a:extLst>
              <a:ext uri="{FF2B5EF4-FFF2-40B4-BE49-F238E27FC236}">
                <a16:creationId xmlns:a16="http://schemas.microsoft.com/office/drawing/2014/main" id="{94211D75-A79E-56DC-E881-52C0CC027566}"/>
              </a:ext>
            </a:extLst>
          </p:cNvPr>
          <p:cNvSpPr>
            <a:spLocks noGrp="1"/>
          </p:cNvSpPr>
          <p:nvPr>
            <p:ph type="body" sz="quarter" idx="17" hasCustomPrompt="1"/>
          </p:nvPr>
        </p:nvSpPr>
        <p:spPr>
          <a:xfrm>
            <a:off x="6324598" y="5753948"/>
            <a:ext cx="5247793" cy="385767"/>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12" name="Graphic 11">
            <a:extLst>
              <a:ext uri="{FF2B5EF4-FFF2-40B4-BE49-F238E27FC236}">
                <a16:creationId xmlns:a16="http://schemas.microsoft.com/office/drawing/2014/main" id="{1CF48BE1-E766-5FA2-D411-8460923A9A1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110117" y="2770343"/>
            <a:ext cx="1684470" cy="1684470"/>
          </a:xfrm>
          <a:prstGeom prst="rect">
            <a:avLst/>
          </a:prstGeom>
        </p:spPr>
      </p:pic>
      <p:pic>
        <p:nvPicPr>
          <p:cNvPr id="24" name="Graphic 23">
            <a:extLst>
              <a:ext uri="{FF2B5EF4-FFF2-40B4-BE49-F238E27FC236}">
                <a16:creationId xmlns:a16="http://schemas.microsoft.com/office/drawing/2014/main" id="{1E6FE9EC-397D-B942-0236-819BCED1063D}"/>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4110117" y="623569"/>
            <a:ext cx="1757680" cy="2274646"/>
          </a:xfrm>
          <a:prstGeom prst="rect">
            <a:avLst/>
          </a:prstGeom>
        </p:spPr>
      </p:pic>
    </p:spTree>
    <p:extLst>
      <p:ext uri="{BB962C8B-B14F-4D97-AF65-F5344CB8AC3E}">
        <p14:creationId xmlns:p14="http://schemas.microsoft.com/office/powerpoint/2010/main" val="61429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ver Co-Brand 2026-10 - IQVIA">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43B117B-9DAD-CC97-C2A8-66F44CA68FD8}"/>
              </a:ext>
            </a:extLst>
          </p:cNvPr>
          <p:cNvGraphicFramePr>
            <a:graphicFrameLocks noChangeAspect="1"/>
          </p:cNvGraphicFramePr>
          <p:nvPr>
            <p:custDataLst>
              <p:tags r:id="rId1"/>
            </p:custDataLst>
            <p:extLst>
              <p:ext uri="{D42A27DB-BD31-4B8C-83A1-F6EECF244321}">
                <p14:modId xmlns:p14="http://schemas.microsoft.com/office/powerpoint/2010/main" val="237742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C43B117B-9DAD-CC97-C2A8-66F44CA68F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000" b="0" i="1">
                <a:solidFill>
                  <a:schemeClr val="accent2"/>
                </a:solidFill>
                <a:latin typeface="+mj-lt"/>
              </a:defRPr>
            </a:lvl1pPr>
          </a:lstStyle>
          <a:p>
            <a:pPr lvl="0"/>
            <a:r>
              <a:rPr lang="en-US"/>
              <a:t>Subheads are 20pt Noto Sans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40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4pt Noto Sans</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p:ph type="body" sz="quarter" idx="12" hasCustomPrompt="1"/>
          </p:nvPr>
        </p:nvSpPr>
        <p:spPr>
          <a:xfrm>
            <a:off x="9281375" y="4854606"/>
            <a:ext cx="2324100" cy="1341752"/>
          </a:xfrm>
          <a:prstGeom prst="rect">
            <a:avLst/>
          </a:prstGeom>
          <a:solidFill>
            <a:srgbClr val="DA291C"/>
          </a:solidFill>
        </p:spPr>
        <p:txBody>
          <a:bodyPr rIns="45720">
            <a:noAutofit/>
          </a:bodyPr>
          <a:lstStyle>
            <a:lvl1pPr marL="0" indent="0" algn="l">
              <a:lnSpc>
                <a:spcPct val="100000"/>
              </a:lnSpc>
              <a:spcBef>
                <a:spcPts val="600"/>
              </a:spcBef>
              <a:buNone/>
              <a:defRPr sz="1000" b="0" i="0">
                <a:solidFill>
                  <a:schemeClr val="bg1"/>
                </a:solidFill>
                <a:latin typeface="+mj-lt"/>
              </a:defRPr>
            </a:lvl1pPr>
          </a:lstStyle>
          <a:p>
            <a:pPr lvl="0"/>
            <a:r>
              <a:rPr lang="en-US"/>
              <a:t>Co-brand and bid defense only: You may replace this box with a sponsor logo. Ensure the logo is on a white or transparent background and you have usage permission.</a:t>
            </a:r>
          </a:p>
          <a:p>
            <a:pPr lvl="0"/>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latin typeface="+mj-lt"/>
            </a:endParaRPr>
          </a:p>
        </p:txBody>
      </p:sp>
      <p:sp>
        <p:nvSpPr>
          <p:cNvPr id="6" name="Freeform: Shape 5">
            <a:extLst>
              <a:ext uri="{FF2B5EF4-FFF2-40B4-BE49-F238E27FC236}">
                <a16:creationId xmlns:a16="http://schemas.microsoft.com/office/drawing/2014/main" id="{7FC2DBB2-A181-4E29-6CCA-A8F30AC33C44}"/>
              </a:ext>
            </a:extLst>
          </p:cNvPr>
          <p:cNvSpPr/>
          <p:nvPr/>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latin typeface="+mj-lt"/>
            </a:endParaRPr>
          </a:p>
        </p:txBody>
      </p:sp>
      <p:sp>
        <p:nvSpPr>
          <p:cNvPr id="7" name="Freeform: Shape 6">
            <a:extLst>
              <a:ext uri="{FF2B5EF4-FFF2-40B4-BE49-F238E27FC236}">
                <a16:creationId xmlns:a16="http://schemas.microsoft.com/office/drawing/2014/main" id="{AFC722F8-9A5C-19E5-0242-1E41CA5B41E8}"/>
              </a:ext>
            </a:extLst>
          </p:cNvPr>
          <p:cNvSpPr/>
          <p:nvPr/>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latin typeface="+mj-lt"/>
            </a:endParaRPr>
          </a:p>
        </p:txBody>
      </p:sp>
      <p:sp>
        <p:nvSpPr>
          <p:cNvPr id="8" name="Freeform: Shape 7">
            <a:extLst>
              <a:ext uri="{FF2B5EF4-FFF2-40B4-BE49-F238E27FC236}">
                <a16:creationId xmlns:a16="http://schemas.microsoft.com/office/drawing/2014/main" id="{461D5A5C-10B5-236E-C5A3-320C49CAC101}"/>
              </a:ext>
            </a:extLst>
          </p:cNvPr>
          <p:cNvSpPr/>
          <p:nvPr/>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latin typeface="+mj-lt"/>
            </a:endParaRPr>
          </a:p>
        </p:txBody>
      </p:sp>
      <p:sp>
        <p:nvSpPr>
          <p:cNvPr id="10" name="Freeform: Shape 9">
            <a:extLst>
              <a:ext uri="{FF2B5EF4-FFF2-40B4-BE49-F238E27FC236}">
                <a16:creationId xmlns:a16="http://schemas.microsoft.com/office/drawing/2014/main" id="{F380E180-0B33-1124-60B3-4CE23784FB15}"/>
              </a:ext>
            </a:extLst>
          </p:cNvPr>
          <p:cNvSpPr/>
          <p:nvPr/>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latin typeface="+mj-lt"/>
            </a:endParaRPr>
          </a:p>
        </p:txBody>
      </p:sp>
    </p:spTree>
    <p:extLst>
      <p:ext uri="{BB962C8B-B14F-4D97-AF65-F5344CB8AC3E}">
        <p14:creationId xmlns:p14="http://schemas.microsoft.com/office/powerpoint/2010/main" val="3559934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A8A15E-1053-38DD-AC1D-5EA46364C078}"/>
              </a:ext>
            </a:extLst>
          </p:cNvPr>
          <p:cNvGraphicFramePr>
            <a:graphicFrameLocks noChangeAspect="1"/>
          </p:cNvGraphicFramePr>
          <p:nvPr>
            <p:custDataLst>
              <p:tags r:id="rId1"/>
            </p:custDataLst>
            <p:extLst>
              <p:ext uri="{D42A27DB-BD31-4B8C-83A1-F6EECF244321}">
                <p14:modId xmlns:p14="http://schemas.microsoft.com/office/powerpoint/2010/main" val="109620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05A8A15E-1053-38DD-AC1D-5EA46364C0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pic>
        <p:nvPicPr>
          <p:cNvPr id="2" name="Graphic 1">
            <a:extLst>
              <a:ext uri="{FF2B5EF4-FFF2-40B4-BE49-F238E27FC236}">
                <a16:creationId xmlns:a16="http://schemas.microsoft.com/office/drawing/2014/main" id="{A19854AA-F154-C4E1-C468-B030BEA2C6D8}"/>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05926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56B5BD-D0BB-AFCA-634D-8774ECD5E040}"/>
              </a:ext>
            </a:extLst>
          </p:cNvPr>
          <p:cNvGraphicFramePr>
            <a:graphicFrameLocks noChangeAspect="1"/>
          </p:cNvGraphicFramePr>
          <p:nvPr>
            <p:custDataLst>
              <p:tags r:id="rId1"/>
            </p:custDataLst>
            <p:extLst>
              <p:ext uri="{D42A27DB-BD31-4B8C-83A1-F6EECF244321}">
                <p14:modId xmlns:p14="http://schemas.microsoft.com/office/powerpoint/2010/main" val="259286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1556B5BD-D0BB-AFCA-634D-8774ECD5E0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pic>
        <p:nvPicPr>
          <p:cNvPr id="3" name="Graphic 2">
            <a:extLst>
              <a:ext uri="{FF2B5EF4-FFF2-40B4-BE49-F238E27FC236}">
                <a16:creationId xmlns:a16="http://schemas.microsoft.com/office/drawing/2014/main" id="{222698F6-00E1-FB50-6FA3-D33AC87CC23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47565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27927AA-6E3C-3281-2AB0-473A1A133008}"/>
              </a:ext>
            </a:extLst>
          </p:cNvPr>
          <p:cNvGraphicFramePr>
            <a:graphicFrameLocks noChangeAspect="1"/>
          </p:cNvGraphicFramePr>
          <p:nvPr>
            <p:custDataLst>
              <p:tags r:id="rId1"/>
            </p:custDataLst>
            <p:extLst>
              <p:ext uri="{D42A27DB-BD31-4B8C-83A1-F6EECF244321}">
                <p14:modId xmlns:p14="http://schemas.microsoft.com/office/powerpoint/2010/main" val="159847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827927AA-6E3C-3281-2AB0-473A1A1330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phic 16">
            <a:extLst>
              <a:ext uri="{FF2B5EF4-FFF2-40B4-BE49-F238E27FC236}">
                <a16:creationId xmlns:a16="http://schemas.microsoft.com/office/drawing/2014/main" id="{B39BD980-859A-ED43-B5E0-B78C35812A8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082396"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2" name="Graphic 1">
            <a:extLst>
              <a:ext uri="{FF2B5EF4-FFF2-40B4-BE49-F238E27FC236}">
                <a16:creationId xmlns:a16="http://schemas.microsoft.com/office/drawing/2014/main" id="{C07FE87B-3026-E19C-885B-6AA4F2F0F5AD}"/>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13168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8F84D9-5BB2-7598-FDD4-DE7D2E900F66}"/>
              </a:ext>
            </a:extLst>
          </p:cNvPr>
          <p:cNvGraphicFramePr>
            <a:graphicFrameLocks noChangeAspect="1"/>
          </p:cNvGraphicFramePr>
          <p:nvPr>
            <p:custDataLst>
              <p:tags r:id="rId1"/>
            </p:custDataLst>
            <p:extLst>
              <p:ext uri="{D42A27DB-BD31-4B8C-83A1-F6EECF244321}">
                <p14:modId xmlns:p14="http://schemas.microsoft.com/office/powerpoint/2010/main" val="431698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B8F84D9-5BB2-7598-FDD4-DE7D2E900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tx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tx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89018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A0FCE1-040D-C5C9-0D6C-D0BC2BC5EE7A}"/>
              </a:ext>
            </a:extLst>
          </p:cNvPr>
          <p:cNvGraphicFramePr>
            <a:graphicFrameLocks noChangeAspect="1"/>
          </p:cNvGraphicFramePr>
          <p:nvPr>
            <p:custDataLst>
              <p:tags r:id="rId1"/>
            </p:custDataLst>
            <p:extLst>
              <p:ext uri="{D42A27DB-BD31-4B8C-83A1-F6EECF244321}">
                <p14:modId xmlns:p14="http://schemas.microsoft.com/office/powerpoint/2010/main" val="218165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FA0FCE1-040D-C5C9-0D6C-D0BC2BC5EE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69373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F0D803-AE05-DFA0-7C50-E5A7C3AE89EC}"/>
              </a:ext>
            </a:extLst>
          </p:cNvPr>
          <p:cNvGraphicFramePr>
            <a:graphicFrameLocks noChangeAspect="1"/>
          </p:cNvGraphicFramePr>
          <p:nvPr>
            <p:custDataLst>
              <p:tags r:id="rId1"/>
            </p:custDataLst>
            <p:extLst>
              <p:ext uri="{D42A27DB-BD31-4B8C-83A1-F6EECF244321}">
                <p14:modId xmlns:p14="http://schemas.microsoft.com/office/powerpoint/2010/main" val="87590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D6F0D803-AE05-DFA0-7C50-E5A7C3AE89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406691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2026-1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093569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E1437CC-BB3E-4BFF-76BC-1ABD8FB6EA2D}"/>
              </a:ext>
            </a:extLst>
          </p:cNvPr>
          <p:cNvSpPr/>
          <p:nvPr userDrawn="1"/>
        </p:nvSpPr>
        <p:spPr>
          <a:xfrm>
            <a:off x="7442200" y="0"/>
            <a:ext cx="4749800" cy="4559300"/>
          </a:xfrm>
          <a:prstGeom prst="rect">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Freeform: Shape 5">
            <a:extLst>
              <a:ext uri="{FF2B5EF4-FFF2-40B4-BE49-F238E27FC236}">
                <a16:creationId xmlns:a16="http://schemas.microsoft.com/office/drawing/2014/main" id="{6433303F-6DAB-1280-0025-B6076C121395}"/>
              </a:ext>
            </a:extLst>
          </p:cNvPr>
          <p:cNvSpPr/>
          <p:nvPr userDrawn="1"/>
        </p:nvSpPr>
        <p:spPr>
          <a:xfrm>
            <a:off x="0" y="-2"/>
            <a:ext cx="10116765" cy="6858002"/>
          </a:xfrm>
          <a:custGeom>
            <a:avLst/>
            <a:gdLst>
              <a:gd name="connsiteX0" fmla="*/ 0 w 10116765"/>
              <a:gd name="connsiteY0" fmla="*/ 0 h 6858002"/>
              <a:gd name="connsiteX1" fmla="*/ 9778513 w 10116765"/>
              <a:gd name="connsiteY1" fmla="*/ 0 h 6858002"/>
              <a:gd name="connsiteX2" fmla="*/ 9889635 w 10116765"/>
              <a:gd name="connsiteY2" fmla="*/ 303613 h 6858002"/>
              <a:gd name="connsiteX3" fmla="*/ 10116765 w 10116765"/>
              <a:gd name="connsiteY3" fmla="*/ 1805941 h 6858002"/>
              <a:gd name="connsiteX4" fmla="*/ 10116627 w 10116765"/>
              <a:gd name="connsiteY4" fmla="*/ 1811400 h 6858002"/>
              <a:gd name="connsiteX5" fmla="*/ 10116765 w 10116765"/>
              <a:gd name="connsiteY5" fmla="*/ 1815037 h 6858002"/>
              <a:gd name="connsiteX6" fmla="*/ 10116252 w 10116765"/>
              <a:gd name="connsiteY6" fmla="*/ 1826222 h 6858002"/>
              <a:gd name="connsiteX7" fmla="*/ 10110191 w 10116765"/>
              <a:gd name="connsiteY7" fmla="*/ 2065920 h 6858002"/>
              <a:gd name="connsiteX8" fmla="*/ 10097779 w 10116765"/>
              <a:gd name="connsiteY8" fmla="*/ 2229153 h 6858002"/>
              <a:gd name="connsiteX9" fmla="*/ 10095168 w 10116765"/>
              <a:gd name="connsiteY9" fmla="*/ 2286110 h 6858002"/>
              <a:gd name="connsiteX10" fmla="*/ 10091351 w 10116765"/>
              <a:gd name="connsiteY10" fmla="*/ 2313683 h 6858002"/>
              <a:gd name="connsiteX11" fmla="*/ 10090682 w 10116765"/>
              <a:gd name="connsiteY11" fmla="*/ 2322485 h 6858002"/>
              <a:gd name="connsiteX12" fmla="*/ 10058554 w 10116765"/>
              <a:gd name="connsiteY12" fmla="*/ 2575320 h 6858002"/>
              <a:gd name="connsiteX13" fmla="*/ 10043367 w 10116765"/>
              <a:gd name="connsiteY13" fmla="*/ 2660362 h 6858002"/>
              <a:gd name="connsiteX14" fmla="*/ 10031644 w 10116765"/>
              <a:gd name="connsiteY14" fmla="*/ 2745062 h 6858002"/>
              <a:gd name="connsiteX15" fmla="*/ 10017019 w 10116765"/>
              <a:gd name="connsiteY15" fmla="*/ 2807904 h 6858002"/>
              <a:gd name="connsiteX16" fmla="*/ 10014125 w 10116765"/>
              <a:gd name="connsiteY16" fmla="*/ 2824108 h 6858002"/>
              <a:gd name="connsiteX17" fmla="*/ 9957713 w 10116765"/>
              <a:gd name="connsiteY17" fmla="*/ 3068530 h 6858002"/>
              <a:gd name="connsiteX18" fmla="*/ 9950239 w 10116765"/>
              <a:gd name="connsiteY18" fmla="*/ 3094849 h 6858002"/>
              <a:gd name="connsiteX19" fmla="*/ 9928096 w 10116765"/>
              <a:gd name="connsiteY19" fmla="*/ 3189996 h 6858002"/>
              <a:gd name="connsiteX20" fmla="*/ 9893286 w 10116765"/>
              <a:gd name="connsiteY20" fmla="*/ 3295410 h 6858002"/>
              <a:gd name="connsiteX21" fmla="*/ 9889634 w 10116765"/>
              <a:gd name="connsiteY21" fmla="*/ 3308270 h 6858002"/>
              <a:gd name="connsiteX22" fmla="*/ 9864919 w 10116765"/>
              <a:gd name="connsiteY22" fmla="*/ 3381313 h 6858002"/>
              <a:gd name="connsiteX23" fmla="*/ 9786427 w 10116765"/>
              <a:gd name="connsiteY23" fmla="*/ 3619010 h 6858002"/>
              <a:gd name="connsiteX24" fmla="*/ 5805533 w 10116765"/>
              <a:gd name="connsiteY24" fmla="*/ 6834034 h 6858002"/>
              <a:gd name="connsiteX25" fmla="*/ 5616614 w 10116765"/>
              <a:gd name="connsiteY25" fmla="*/ 6858001 h 6858002"/>
              <a:gd name="connsiteX26" fmla="*/ 5064745 w 10116765"/>
              <a:gd name="connsiteY26" fmla="*/ 6858001 h 6858002"/>
              <a:gd name="connsiteX27" fmla="*/ 5064704 w 10116765"/>
              <a:gd name="connsiteY27" fmla="*/ 6858002 h 6858002"/>
              <a:gd name="connsiteX28" fmla="*/ 0 w 10116765"/>
              <a:gd name="connsiteY28"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116765" h="6858002">
                <a:moveTo>
                  <a:pt x="0" y="0"/>
                </a:moveTo>
                <a:lnTo>
                  <a:pt x="9778513" y="0"/>
                </a:lnTo>
                <a:lnTo>
                  <a:pt x="9889635" y="303613"/>
                </a:lnTo>
                <a:cubicBezTo>
                  <a:pt x="10037247" y="778198"/>
                  <a:pt x="10116765" y="1282783"/>
                  <a:pt x="10116765" y="1805941"/>
                </a:cubicBezTo>
                <a:lnTo>
                  <a:pt x="10116627" y="1811400"/>
                </a:lnTo>
                <a:lnTo>
                  <a:pt x="10116765" y="1815037"/>
                </a:lnTo>
                <a:lnTo>
                  <a:pt x="10116252" y="1826222"/>
                </a:lnTo>
                <a:lnTo>
                  <a:pt x="10110191" y="2065920"/>
                </a:lnTo>
                <a:lnTo>
                  <a:pt x="10097779" y="2229153"/>
                </a:lnTo>
                <a:lnTo>
                  <a:pt x="10095168" y="2286110"/>
                </a:lnTo>
                <a:lnTo>
                  <a:pt x="10091351" y="2313683"/>
                </a:lnTo>
                <a:lnTo>
                  <a:pt x="10090682" y="2322485"/>
                </a:lnTo>
                <a:cubicBezTo>
                  <a:pt x="10082058" y="2407403"/>
                  <a:pt x="10071331" y="2491699"/>
                  <a:pt x="10058554" y="2575320"/>
                </a:cubicBezTo>
                <a:lnTo>
                  <a:pt x="10043367" y="2660362"/>
                </a:lnTo>
                <a:lnTo>
                  <a:pt x="10031644" y="2745062"/>
                </a:lnTo>
                <a:lnTo>
                  <a:pt x="10017019" y="2807904"/>
                </a:lnTo>
                <a:lnTo>
                  <a:pt x="10014125" y="2824108"/>
                </a:lnTo>
                <a:cubicBezTo>
                  <a:pt x="9997301" y="2906327"/>
                  <a:pt x="9978479" y="2987819"/>
                  <a:pt x="9957713" y="3068530"/>
                </a:cubicBezTo>
                <a:lnTo>
                  <a:pt x="9950239" y="3094849"/>
                </a:lnTo>
                <a:lnTo>
                  <a:pt x="9928096" y="3189996"/>
                </a:lnTo>
                <a:lnTo>
                  <a:pt x="9893286" y="3295410"/>
                </a:lnTo>
                <a:lnTo>
                  <a:pt x="9889634" y="3308270"/>
                </a:lnTo>
                <a:lnTo>
                  <a:pt x="9864919" y="3381313"/>
                </a:lnTo>
                <a:lnTo>
                  <a:pt x="9786427" y="3619010"/>
                </a:lnTo>
                <a:cubicBezTo>
                  <a:pt x="9146046" y="5300696"/>
                  <a:pt x="7636423" y="6554733"/>
                  <a:pt x="5805533" y="6834034"/>
                </a:cubicBezTo>
                <a:lnTo>
                  <a:pt x="5616614" y="6858001"/>
                </a:lnTo>
                <a:lnTo>
                  <a:pt x="5064745" y="6858001"/>
                </a:lnTo>
                <a:lnTo>
                  <a:pt x="5064704" y="6858002"/>
                </a:lnTo>
                <a:lnTo>
                  <a:pt x="0" y="685800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24" name="Graphic 23">
            <a:extLst>
              <a:ext uri="{FF2B5EF4-FFF2-40B4-BE49-F238E27FC236}">
                <a16:creationId xmlns:a16="http://schemas.microsoft.com/office/drawing/2014/main" id="{CF93208E-5E2D-E8C2-591A-17514BE95ECC}"/>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10042" y="5757573"/>
            <a:ext cx="2212298" cy="399963"/>
          </a:xfrm>
          <a:prstGeom prst="rect">
            <a:avLst/>
          </a:prstGeom>
        </p:spPr>
      </p:pic>
      <p:sp>
        <p:nvSpPr>
          <p:cNvPr id="26" name="TextBox 25">
            <a:extLst>
              <a:ext uri="{FF2B5EF4-FFF2-40B4-BE49-F238E27FC236}">
                <a16:creationId xmlns:a16="http://schemas.microsoft.com/office/drawing/2014/main" id="{08922C7F-C040-FE77-ECAB-07E4758152E6}"/>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a:t>
            </a:r>
            <a:br>
              <a:rPr lang="en-US" sz="800">
                <a:solidFill>
                  <a:srgbClr val="7FD1EF"/>
                </a:solidFill>
                <a:latin typeface="+mj-lt"/>
                <a:ea typeface="Arial" charset="0"/>
                <a:cs typeface="Arial" charset="0"/>
              </a:rPr>
            </a:br>
            <a:r>
              <a:rPr lang="en-US" sz="800">
                <a:solidFill>
                  <a:srgbClr val="7FD1EF"/>
                </a:solidFill>
                <a:latin typeface="+mj-lt"/>
                <a:ea typeface="Arial" charset="0"/>
                <a:cs typeface="Arial" charset="0"/>
              </a:rPr>
              <a:t>the United States, the European Union, and various other countries. </a:t>
            </a:r>
          </a:p>
        </p:txBody>
      </p:sp>
      <p:sp>
        <p:nvSpPr>
          <p:cNvPr id="27" name="Text Placeholder 21">
            <a:extLst>
              <a:ext uri="{FF2B5EF4-FFF2-40B4-BE49-F238E27FC236}">
                <a16:creationId xmlns:a16="http://schemas.microsoft.com/office/drawing/2014/main" id="{8BF82FC3-8C81-7C10-3A22-D96FC5E99F30}"/>
              </a:ext>
            </a:extLst>
          </p:cNvPr>
          <p:cNvSpPr>
            <a:spLocks noGrp="1"/>
          </p:cNvSpPr>
          <p:nvPr userDrawn="1">
            <p:ph type="body" sz="quarter" idx="11" hasCustomPrompt="1"/>
          </p:nvPr>
        </p:nvSpPr>
        <p:spPr>
          <a:xfrm>
            <a:off x="560269" y="370087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28" name="Title 1">
            <a:extLst>
              <a:ext uri="{FF2B5EF4-FFF2-40B4-BE49-F238E27FC236}">
                <a16:creationId xmlns:a16="http://schemas.microsoft.com/office/drawing/2014/main" id="{C0706A52-F7B1-E1BA-8267-7A7B36BB603A}"/>
              </a:ext>
            </a:extLst>
          </p:cNvPr>
          <p:cNvSpPr>
            <a:spLocks noGrp="1"/>
          </p:cNvSpPr>
          <p:nvPr userDrawn="1">
            <p:ph type="ctrTitle" hasCustomPrompt="1"/>
          </p:nvPr>
        </p:nvSpPr>
        <p:spPr>
          <a:xfrm>
            <a:off x="560269" y="1439889"/>
            <a:ext cx="484993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29" name="Subtitle 2">
            <a:extLst>
              <a:ext uri="{FF2B5EF4-FFF2-40B4-BE49-F238E27FC236}">
                <a16:creationId xmlns:a16="http://schemas.microsoft.com/office/drawing/2014/main" id="{DFE2800C-3264-DFD0-1B61-795D9B53A754}"/>
              </a:ext>
            </a:extLst>
          </p:cNvPr>
          <p:cNvSpPr>
            <a:spLocks noGrp="1"/>
          </p:cNvSpPr>
          <p:nvPr userDrawn="1">
            <p:ph type="subTitle" idx="1" hasCustomPrompt="1"/>
          </p:nvPr>
        </p:nvSpPr>
        <p:spPr>
          <a:xfrm>
            <a:off x="560269" y="4540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2" name="Text Placeholder 13">
            <a:extLst>
              <a:ext uri="{FF2B5EF4-FFF2-40B4-BE49-F238E27FC236}">
                <a16:creationId xmlns:a16="http://schemas.microsoft.com/office/drawing/2014/main" id="{CE9FDCA8-3195-EB6B-3573-2AC29DF674D5}"/>
              </a:ext>
            </a:extLst>
          </p:cNvPr>
          <p:cNvSpPr>
            <a:spLocks noGrp="1"/>
          </p:cNvSpPr>
          <p:nvPr>
            <p:ph type="body" sz="quarter" idx="17" hasCustomPrompt="1"/>
          </p:nvPr>
        </p:nvSpPr>
        <p:spPr>
          <a:xfrm>
            <a:off x="560269" y="490812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
        <p:nvSpPr>
          <p:cNvPr id="12" name="Picture Placeholder 11">
            <a:extLst>
              <a:ext uri="{FF2B5EF4-FFF2-40B4-BE49-F238E27FC236}">
                <a16:creationId xmlns:a16="http://schemas.microsoft.com/office/drawing/2014/main" id="{482DF647-410C-C773-40C6-3740D3DABBF5}"/>
              </a:ext>
            </a:extLst>
          </p:cNvPr>
          <p:cNvSpPr>
            <a:spLocks noGrp="1"/>
          </p:cNvSpPr>
          <p:nvPr>
            <p:ph type="pic" sz="quarter" idx="18" hasCustomPrompt="1"/>
          </p:nvPr>
        </p:nvSpPr>
        <p:spPr>
          <a:xfrm>
            <a:off x="5613173" y="228601"/>
            <a:ext cx="6578828" cy="6640527"/>
          </a:xfrm>
          <a:custGeom>
            <a:avLst/>
            <a:gdLst>
              <a:gd name="connsiteX0" fmla="*/ 3300844 w 6578828"/>
              <a:gd name="connsiteY0" fmla="*/ 0 h 6640527"/>
              <a:gd name="connsiteX1" fmla="*/ 6534626 w 6578828"/>
              <a:gd name="connsiteY1" fmla="*/ 2635602 h 6640527"/>
              <a:gd name="connsiteX2" fmla="*/ 6578828 w 6578828"/>
              <a:gd name="connsiteY2" fmla="*/ 2925223 h 6640527"/>
              <a:gd name="connsiteX3" fmla="*/ 6578828 w 6578828"/>
              <a:gd name="connsiteY3" fmla="*/ 6640527 h 6640527"/>
              <a:gd name="connsiteX4" fmla="*/ 0 w 6578828"/>
              <a:gd name="connsiteY4" fmla="*/ 6640527 h 6640527"/>
              <a:gd name="connsiteX5" fmla="*/ 0 w 6578828"/>
              <a:gd name="connsiteY5" fmla="*/ 3300836 h 6640527"/>
              <a:gd name="connsiteX6" fmla="*/ 3300844 w 6578828"/>
              <a:gd name="connsiteY6" fmla="*/ 0 h 664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828" h="6640527">
                <a:moveTo>
                  <a:pt x="3300844" y="0"/>
                </a:moveTo>
                <a:cubicBezTo>
                  <a:pt x="4895972" y="0"/>
                  <a:pt x="6226834" y="1131467"/>
                  <a:pt x="6534626" y="2635602"/>
                </a:cubicBezTo>
                <a:lnTo>
                  <a:pt x="6578828" y="2925223"/>
                </a:lnTo>
                <a:lnTo>
                  <a:pt x="6578828" y="6640527"/>
                </a:lnTo>
                <a:lnTo>
                  <a:pt x="0" y="6640527"/>
                </a:lnTo>
                <a:lnTo>
                  <a:pt x="0" y="3300836"/>
                </a:lnTo>
                <a:cubicBezTo>
                  <a:pt x="0" y="1477835"/>
                  <a:pt x="1477838" y="0"/>
                  <a:pt x="3300844" y="0"/>
                </a:cubicBezTo>
                <a:close/>
              </a:path>
            </a:pathLst>
          </a:custGeom>
          <a:blipFill>
            <a:blip r:embed="rId6"/>
            <a:stretch>
              <a:fillRect/>
            </a:stretch>
          </a:blipFill>
        </p:spPr>
        <p:txBody>
          <a:bodyPr wrap="square" lIns="2743200" anchor="ctr">
            <a:noAutofit/>
          </a:bodyPr>
          <a:lstStyle>
            <a:lvl1pPr marL="0" indent="0" algn="ctr">
              <a:buNone/>
              <a:defRPr sz="1800" b="1">
                <a:solidFill>
                  <a:srgbClr val="DA291C"/>
                </a:solidFill>
              </a:defRPr>
            </a:lvl1pPr>
          </a:lstStyle>
          <a:p>
            <a:r>
              <a:rPr lang="en-US"/>
              <a:t>Click to add image</a:t>
            </a:r>
          </a:p>
        </p:txBody>
      </p:sp>
      <p:sp>
        <p:nvSpPr>
          <p:cNvPr id="18" name="Text Placeholder 17">
            <a:extLst>
              <a:ext uri="{FF2B5EF4-FFF2-40B4-BE49-F238E27FC236}">
                <a16:creationId xmlns:a16="http://schemas.microsoft.com/office/drawing/2014/main" id="{938B34B3-0368-32E6-354C-562375978B29}"/>
              </a:ext>
            </a:extLst>
          </p:cNvPr>
          <p:cNvSpPr>
            <a:spLocks noGrp="1"/>
          </p:cNvSpPr>
          <p:nvPr>
            <p:ph type="body" sz="quarter" idx="19" hasCustomPrompt="1"/>
          </p:nvPr>
        </p:nvSpPr>
        <p:spPr>
          <a:xfrm>
            <a:off x="5613173" y="230124"/>
            <a:ext cx="4503594" cy="6639003"/>
          </a:xfrm>
          <a:custGeom>
            <a:avLst/>
            <a:gdLst>
              <a:gd name="connsiteX0" fmla="*/ 3294608 w 4500146"/>
              <a:gd name="connsiteY0" fmla="*/ 0 h 6639003"/>
              <a:gd name="connsiteX1" fmla="*/ 4274324 w 4500146"/>
              <a:gd name="connsiteY1" fmla="*/ 148119 h 6639003"/>
              <a:gd name="connsiteX2" fmla="*/ 4292992 w 4500146"/>
              <a:gd name="connsiteY2" fmla="*/ 154951 h 6639003"/>
              <a:gd name="connsiteX3" fmla="*/ 4369917 w 4500146"/>
              <a:gd name="connsiteY3" fmla="*/ 439307 h 6639003"/>
              <a:gd name="connsiteX4" fmla="*/ 4500146 w 4500146"/>
              <a:gd name="connsiteY4" fmla="*/ 1587856 h 6639003"/>
              <a:gd name="connsiteX5" fmla="*/ 188914 w 4500146"/>
              <a:gd name="connsiteY5" fmla="*/ 6614997 h 6639003"/>
              <a:gd name="connsiteX6" fmla="*/ 0 w 4500146"/>
              <a:gd name="connsiteY6" fmla="*/ 6639003 h 6639003"/>
              <a:gd name="connsiteX7" fmla="*/ 0 w 4500146"/>
              <a:gd name="connsiteY7" fmla="*/ 3294608 h 6639003"/>
              <a:gd name="connsiteX8" fmla="*/ 3294608 w 4500146"/>
              <a:gd name="connsiteY8" fmla="*/ 0 h 66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0146" h="6639003">
                <a:moveTo>
                  <a:pt x="3294608" y="0"/>
                </a:moveTo>
                <a:cubicBezTo>
                  <a:pt x="3635775" y="0"/>
                  <a:pt x="3964831" y="51858"/>
                  <a:pt x="4274324" y="148119"/>
                </a:cubicBezTo>
                <a:lnTo>
                  <a:pt x="4292992" y="154951"/>
                </a:lnTo>
                <a:lnTo>
                  <a:pt x="4369917" y="439307"/>
                </a:lnTo>
                <a:cubicBezTo>
                  <a:pt x="4455119" y="808405"/>
                  <a:pt x="4500146" y="1192873"/>
                  <a:pt x="4500146" y="1587856"/>
                </a:cubicBezTo>
                <a:cubicBezTo>
                  <a:pt x="4500146" y="4133310"/>
                  <a:pt x="2630101" y="6241992"/>
                  <a:pt x="188914" y="6614997"/>
                </a:cubicBezTo>
                <a:lnTo>
                  <a:pt x="0" y="6639003"/>
                </a:lnTo>
                <a:lnTo>
                  <a:pt x="0" y="3294608"/>
                </a:lnTo>
                <a:cubicBezTo>
                  <a:pt x="0" y="1475046"/>
                  <a:pt x="1475046" y="0"/>
                  <a:pt x="3294608" y="0"/>
                </a:cubicBezTo>
                <a:close/>
              </a:path>
            </a:pathLst>
          </a:custGeom>
          <a:solidFill>
            <a:srgbClr val="00CCFF">
              <a:alpha val="39000"/>
            </a:srgbClr>
          </a:solidFill>
          <a:ln w="661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FontTx/>
              <a:buNone/>
              <a:defRPr lang="en-US" sz="1600" dirty="0">
                <a:solidFill>
                  <a:schemeClr val="lt1"/>
                </a:solidFill>
              </a:defRPr>
            </a:lvl1pPr>
          </a:lstStyle>
          <a:p>
            <a:pPr marL="0" lvl="0"/>
            <a:r>
              <a:rPr lang="en-US"/>
              <a:t> </a:t>
            </a:r>
          </a:p>
        </p:txBody>
      </p:sp>
      <p:grpSp>
        <p:nvGrpSpPr>
          <p:cNvPr id="4" name="Group 3">
            <a:extLst>
              <a:ext uri="{FF2B5EF4-FFF2-40B4-BE49-F238E27FC236}">
                <a16:creationId xmlns:a16="http://schemas.microsoft.com/office/drawing/2014/main" id="{87DFB1FE-A94A-C0D4-791F-5C4B9545A076}"/>
              </a:ext>
            </a:extLst>
          </p:cNvPr>
          <p:cNvGrpSpPr/>
          <p:nvPr userDrawn="1"/>
        </p:nvGrpSpPr>
        <p:grpSpPr>
          <a:xfrm>
            <a:off x="12323965" y="3876462"/>
            <a:ext cx="2089689" cy="3212677"/>
            <a:chOff x="12323965" y="3876462"/>
            <a:chExt cx="2089689" cy="3212677"/>
          </a:xfrm>
        </p:grpSpPr>
        <p:sp>
          <p:nvSpPr>
            <p:cNvPr id="5" name="Rectangle 4">
              <a:extLst>
                <a:ext uri="{FF2B5EF4-FFF2-40B4-BE49-F238E27FC236}">
                  <a16:creationId xmlns:a16="http://schemas.microsoft.com/office/drawing/2014/main" id="{7B0E6870-3261-095A-B321-67A98DC706A1}"/>
                </a:ext>
              </a:extLst>
            </p:cNvPr>
            <p:cNvSpPr/>
            <p:nvPr/>
          </p:nvSpPr>
          <p:spPr>
            <a:xfrm>
              <a:off x="12323965" y="3876462"/>
              <a:ext cx="2089689" cy="3212677"/>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spcBef>
                  <a:spcPts val="600"/>
                </a:spcBef>
              </a:pPr>
              <a:r>
                <a:rPr lang="en-US" sz="900" b="1"/>
                <a:t>Instructions to change the image follow below steps:</a:t>
              </a:r>
            </a:p>
            <a:p>
              <a:pPr marL="182880" indent="-182880" algn="l">
                <a:spcBef>
                  <a:spcPts val="600"/>
                </a:spcBef>
                <a:buFont typeface="Arial" panose="020B0604020202020204" pitchFamily="34" charset="0"/>
                <a:buChar char="•"/>
              </a:pPr>
              <a:r>
                <a:rPr lang="en-US" sz="900" b="1"/>
                <a:t>Step 1:</a:t>
              </a:r>
              <a:r>
                <a:rPr lang="en-US" sz="900"/>
                <a:t> Please move the masked shapes from top of the image placeholder</a:t>
              </a:r>
            </a:p>
            <a:p>
              <a:pPr marL="182880" indent="-182880" algn="l">
                <a:spcBef>
                  <a:spcPts val="600"/>
                </a:spcBef>
                <a:buFont typeface="Arial" panose="020B0604020202020204" pitchFamily="34" charset="0"/>
                <a:buChar char="•"/>
              </a:pPr>
              <a:r>
                <a:rPr lang="en-US" sz="900" b="1"/>
                <a:t>Step 2:</a:t>
              </a:r>
              <a:r>
                <a:rPr lang="en-US" sz="900"/>
                <a:t> Click on the </a:t>
              </a:r>
              <a:br>
                <a:rPr lang="en-US" sz="900"/>
              </a:br>
              <a:r>
                <a:rPr lang="en-US" sz="900"/>
                <a:t>image icon </a:t>
              </a:r>
            </a:p>
            <a:p>
              <a:pPr marL="182880" indent="-182880" algn="l">
                <a:spcBef>
                  <a:spcPts val="600"/>
                </a:spcBef>
                <a:buFont typeface="Arial" panose="020B0604020202020204" pitchFamily="34" charset="0"/>
                <a:buChar char="•"/>
              </a:pPr>
              <a:r>
                <a:rPr lang="en-US" sz="900" b="1"/>
                <a:t>Step 3:</a:t>
              </a:r>
              <a:r>
                <a:rPr lang="en-US" sz="900"/>
                <a:t> Select the image to be replaced and then click on Insert option</a:t>
              </a:r>
            </a:p>
            <a:p>
              <a:pPr marL="182880" indent="-182880" algn="l">
                <a:spcBef>
                  <a:spcPts val="600"/>
                </a:spcBef>
                <a:buFont typeface="Arial" panose="020B0604020202020204" pitchFamily="34" charset="0"/>
                <a:buChar char="•"/>
              </a:pPr>
              <a:r>
                <a:rPr lang="en-US" sz="900" b="1"/>
                <a:t>Step 4:</a:t>
              </a:r>
              <a:r>
                <a:rPr lang="en-US" sz="900"/>
                <a:t> Once the image is replaced, Goto </a:t>
              </a:r>
              <a:br>
                <a:rPr lang="en-US" sz="900"/>
              </a:br>
              <a:r>
                <a:rPr lang="en-US" sz="900"/>
                <a:t>Home =&gt; Reset option</a:t>
              </a:r>
            </a:p>
            <a:p>
              <a:pPr marL="182880" indent="-182880" algn="l">
                <a:spcBef>
                  <a:spcPts val="600"/>
                </a:spcBef>
                <a:buFont typeface="Arial" panose="020B0604020202020204" pitchFamily="34" charset="0"/>
                <a:buChar char="•"/>
              </a:pPr>
              <a:endParaRPr lang="en-US" sz="900" b="1"/>
            </a:p>
            <a:p>
              <a:pPr marL="182880" indent="-182880" algn="l">
                <a:spcBef>
                  <a:spcPts val="600"/>
                </a:spcBef>
                <a:buFont typeface="Arial" panose="020B0604020202020204" pitchFamily="34" charset="0"/>
                <a:buChar char="•"/>
              </a:pPr>
              <a:endParaRPr lang="en-US" sz="1800" b="1"/>
            </a:p>
            <a:p>
              <a:pPr marL="182880" indent="-182880" algn="l">
                <a:spcBef>
                  <a:spcPts val="600"/>
                </a:spcBef>
                <a:buFont typeface="Arial" panose="020B0604020202020204" pitchFamily="34" charset="0"/>
                <a:buChar char="•"/>
              </a:pPr>
              <a:r>
                <a:rPr lang="en-US" sz="900" b="1"/>
                <a:t>Step 5:</a:t>
              </a:r>
              <a:r>
                <a:rPr lang="en-US" sz="900"/>
                <a:t> Shape/masked  layers will be readjusted on the slide and ready to use</a:t>
              </a:r>
            </a:p>
          </p:txBody>
        </p:sp>
        <p:pic>
          <p:nvPicPr>
            <p:cNvPr id="7" name="Picture 6">
              <a:extLst>
                <a:ext uri="{FF2B5EF4-FFF2-40B4-BE49-F238E27FC236}">
                  <a16:creationId xmlns:a16="http://schemas.microsoft.com/office/drawing/2014/main" id="{9505BC31-83DC-8219-3B50-26F7C3FEA91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694135" y="4756344"/>
              <a:ext cx="197126" cy="174381"/>
            </a:xfrm>
            <a:prstGeom prst="rect">
              <a:avLst/>
            </a:prstGeom>
          </p:spPr>
        </p:pic>
        <p:pic>
          <p:nvPicPr>
            <p:cNvPr id="8" name="Picture 7">
              <a:extLst>
                <a:ext uri="{FF2B5EF4-FFF2-40B4-BE49-F238E27FC236}">
                  <a16:creationId xmlns:a16="http://schemas.microsoft.com/office/drawing/2014/main" id="{3A379D4B-C3C7-CD49-FA0E-989690181403}"/>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13834532" y="5786295"/>
              <a:ext cx="491067" cy="213105"/>
            </a:xfrm>
            <a:custGeom>
              <a:avLst/>
              <a:gdLst>
                <a:gd name="connsiteX0" fmla="*/ 0 w 538480"/>
                <a:gd name="connsiteY0" fmla="*/ 0 h 233680"/>
                <a:gd name="connsiteX1" fmla="*/ 538480 w 538480"/>
                <a:gd name="connsiteY1" fmla="*/ 0 h 233680"/>
                <a:gd name="connsiteX2" fmla="*/ 538480 w 538480"/>
                <a:gd name="connsiteY2" fmla="*/ 233680 h 233680"/>
                <a:gd name="connsiteX3" fmla="*/ 0 w 538480"/>
                <a:gd name="connsiteY3" fmla="*/ 233680 h 233680"/>
              </a:gdLst>
              <a:ahLst/>
              <a:cxnLst>
                <a:cxn ang="0">
                  <a:pos x="connsiteX0" y="connsiteY0"/>
                </a:cxn>
                <a:cxn ang="0">
                  <a:pos x="connsiteX1" y="connsiteY1"/>
                </a:cxn>
                <a:cxn ang="0">
                  <a:pos x="connsiteX2" y="connsiteY2"/>
                </a:cxn>
                <a:cxn ang="0">
                  <a:pos x="connsiteX3" y="connsiteY3"/>
                </a:cxn>
              </a:cxnLst>
              <a:rect l="l" t="t" r="r" b="b"/>
              <a:pathLst>
                <a:path w="538480" h="233680">
                  <a:moveTo>
                    <a:pt x="0" y="0"/>
                  </a:moveTo>
                  <a:lnTo>
                    <a:pt x="538480" y="0"/>
                  </a:lnTo>
                  <a:lnTo>
                    <a:pt x="538480" y="233680"/>
                  </a:lnTo>
                  <a:lnTo>
                    <a:pt x="0" y="233680"/>
                  </a:lnTo>
                  <a:close/>
                </a:path>
              </a:pathLst>
            </a:custGeom>
          </p:spPr>
        </p:pic>
        <p:grpSp>
          <p:nvGrpSpPr>
            <p:cNvPr id="9" name="Group 8">
              <a:extLst>
                <a:ext uri="{FF2B5EF4-FFF2-40B4-BE49-F238E27FC236}">
                  <a16:creationId xmlns:a16="http://schemas.microsoft.com/office/drawing/2014/main" id="{F14F7A43-E231-B2DD-7C56-325306C5A58E}"/>
                </a:ext>
              </a:extLst>
            </p:cNvPr>
            <p:cNvGrpSpPr/>
            <p:nvPr userDrawn="1"/>
          </p:nvGrpSpPr>
          <p:grpSpPr>
            <a:xfrm>
              <a:off x="12598400" y="6054514"/>
              <a:ext cx="833967" cy="541456"/>
              <a:chOff x="12585700" y="6121400"/>
              <a:chExt cx="833967" cy="541456"/>
            </a:xfrm>
          </p:grpSpPr>
          <p:pic>
            <p:nvPicPr>
              <p:cNvPr id="10" name="Picture 2">
                <a:extLst>
                  <a:ext uri="{FF2B5EF4-FFF2-40B4-BE49-F238E27FC236}">
                    <a16:creationId xmlns:a16="http://schemas.microsoft.com/office/drawing/2014/main" id="{DA8CDA6C-33DE-7DA5-2FC4-101719833C11}"/>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a:fillRect/>
              </a:stretch>
            </p:blipFill>
            <p:spPr bwMode="auto">
              <a:xfrm>
                <a:off x="12585700" y="6121400"/>
                <a:ext cx="833967" cy="54145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064EAE76-C99C-DCF0-0A9D-6EBBCD91A6D6}"/>
                  </a:ext>
                </a:extLst>
              </p:cNvPr>
              <p:cNvSpPr/>
              <p:nvPr/>
            </p:nvSpPr>
            <p:spPr>
              <a:xfrm>
                <a:off x="12699270" y="6154738"/>
                <a:ext cx="226156" cy="91385"/>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13">
                <a:extLst>
                  <a:ext uri="{FF2B5EF4-FFF2-40B4-BE49-F238E27FC236}">
                    <a16:creationId xmlns:a16="http://schemas.microsoft.com/office/drawing/2014/main" id="{12DF30C2-480A-0D4C-6711-119E51DC8804}"/>
                  </a:ext>
                </a:extLst>
              </p:cNvPr>
              <p:cNvSpPr/>
              <p:nvPr userDrawn="1"/>
            </p:nvSpPr>
            <p:spPr>
              <a:xfrm>
                <a:off x="13179219" y="6412700"/>
                <a:ext cx="147839" cy="102400"/>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grpSp>
    </p:spTree>
    <p:extLst>
      <p:ext uri="{BB962C8B-B14F-4D97-AF65-F5344CB8AC3E}">
        <p14:creationId xmlns:p14="http://schemas.microsoft.com/office/powerpoint/2010/main" val="1064259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EBE655-8CD4-3111-DF6A-4F3DB7213B75}"/>
              </a:ext>
            </a:extLst>
          </p:cNvPr>
          <p:cNvGraphicFramePr>
            <a:graphicFrameLocks noChangeAspect="1"/>
          </p:cNvGraphicFramePr>
          <p:nvPr>
            <p:custDataLst>
              <p:tags r:id="rId1"/>
            </p:custDataLst>
            <p:extLst>
              <p:ext uri="{D42A27DB-BD31-4B8C-83A1-F6EECF244321}">
                <p14:modId xmlns:p14="http://schemas.microsoft.com/office/powerpoint/2010/main" val="134594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DEBE655-8CD4-3111-DF6A-4F3DB7213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89318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F4ACCC-7F14-F438-ACE2-3F9BADE4A0E8}"/>
              </a:ext>
            </a:extLst>
          </p:cNvPr>
          <p:cNvGraphicFramePr>
            <a:graphicFrameLocks noChangeAspect="1"/>
          </p:cNvGraphicFramePr>
          <p:nvPr>
            <p:custDataLst>
              <p:tags r:id="rId1"/>
            </p:custDataLst>
            <p:extLst>
              <p:ext uri="{D42A27DB-BD31-4B8C-83A1-F6EECF244321}">
                <p14:modId xmlns:p14="http://schemas.microsoft.com/office/powerpoint/2010/main" val="207565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35F4ACCC-7F14-F438-ACE2-3F9BADE4A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a:defRPr sz="2800" b="1">
                <a:solidFill>
                  <a:schemeClr val="tx1"/>
                </a:solidFill>
                <a:latin typeface="+mj-lt"/>
              </a:defRPr>
            </a:lvl1pPr>
          </a:lstStyle>
          <a:p>
            <a:r>
              <a:rPr lang="en-US"/>
              <a:t>Headlines are 28pt Noto Sans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52910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F36D22-2A16-B58B-E2E7-CC2E4CF2DC3C}"/>
              </a:ext>
            </a:extLst>
          </p:cNvPr>
          <p:cNvGraphicFramePr>
            <a:graphicFrameLocks noChangeAspect="1"/>
          </p:cNvGraphicFramePr>
          <p:nvPr>
            <p:custDataLst>
              <p:tags r:id="rId1"/>
            </p:custDataLst>
            <p:extLst>
              <p:ext uri="{D42A27DB-BD31-4B8C-83A1-F6EECF244321}">
                <p14:modId xmlns:p14="http://schemas.microsoft.com/office/powerpoint/2010/main" val="53233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A7F36D22-2A16-B58B-E2E7-CC2E4CF2DC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89574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09707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spTree>
    <p:extLst>
      <p:ext uri="{BB962C8B-B14F-4D97-AF65-F5344CB8AC3E}">
        <p14:creationId xmlns:p14="http://schemas.microsoft.com/office/powerpoint/2010/main" val="199461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able of Contents-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p:custDataLst>
              <p:tags r:id="rId1"/>
            </p:custDataLst>
            <p:extLst>
              <p:ext uri="{D42A27DB-BD31-4B8C-83A1-F6EECF244321}">
                <p14:modId xmlns:p14="http://schemas.microsoft.com/office/powerpoint/2010/main" val="81769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CE108673-A841-F2DC-4C63-9BA3E20F4525}"/>
              </a:ext>
            </a:extLst>
          </p:cNvPr>
          <p:cNvSpPr>
            <a:spLocks noGrp="1"/>
          </p:cNvSpPr>
          <p:nvPr>
            <p:ph type="pic" sz="quarter" idx="14" hasCustomPrompt="1"/>
          </p:nvPr>
        </p:nvSpPr>
        <p:spPr>
          <a:xfrm>
            <a:off x="0" y="0"/>
            <a:ext cx="1304263" cy="2595880"/>
          </a:xfrm>
          <a:custGeom>
            <a:avLst/>
            <a:gdLst>
              <a:gd name="connsiteX0" fmla="*/ 0 w 1304263"/>
              <a:gd name="connsiteY0" fmla="*/ 0 h 2595880"/>
              <a:gd name="connsiteX1" fmla="*/ 6322 w 1304263"/>
              <a:gd name="connsiteY1" fmla="*/ 0 h 2595880"/>
              <a:gd name="connsiteX2" fmla="*/ 1304263 w 1304263"/>
              <a:gd name="connsiteY2" fmla="*/ 1297940 h 2595880"/>
              <a:gd name="connsiteX3" fmla="*/ 1304263 w 1304263"/>
              <a:gd name="connsiteY3" fmla="*/ 1297940 h 2595880"/>
              <a:gd name="connsiteX4" fmla="*/ 6322 w 1304263"/>
              <a:gd name="connsiteY4" fmla="*/ 2595880 h 2595880"/>
              <a:gd name="connsiteX5" fmla="*/ 0 w 1304263"/>
              <a:gd name="connsiteY5" fmla="*/ 2595880 h 25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263" h="2595880">
                <a:moveTo>
                  <a:pt x="0" y="0"/>
                </a:moveTo>
                <a:lnTo>
                  <a:pt x="6322" y="0"/>
                </a:lnTo>
                <a:cubicBezTo>
                  <a:pt x="723155" y="0"/>
                  <a:pt x="1304263" y="581108"/>
                  <a:pt x="1304263" y="1297940"/>
                </a:cubicBezTo>
                <a:lnTo>
                  <a:pt x="1304263" y="1297940"/>
                </a:lnTo>
                <a:cubicBezTo>
                  <a:pt x="1304263" y="2014773"/>
                  <a:pt x="723155" y="2595880"/>
                  <a:pt x="6322" y="2595880"/>
                </a:cubicBezTo>
                <a:lnTo>
                  <a:pt x="0" y="2595880"/>
                </a:ln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7237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able of Contents-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p:custDataLst>
              <p:tags r:id="rId1"/>
            </p:custDataLst>
            <p:extLst>
              <p:ext uri="{D42A27DB-BD31-4B8C-83A1-F6EECF244321}">
                <p14:modId xmlns:p14="http://schemas.microsoft.com/office/powerpoint/2010/main" val="392256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3" name="Freeform: Shape 32">
            <a:extLst>
              <a:ext uri="{FF2B5EF4-FFF2-40B4-BE49-F238E27FC236}">
                <a16:creationId xmlns:a16="http://schemas.microsoft.com/office/drawing/2014/main" id="{9123A0F2-7503-B8DD-283A-DEA0EB4EB5EA}"/>
              </a:ext>
            </a:extLst>
          </p:cNvPr>
          <p:cNvSpPr/>
          <p:nvPr/>
        </p:nvSpPr>
        <p:spPr>
          <a:xfrm rot="18900000" flipH="1">
            <a:off x="-594083" y="523938"/>
            <a:ext cx="1527403" cy="2007154"/>
          </a:xfrm>
          <a:custGeom>
            <a:avLst/>
            <a:gdLst>
              <a:gd name="connsiteX0" fmla="*/ 0 w 1527403"/>
              <a:gd name="connsiteY0" fmla="*/ 0 h 2007154"/>
              <a:gd name="connsiteX1" fmla="*/ 0 w 1527403"/>
              <a:gd name="connsiteY1" fmla="*/ 1210251 h 2007154"/>
              <a:gd name="connsiteX2" fmla="*/ 796903 w 1527403"/>
              <a:gd name="connsiteY2" fmla="*/ 2007154 h 2007154"/>
              <a:gd name="connsiteX3" fmla="*/ 1457708 w 1527403"/>
              <a:gd name="connsiteY3" fmla="*/ 1655807 h 2007154"/>
              <a:gd name="connsiteX4" fmla="*/ 1527403 w 1527403"/>
              <a:gd name="connsiteY4" fmla="*/ 1527403 h 200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403" h="2007154">
                <a:moveTo>
                  <a:pt x="0" y="0"/>
                </a:moveTo>
                <a:lnTo>
                  <a:pt x="0" y="1210251"/>
                </a:lnTo>
                <a:cubicBezTo>
                  <a:pt x="0" y="1650368"/>
                  <a:pt x="356786" y="2007154"/>
                  <a:pt x="796903" y="2007154"/>
                </a:cubicBezTo>
                <a:cubicBezTo>
                  <a:pt x="1071976" y="2007154"/>
                  <a:pt x="1314498" y="1867785"/>
                  <a:pt x="1457708" y="1655807"/>
                </a:cubicBezTo>
                <a:lnTo>
                  <a:pt x="1527403" y="152740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2" name="Freeform: Shape 31">
            <a:extLst>
              <a:ext uri="{FF2B5EF4-FFF2-40B4-BE49-F238E27FC236}">
                <a16:creationId xmlns:a16="http://schemas.microsoft.com/office/drawing/2014/main" id="{301576D0-87DC-3682-FFCD-2F2E6A1F2A94}"/>
              </a:ext>
            </a:extLst>
          </p:cNvPr>
          <p:cNvSpPr/>
          <p:nvPr/>
        </p:nvSpPr>
        <p:spPr>
          <a:xfrm rot="18900000" flipH="1">
            <a:off x="142114" y="2067490"/>
            <a:ext cx="592131" cy="1831489"/>
          </a:xfrm>
          <a:custGeom>
            <a:avLst/>
            <a:gdLst>
              <a:gd name="connsiteX0" fmla="*/ 0 w 592131"/>
              <a:gd name="connsiteY0" fmla="*/ 0 h 1831489"/>
              <a:gd name="connsiteX1" fmla="*/ 0 w 592131"/>
              <a:gd name="connsiteY1" fmla="*/ 1535422 h 1831489"/>
              <a:gd name="connsiteX2" fmla="*/ 296066 w 592131"/>
              <a:gd name="connsiteY2" fmla="*/ 1831488 h 1831489"/>
              <a:gd name="connsiteX3" fmla="*/ 296065 w 592131"/>
              <a:gd name="connsiteY3" fmla="*/ 1831489 h 1831489"/>
              <a:gd name="connsiteX4" fmla="*/ 592131 w 592131"/>
              <a:gd name="connsiteY4" fmla="*/ 1535423 h 1831489"/>
              <a:gd name="connsiteX5" fmla="*/ 592131 w 592131"/>
              <a:gd name="connsiteY5" fmla="*/ 592131 h 18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131" h="1831489">
                <a:moveTo>
                  <a:pt x="0" y="0"/>
                </a:moveTo>
                <a:lnTo>
                  <a:pt x="0" y="1535422"/>
                </a:lnTo>
                <a:cubicBezTo>
                  <a:pt x="0" y="1698935"/>
                  <a:pt x="132553" y="1831488"/>
                  <a:pt x="296066" y="1831488"/>
                </a:cubicBezTo>
                <a:lnTo>
                  <a:pt x="296065" y="1831489"/>
                </a:lnTo>
                <a:cubicBezTo>
                  <a:pt x="459578" y="1831489"/>
                  <a:pt x="592131" y="1698936"/>
                  <a:pt x="592131" y="1535423"/>
                </a:cubicBezTo>
                <a:lnTo>
                  <a:pt x="592131" y="59213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1" name="Freeform: Shape 40">
            <a:extLst>
              <a:ext uri="{FF2B5EF4-FFF2-40B4-BE49-F238E27FC236}">
                <a16:creationId xmlns:a16="http://schemas.microsoft.com/office/drawing/2014/main" id="{46560C56-9182-2FB8-A10A-9F4D9E9AE16F}"/>
              </a:ext>
            </a:extLst>
          </p:cNvPr>
          <p:cNvSpPr/>
          <p:nvPr/>
        </p:nvSpPr>
        <p:spPr>
          <a:xfrm rot="18900000" flipH="1">
            <a:off x="-769846" y="488813"/>
            <a:ext cx="2386628" cy="2423999"/>
          </a:xfrm>
          <a:custGeom>
            <a:avLst/>
            <a:gdLst>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6" fmla="*/ 381533 w 2386628"/>
              <a:gd name="connsiteY6" fmla="*/ 91440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0 w 2386628"/>
              <a:gd name="connsiteY0" fmla="*/ 0 h 2423999"/>
              <a:gd name="connsiteX1" fmla="*/ 0 w 2386628"/>
              <a:gd name="connsiteY1" fmla="*/ 1133718 h 2423999"/>
              <a:gd name="connsiteX2" fmla="*/ 1290281 w 2386628"/>
              <a:gd name="connsiteY2" fmla="*/ 2423999 h 2423999"/>
              <a:gd name="connsiteX3" fmla="*/ 2360202 w 2386628"/>
              <a:gd name="connsiteY3" fmla="*/ 1855127 h 2423999"/>
              <a:gd name="connsiteX4" fmla="*/ 2386628 w 2386628"/>
              <a:gd name="connsiteY4" fmla="*/ 1806441 h 2423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628" h="2423999">
                <a:moveTo>
                  <a:pt x="0" y="0"/>
                </a:moveTo>
                <a:lnTo>
                  <a:pt x="0" y="1133718"/>
                </a:lnTo>
                <a:cubicBezTo>
                  <a:pt x="0" y="1846321"/>
                  <a:pt x="577678" y="2423999"/>
                  <a:pt x="1290281" y="2423999"/>
                </a:cubicBezTo>
                <a:cubicBezTo>
                  <a:pt x="1735658" y="2423999"/>
                  <a:pt x="2128330" y="2198344"/>
                  <a:pt x="2360202" y="1855127"/>
                </a:cubicBezTo>
                <a:lnTo>
                  <a:pt x="2386628" y="1806441"/>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429121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able of Contents_Two Column-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p:custDataLst>
              <p:tags r:id="rId1"/>
            </p:custDataLst>
            <p:extLst>
              <p:ext uri="{D42A27DB-BD31-4B8C-83A1-F6EECF244321}">
                <p14:modId xmlns:p14="http://schemas.microsoft.com/office/powerpoint/2010/main" val="512648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2" name="Content Placeholder 2">
            <a:extLst>
              <a:ext uri="{FF2B5EF4-FFF2-40B4-BE49-F238E27FC236}">
                <a16:creationId xmlns:a16="http://schemas.microsoft.com/office/drawing/2014/main" id="{FB18EDB9-5623-FD23-8C0E-AA29EDA7A30A}"/>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4" name="Content Placeholder 2">
            <a:extLst>
              <a:ext uri="{FF2B5EF4-FFF2-40B4-BE49-F238E27FC236}">
                <a16:creationId xmlns:a16="http://schemas.microsoft.com/office/drawing/2014/main" id="{F3149A18-341D-DEE9-36AF-B20C2CF51C83}"/>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 name="Picture Placeholder 4">
            <a:extLst>
              <a:ext uri="{FF2B5EF4-FFF2-40B4-BE49-F238E27FC236}">
                <a16:creationId xmlns:a16="http://schemas.microsoft.com/office/drawing/2014/main" id="{6D3F2401-B526-950D-C991-D2062E340CC8}"/>
              </a:ext>
            </a:extLst>
          </p:cNvPr>
          <p:cNvSpPr>
            <a:spLocks noGrp="1"/>
          </p:cNvSpPr>
          <p:nvPr>
            <p:ph type="pic" sz="quarter" idx="14" hasCustomPrompt="1"/>
          </p:nvPr>
        </p:nvSpPr>
        <p:spPr>
          <a:xfrm>
            <a:off x="0" y="0"/>
            <a:ext cx="1304263" cy="2595880"/>
          </a:xfrm>
          <a:custGeom>
            <a:avLst/>
            <a:gdLst>
              <a:gd name="connsiteX0" fmla="*/ 0 w 1304263"/>
              <a:gd name="connsiteY0" fmla="*/ 0 h 2595880"/>
              <a:gd name="connsiteX1" fmla="*/ 6322 w 1304263"/>
              <a:gd name="connsiteY1" fmla="*/ 0 h 2595880"/>
              <a:gd name="connsiteX2" fmla="*/ 1304263 w 1304263"/>
              <a:gd name="connsiteY2" fmla="*/ 1297940 h 2595880"/>
              <a:gd name="connsiteX3" fmla="*/ 1304263 w 1304263"/>
              <a:gd name="connsiteY3" fmla="*/ 1297940 h 2595880"/>
              <a:gd name="connsiteX4" fmla="*/ 6322 w 1304263"/>
              <a:gd name="connsiteY4" fmla="*/ 2595880 h 2595880"/>
              <a:gd name="connsiteX5" fmla="*/ 0 w 1304263"/>
              <a:gd name="connsiteY5" fmla="*/ 2595880 h 25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263" h="2595880">
                <a:moveTo>
                  <a:pt x="0" y="0"/>
                </a:moveTo>
                <a:lnTo>
                  <a:pt x="6322" y="0"/>
                </a:lnTo>
                <a:cubicBezTo>
                  <a:pt x="723155" y="0"/>
                  <a:pt x="1304263" y="581108"/>
                  <a:pt x="1304263" y="1297940"/>
                </a:cubicBezTo>
                <a:lnTo>
                  <a:pt x="1304263" y="1297940"/>
                </a:lnTo>
                <a:cubicBezTo>
                  <a:pt x="1304263" y="2014773"/>
                  <a:pt x="723155" y="2595880"/>
                  <a:pt x="6322" y="2595880"/>
                </a:cubicBezTo>
                <a:lnTo>
                  <a:pt x="0" y="2595880"/>
                </a:lnTo>
                <a:close/>
              </a:path>
            </a:pathLst>
          </a:cu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28144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able of Contents_Two Column-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p:custDataLst>
              <p:tags r:id="rId1"/>
            </p:custDataLst>
            <p:extLst>
              <p:ext uri="{D42A27DB-BD31-4B8C-83A1-F6EECF244321}">
                <p14:modId xmlns:p14="http://schemas.microsoft.com/office/powerpoint/2010/main" val="63452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3" name="Freeform: Shape 32">
            <a:extLst>
              <a:ext uri="{FF2B5EF4-FFF2-40B4-BE49-F238E27FC236}">
                <a16:creationId xmlns:a16="http://schemas.microsoft.com/office/drawing/2014/main" id="{9123A0F2-7503-B8DD-283A-DEA0EB4EB5EA}"/>
              </a:ext>
            </a:extLst>
          </p:cNvPr>
          <p:cNvSpPr/>
          <p:nvPr/>
        </p:nvSpPr>
        <p:spPr>
          <a:xfrm rot="18900000" flipH="1">
            <a:off x="-594083" y="523938"/>
            <a:ext cx="1527403" cy="2007154"/>
          </a:xfrm>
          <a:custGeom>
            <a:avLst/>
            <a:gdLst>
              <a:gd name="connsiteX0" fmla="*/ 0 w 1527403"/>
              <a:gd name="connsiteY0" fmla="*/ 0 h 2007154"/>
              <a:gd name="connsiteX1" fmla="*/ 0 w 1527403"/>
              <a:gd name="connsiteY1" fmla="*/ 1210251 h 2007154"/>
              <a:gd name="connsiteX2" fmla="*/ 796903 w 1527403"/>
              <a:gd name="connsiteY2" fmla="*/ 2007154 h 2007154"/>
              <a:gd name="connsiteX3" fmla="*/ 1457708 w 1527403"/>
              <a:gd name="connsiteY3" fmla="*/ 1655807 h 2007154"/>
              <a:gd name="connsiteX4" fmla="*/ 1527403 w 1527403"/>
              <a:gd name="connsiteY4" fmla="*/ 1527403 h 200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403" h="2007154">
                <a:moveTo>
                  <a:pt x="0" y="0"/>
                </a:moveTo>
                <a:lnTo>
                  <a:pt x="0" y="1210251"/>
                </a:lnTo>
                <a:cubicBezTo>
                  <a:pt x="0" y="1650368"/>
                  <a:pt x="356786" y="2007154"/>
                  <a:pt x="796903" y="2007154"/>
                </a:cubicBezTo>
                <a:cubicBezTo>
                  <a:pt x="1071976" y="2007154"/>
                  <a:pt x="1314498" y="1867785"/>
                  <a:pt x="1457708" y="1655807"/>
                </a:cubicBezTo>
                <a:lnTo>
                  <a:pt x="1527403" y="152740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2" name="Freeform: Shape 31">
            <a:extLst>
              <a:ext uri="{FF2B5EF4-FFF2-40B4-BE49-F238E27FC236}">
                <a16:creationId xmlns:a16="http://schemas.microsoft.com/office/drawing/2014/main" id="{301576D0-87DC-3682-FFCD-2F2E6A1F2A94}"/>
              </a:ext>
            </a:extLst>
          </p:cNvPr>
          <p:cNvSpPr/>
          <p:nvPr/>
        </p:nvSpPr>
        <p:spPr>
          <a:xfrm rot="18900000" flipH="1">
            <a:off x="142114" y="2067490"/>
            <a:ext cx="592131" cy="1831489"/>
          </a:xfrm>
          <a:custGeom>
            <a:avLst/>
            <a:gdLst>
              <a:gd name="connsiteX0" fmla="*/ 0 w 592131"/>
              <a:gd name="connsiteY0" fmla="*/ 0 h 1831489"/>
              <a:gd name="connsiteX1" fmla="*/ 0 w 592131"/>
              <a:gd name="connsiteY1" fmla="*/ 1535422 h 1831489"/>
              <a:gd name="connsiteX2" fmla="*/ 296066 w 592131"/>
              <a:gd name="connsiteY2" fmla="*/ 1831488 h 1831489"/>
              <a:gd name="connsiteX3" fmla="*/ 296065 w 592131"/>
              <a:gd name="connsiteY3" fmla="*/ 1831489 h 1831489"/>
              <a:gd name="connsiteX4" fmla="*/ 592131 w 592131"/>
              <a:gd name="connsiteY4" fmla="*/ 1535423 h 1831489"/>
              <a:gd name="connsiteX5" fmla="*/ 592131 w 592131"/>
              <a:gd name="connsiteY5" fmla="*/ 592131 h 18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131" h="1831489">
                <a:moveTo>
                  <a:pt x="0" y="0"/>
                </a:moveTo>
                <a:lnTo>
                  <a:pt x="0" y="1535422"/>
                </a:lnTo>
                <a:cubicBezTo>
                  <a:pt x="0" y="1698935"/>
                  <a:pt x="132553" y="1831488"/>
                  <a:pt x="296066" y="1831488"/>
                </a:cubicBezTo>
                <a:lnTo>
                  <a:pt x="296065" y="1831489"/>
                </a:lnTo>
                <a:cubicBezTo>
                  <a:pt x="459578" y="1831489"/>
                  <a:pt x="592131" y="1698936"/>
                  <a:pt x="592131" y="1535423"/>
                </a:cubicBezTo>
                <a:lnTo>
                  <a:pt x="592131" y="59213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1" name="Freeform: Shape 40">
            <a:extLst>
              <a:ext uri="{FF2B5EF4-FFF2-40B4-BE49-F238E27FC236}">
                <a16:creationId xmlns:a16="http://schemas.microsoft.com/office/drawing/2014/main" id="{46560C56-9182-2FB8-A10A-9F4D9E9AE16F}"/>
              </a:ext>
            </a:extLst>
          </p:cNvPr>
          <p:cNvSpPr/>
          <p:nvPr/>
        </p:nvSpPr>
        <p:spPr>
          <a:xfrm rot="18900000" flipH="1">
            <a:off x="-769846" y="488813"/>
            <a:ext cx="2386628" cy="2423999"/>
          </a:xfrm>
          <a:custGeom>
            <a:avLst/>
            <a:gdLst>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6" fmla="*/ 381533 w 2386628"/>
              <a:gd name="connsiteY6" fmla="*/ 91440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0 w 2386628"/>
              <a:gd name="connsiteY0" fmla="*/ 0 h 2423999"/>
              <a:gd name="connsiteX1" fmla="*/ 0 w 2386628"/>
              <a:gd name="connsiteY1" fmla="*/ 1133718 h 2423999"/>
              <a:gd name="connsiteX2" fmla="*/ 1290281 w 2386628"/>
              <a:gd name="connsiteY2" fmla="*/ 2423999 h 2423999"/>
              <a:gd name="connsiteX3" fmla="*/ 2360202 w 2386628"/>
              <a:gd name="connsiteY3" fmla="*/ 1855127 h 2423999"/>
              <a:gd name="connsiteX4" fmla="*/ 2386628 w 2386628"/>
              <a:gd name="connsiteY4" fmla="*/ 1806441 h 2423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628" h="2423999">
                <a:moveTo>
                  <a:pt x="0" y="0"/>
                </a:moveTo>
                <a:lnTo>
                  <a:pt x="0" y="1133718"/>
                </a:lnTo>
                <a:cubicBezTo>
                  <a:pt x="0" y="1846321"/>
                  <a:pt x="577678" y="2423999"/>
                  <a:pt x="1290281" y="2423999"/>
                </a:cubicBezTo>
                <a:cubicBezTo>
                  <a:pt x="1735658" y="2423999"/>
                  <a:pt x="2128330" y="2198344"/>
                  <a:pt x="2360202" y="1855127"/>
                </a:cubicBezTo>
                <a:lnTo>
                  <a:pt x="2386628" y="1806441"/>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Content Placeholder 2">
            <a:extLst>
              <a:ext uri="{FF2B5EF4-FFF2-40B4-BE49-F238E27FC236}">
                <a16:creationId xmlns:a16="http://schemas.microsoft.com/office/drawing/2014/main" id="{84E2E184-492C-929D-E003-357173179E17}"/>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4" name="Content Placeholder 2">
            <a:extLst>
              <a:ext uri="{FF2B5EF4-FFF2-40B4-BE49-F238E27FC236}">
                <a16:creationId xmlns:a16="http://schemas.microsoft.com/office/drawing/2014/main" id="{3FA0240A-CFE6-FB00-2FDA-AC356B39775C}"/>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Tree>
    <p:extLst>
      <p:ext uri="{BB962C8B-B14F-4D97-AF65-F5344CB8AC3E}">
        <p14:creationId xmlns:p14="http://schemas.microsoft.com/office/powerpoint/2010/main" val="4349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ivider 2026-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259950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8">
            <a:extLst>
              <a:ext uri="{FF2B5EF4-FFF2-40B4-BE49-F238E27FC236}">
                <a16:creationId xmlns:a16="http://schemas.microsoft.com/office/drawing/2014/main" id="{676643F5-726A-FFCD-2BFA-CC1A4CD33F0B}"/>
              </a:ext>
            </a:extLst>
          </p:cNvPr>
          <p:cNvSpPr>
            <a:spLocks noGrp="1"/>
          </p:cNvSpPr>
          <p:nvPr>
            <p:ph type="pic" sz="quarter" idx="16" hasCustomPrompt="1"/>
          </p:nvPr>
        </p:nvSpPr>
        <p:spPr>
          <a:xfrm>
            <a:off x="0" y="0"/>
            <a:ext cx="12192000" cy="6858000"/>
          </a:xfrm>
          <a:prstGeom prst="rect">
            <a:avLst/>
          </a:prstGeom>
          <a:blipFill>
            <a:blip r:embed="rId5"/>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2" name="Title 1">
            <a:extLst>
              <a:ext uri="{FF2B5EF4-FFF2-40B4-BE49-F238E27FC236}">
                <a16:creationId xmlns:a16="http://schemas.microsoft.com/office/drawing/2014/main" id="{C0AC4D14-3967-FD0C-1A14-023CEB22AD99}"/>
              </a:ext>
            </a:extLst>
          </p:cNvPr>
          <p:cNvSpPr>
            <a:spLocks noGrp="1"/>
          </p:cNvSpPr>
          <p:nvPr>
            <p:ph type="title" hasCustomPrompt="1"/>
          </p:nvPr>
        </p:nvSpPr>
        <p:spPr bwMode="white">
          <a:xfrm>
            <a:off x="1600200" y="1777999"/>
            <a:ext cx="8991600" cy="3276600"/>
          </a:xfrm>
          <a:prstGeom prst="roundRect">
            <a:avLst>
              <a:gd name="adj" fmla="val 50000"/>
            </a:avLst>
          </a:prstGeom>
          <a:solidFill>
            <a:schemeClr val="bg1"/>
          </a:solidFill>
        </p:spPr>
        <p:txBody>
          <a:bodyPr vert="horz" anchor="ctr" anchorCtr="0"/>
          <a:lstStyle>
            <a:lvl1pPr algn="l">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Sans Light sentence case</a:t>
            </a:r>
          </a:p>
        </p:txBody>
      </p:sp>
      <p:grpSp>
        <p:nvGrpSpPr>
          <p:cNvPr id="13" name="Group 12">
            <a:extLst>
              <a:ext uri="{FF2B5EF4-FFF2-40B4-BE49-F238E27FC236}">
                <a16:creationId xmlns:a16="http://schemas.microsoft.com/office/drawing/2014/main" id="{347B9D2A-679A-E70D-9144-8C0F54653E8F}"/>
              </a:ext>
            </a:extLst>
          </p:cNvPr>
          <p:cNvGrpSpPr/>
          <p:nvPr/>
        </p:nvGrpSpPr>
        <p:grpSpPr>
          <a:xfrm>
            <a:off x="12323965" y="3876462"/>
            <a:ext cx="2089689" cy="3212677"/>
            <a:chOff x="12323965" y="3876462"/>
            <a:chExt cx="2089689" cy="3212677"/>
          </a:xfrm>
        </p:grpSpPr>
        <p:sp>
          <p:nvSpPr>
            <p:cNvPr id="14" name="Rectangle 13">
              <a:extLst>
                <a:ext uri="{FF2B5EF4-FFF2-40B4-BE49-F238E27FC236}">
                  <a16:creationId xmlns:a16="http://schemas.microsoft.com/office/drawing/2014/main" id="{CEA2640E-0E16-4C21-EE61-8EF930D666F6}"/>
                </a:ext>
              </a:extLst>
            </p:cNvPr>
            <p:cNvSpPr/>
            <p:nvPr/>
          </p:nvSpPr>
          <p:spPr>
            <a:xfrm>
              <a:off x="12323965" y="3876462"/>
              <a:ext cx="2089689" cy="3212677"/>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spcBef>
                  <a:spcPts val="600"/>
                </a:spcBef>
              </a:pPr>
              <a:r>
                <a:rPr lang="en-US" sz="900" b="1"/>
                <a:t>Instructions to change the image follow below steps:</a:t>
              </a:r>
            </a:p>
            <a:p>
              <a:pPr marL="182880" indent="-182880" algn="l">
                <a:spcBef>
                  <a:spcPts val="600"/>
                </a:spcBef>
                <a:buFont typeface="Arial" panose="020B0604020202020204" pitchFamily="34" charset="0"/>
                <a:buChar char="•"/>
              </a:pPr>
              <a:r>
                <a:rPr lang="en-US" sz="900" b="1"/>
                <a:t>Step 1:</a:t>
              </a:r>
              <a:r>
                <a:rPr lang="en-US" sz="900"/>
                <a:t> Please move the masked shapes from top of the image placeholder</a:t>
              </a:r>
            </a:p>
            <a:p>
              <a:pPr marL="182880" indent="-182880" algn="l">
                <a:spcBef>
                  <a:spcPts val="600"/>
                </a:spcBef>
                <a:buFont typeface="Arial" panose="020B0604020202020204" pitchFamily="34" charset="0"/>
                <a:buChar char="•"/>
              </a:pPr>
              <a:r>
                <a:rPr lang="en-US" sz="900" b="1"/>
                <a:t>Step 2:</a:t>
              </a:r>
              <a:r>
                <a:rPr lang="en-US" sz="900"/>
                <a:t> Click on the </a:t>
              </a:r>
              <a:br>
                <a:rPr lang="en-US" sz="900"/>
              </a:br>
              <a:r>
                <a:rPr lang="en-US" sz="900"/>
                <a:t>image icon </a:t>
              </a:r>
            </a:p>
            <a:p>
              <a:pPr marL="182880" indent="-182880" algn="l">
                <a:spcBef>
                  <a:spcPts val="600"/>
                </a:spcBef>
                <a:buFont typeface="Arial" panose="020B0604020202020204" pitchFamily="34" charset="0"/>
                <a:buChar char="•"/>
              </a:pPr>
              <a:r>
                <a:rPr lang="en-US" sz="900" b="1"/>
                <a:t>Step 3:</a:t>
              </a:r>
              <a:r>
                <a:rPr lang="en-US" sz="900"/>
                <a:t> Select the image to be replaced and then click on Insert option</a:t>
              </a:r>
            </a:p>
            <a:p>
              <a:pPr marL="182880" indent="-182880" algn="l">
                <a:spcBef>
                  <a:spcPts val="600"/>
                </a:spcBef>
                <a:buFont typeface="Arial" panose="020B0604020202020204" pitchFamily="34" charset="0"/>
                <a:buChar char="•"/>
              </a:pPr>
              <a:r>
                <a:rPr lang="en-US" sz="900" b="1"/>
                <a:t>Step 4:</a:t>
              </a:r>
              <a:r>
                <a:rPr lang="en-US" sz="900"/>
                <a:t> Once the image is replaced, Goto </a:t>
              </a:r>
              <a:br>
                <a:rPr lang="en-US" sz="900"/>
              </a:br>
              <a:r>
                <a:rPr lang="en-US" sz="900"/>
                <a:t>Home =&gt; Reset option</a:t>
              </a:r>
            </a:p>
            <a:p>
              <a:pPr marL="182880" indent="-182880" algn="l">
                <a:spcBef>
                  <a:spcPts val="600"/>
                </a:spcBef>
                <a:buFont typeface="Arial" panose="020B0604020202020204" pitchFamily="34" charset="0"/>
                <a:buChar char="•"/>
              </a:pPr>
              <a:endParaRPr lang="en-US" sz="900" b="1"/>
            </a:p>
            <a:p>
              <a:pPr marL="182880" indent="-182880" algn="l">
                <a:spcBef>
                  <a:spcPts val="600"/>
                </a:spcBef>
                <a:buFont typeface="Arial" panose="020B0604020202020204" pitchFamily="34" charset="0"/>
                <a:buChar char="•"/>
              </a:pPr>
              <a:endParaRPr lang="en-US" sz="1800" b="1"/>
            </a:p>
            <a:p>
              <a:pPr marL="182880" indent="-182880" algn="l">
                <a:spcBef>
                  <a:spcPts val="600"/>
                </a:spcBef>
                <a:buFont typeface="Arial" panose="020B0604020202020204" pitchFamily="34" charset="0"/>
                <a:buChar char="•"/>
              </a:pPr>
              <a:r>
                <a:rPr lang="en-US" sz="900" b="1"/>
                <a:t>Step 5:</a:t>
              </a:r>
              <a:r>
                <a:rPr lang="en-US" sz="900"/>
                <a:t> Shape/masked  layers will be readjusted on the slide and ready to use</a:t>
              </a:r>
            </a:p>
          </p:txBody>
        </p:sp>
        <p:pic>
          <p:nvPicPr>
            <p:cNvPr id="15" name="Picture 14">
              <a:extLst>
                <a:ext uri="{FF2B5EF4-FFF2-40B4-BE49-F238E27FC236}">
                  <a16:creationId xmlns:a16="http://schemas.microsoft.com/office/drawing/2014/main" id="{0BC0CB3D-38B0-E87C-E0DC-B9F5A8316D3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3694135" y="4756344"/>
              <a:ext cx="197126" cy="174381"/>
            </a:xfrm>
            <a:prstGeom prst="rect">
              <a:avLst/>
            </a:prstGeom>
          </p:spPr>
        </p:pic>
        <p:pic>
          <p:nvPicPr>
            <p:cNvPr id="16" name="Picture 15">
              <a:extLst>
                <a:ext uri="{FF2B5EF4-FFF2-40B4-BE49-F238E27FC236}">
                  <a16:creationId xmlns:a16="http://schemas.microsoft.com/office/drawing/2014/main" id="{A5001A2C-6752-AFA7-B7BC-2319DAFA955C}"/>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a:xfrm>
              <a:off x="13834532" y="5786295"/>
              <a:ext cx="491067" cy="213105"/>
            </a:xfrm>
            <a:custGeom>
              <a:avLst/>
              <a:gdLst>
                <a:gd name="connsiteX0" fmla="*/ 0 w 538480"/>
                <a:gd name="connsiteY0" fmla="*/ 0 h 233680"/>
                <a:gd name="connsiteX1" fmla="*/ 538480 w 538480"/>
                <a:gd name="connsiteY1" fmla="*/ 0 h 233680"/>
                <a:gd name="connsiteX2" fmla="*/ 538480 w 538480"/>
                <a:gd name="connsiteY2" fmla="*/ 233680 h 233680"/>
                <a:gd name="connsiteX3" fmla="*/ 0 w 538480"/>
                <a:gd name="connsiteY3" fmla="*/ 233680 h 233680"/>
              </a:gdLst>
              <a:ahLst/>
              <a:cxnLst>
                <a:cxn ang="0">
                  <a:pos x="connsiteX0" y="connsiteY0"/>
                </a:cxn>
                <a:cxn ang="0">
                  <a:pos x="connsiteX1" y="connsiteY1"/>
                </a:cxn>
                <a:cxn ang="0">
                  <a:pos x="connsiteX2" y="connsiteY2"/>
                </a:cxn>
                <a:cxn ang="0">
                  <a:pos x="connsiteX3" y="connsiteY3"/>
                </a:cxn>
              </a:cxnLst>
              <a:rect l="l" t="t" r="r" b="b"/>
              <a:pathLst>
                <a:path w="538480" h="233680">
                  <a:moveTo>
                    <a:pt x="0" y="0"/>
                  </a:moveTo>
                  <a:lnTo>
                    <a:pt x="538480" y="0"/>
                  </a:lnTo>
                  <a:lnTo>
                    <a:pt x="538480" y="233680"/>
                  </a:lnTo>
                  <a:lnTo>
                    <a:pt x="0" y="233680"/>
                  </a:lnTo>
                  <a:close/>
                </a:path>
              </a:pathLst>
            </a:custGeom>
          </p:spPr>
        </p:pic>
        <p:grpSp>
          <p:nvGrpSpPr>
            <p:cNvPr id="17" name="Group 16">
              <a:extLst>
                <a:ext uri="{FF2B5EF4-FFF2-40B4-BE49-F238E27FC236}">
                  <a16:creationId xmlns:a16="http://schemas.microsoft.com/office/drawing/2014/main" id="{00990C55-0A66-82D8-F468-B3E71C880C41}"/>
                </a:ext>
              </a:extLst>
            </p:cNvPr>
            <p:cNvGrpSpPr/>
            <p:nvPr/>
          </p:nvGrpSpPr>
          <p:grpSpPr>
            <a:xfrm>
              <a:off x="12598400" y="6054514"/>
              <a:ext cx="833967" cy="541456"/>
              <a:chOff x="12585700" y="6121400"/>
              <a:chExt cx="833967" cy="541456"/>
            </a:xfrm>
          </p:grpSpPr>
          <p:pic>
            <p:nvPicPr>
              <p:cNvPr id="18" name="Picture 2">
                <a:extLst>
                  <a:ext uri="{FF2B5EF4-FFF2-40B4-BE49-F238E27FC236}">
                    <a16:creationId xmlns:a16="http://schemas.microsoft.com/office/drawing/2014/main" id="{3AEF32A3-382C-B1AC-3AC7-C4D38D4B755A}"/>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a:fillRect/>
              </a:stretch>
            </p:blipFill>
            <p:spPr bwMode="auto">
              <a:xfrm>
                <a:off x="12585700" y="6121400"/>
                <a:ext cx="833967" cy="54145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A58B7075-DFA4-FD08-29B2-A2110BC23927}"/>
                  </a:ext>
                </a:extLst>
              </p:cNvPr>
              <p:cNvSpPr/>
              <p:nvPr/>
            </p:nvSpPr>
            <p:spPr>
              <a:xfrm>
                <a:off x="12699270" y="6154738"/>
                <a:ext cx="226156" cy="91385"/>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0" name="Rectangle 19">
                <a:extLst>
                  <a:ext uri="{FF2B5EF4-FFF2-40B4-BE49-F238E27FC236}">
                    <a16:creationId xmlns:a16="http://schemas.microsoft.com/office/drawing/2014/main" id="{826C4374-BB8B-CA6D-9A4C-E3F74A433249}"/>
                  </a:ext>
                </a:extLst>
              </p:cNvPr>
              <p:cNvSpPr/>
              <p:nvPr/>
            </p:nvSpPr>
            <p:spPr>
              <a:xfrm>
                <a:off x="13179219" y="6412700"/>
                <a:ext cx="147839" cy="102400"/>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grpSp>
    </p:spTree>
    <p:extLst>
      <p:ext uri="{BB962C8B-B14F-4D97-AF65-F5344CB8AC3E}">
        <p14:creationId xmlns:p14="http://schemas.microsoft.com/office/powerpoint/2010/main" val="428529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2026-1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713884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14">
            <a:extLst>
              <a:ext uri="{FF2B5EF4-FFF2-40B4-BE49-F238E27FC236}">
                <a16:creationId xmlns:a16="http://schemas.microsoft.com/office/drawing/2014/main" id="{14504F46-B08A-652A-D8B2-881AEE1753C9}"/>
              </a:ext>
            </a:extLst>
          </p:cNvPr>
          <p:cNvSpPr>
            <a:spLocks noGrp="1"/>
          </p:cNvSpPr>
          <p:nvPr>
            <p:ph type="pic" sz="quarter" idx="16" hasCustomPrompt="1"/>
          </p:nvPr>
        </p:nvSpPr>
        <p:spPr>
          <a:xfrm>
            <a:off x="0" y="241300"/>
            <a:ext cx="11861800" cy="6362700"/>
          </a:xfrm>
          <a:custGeom>
            <a:avLst/>
            <a:gdLst>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61800" h="6362700">
                <a:moveTo>
                  <a:pt x="0" y="0"/>
                </a:moveTo>
                <a:lnTo>
                  <a:pt x="11042602" y="0"/>
                </a:lnTo>
                <a:cubicBezTo>
                  <a:pt x="11495033" y="0"/>
                  <a:pt x="11861800" y="366767"/>
                  <a:pt x="11861800" y="819198"/>
                </a:cubicBezTo>
                <a:lnTo>
                  <a:pt x="11861800" y="5543502"/>
                </a:lnTo>
                <a:cubicBezTo>
                  <a:pt x="11861800" y="5995933"/>
                  <a:pt x="11495033" y="6362700"/>
                  <a:pt x="11042602" y="6362700"/>
                </a:cubicBezTo>
                <a:lnTo>
                  <a:pt x="0" y="6362700"/>
                </a:lnTo>
                <a:close/>
              </a:path>
            </a:pathLst>
          </a:custGeom>
          <a:blipFill>
            <a:blip r:embed="rId5"/>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11" name="Text Placeholder 10">
            <a:extLst>
              <a:ext uri="{FF2B5EF4-FFF2-40B4-BE49-F238E27FC236}">
                <a16:creationId xmlns:a16="http://schemas.microsoft.com/office/drawing/2014/main" id="{DAD51037-4CD1-1795-3308-0DCE2EED39D1}"/>
              </a:ext>
            </a:extLst>
          </p:cNvPr>
          <p:cNvSpPr>
            <a:spLocks noGrp="1"/>
          </p:cNvSpPr>
          <p:nvPr>
            <p:ph type="body" sz="quarter" idx="19" hasCustomPrompt="1"/>
          </p:nvPr>
        </p:nvSpPr>
        <p:spPr>
          <a:xfrm>
            <a:off x="0" y="241300"/>
            <a:ext cx="11861800" cy="6362700"/>
          </a:xfrm>
          <a:custGeom>
            <a:avLst/>
            <a:gdLst>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61800" h="6362700">
                <a:moveTo>
                  <a:pt x="0" y="0"/>
                </a:moveTo>
                <a:lnTo>
                  <a:pt x="11042602" y="0"/>
                </a:lnTo>
                <a:cubicBezTo>
                  <a:pt x="11495033" y="0"/>
                  <a:pt x="11861800" y="366767"/>
                  <a:pt x="11861800" y="819198"/>
                </a:cubicBezTo>
                <a:lnTo>
                  <a:pt x="11861800" y="5543502"/>
                </a:lnTo>
                <a:cubicBezTo>
                  <a:pt x="11861800" y="5995933"/>
                  <a:pt x="11495033" y="6362700"/>
                  <a:pt x="11042602" y="6362700"/>
                </a:cubicBezTo>
                <a:lnTo>
                  <a:pt x="0" y="6362700"/>
                </a:lnTo>
                <a:close/>
              </a:path>
            </a:pathLst>
          </a:custGeom>
          <a:gradFill>
            <a:gsLst>
              <a:gs pos="0">
                <a:srgbClr val="130B3F">
                  <a:alpha val="89804"/>
                </a:srgbClr>
              </a:gs>
              <a:gs pos="40000">
                <a:srgbClr val="121246">
                  <a:alpha val="85882"/>
                </a:srgbClr>
              </a:gs>
              <a:gs pos="61000">
                <a:srgbClr val="0F2D61">
                  <a:alpha val="73725"/>
                </a:srgbClr>
              </a:gs>
              <a:gs pos="78000">
                <a:srgbClr val="0B5C8F">
                  <a:alpha val="51765"/>
                </a:srgbClr>
              </a:gs>
              <a:gs pos="92000">
                <a:srgbClr val="049DD0">
                  <a:alpha val="21961"/>
                </a:srgbClr>
              </a:gs>
              <a:gs pos="100000">
                <a:srgbClr val="00CCFF">
                  <a:alpha val="0"/>
                </a:srgbClr>
              </a:gs>
            </a:gsLst>
            <a:lin ang="1568050" scaled="1"/>
          </a:gradFill>
          <a:ln w="6506"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None/>
              <a:defRPr lang="en-US" sz="1600" dirty="0"/>
            </a:lvl1pPr>
          </a:lstStyle>
          <a:p>
            <a:pPr marL="0" lvl="0"/>
            <a:r>
              <a:rPr lang="en-US"/>
              <a:t> </a:t>
            </a:r>
          </a:p>
        </p:txBody>
      </p:sp>
      <p:sp>
        <p:nvSpPr>
          <p:cNvPr id="34" name="TextBox 33">
            <a:extLst>
              <a:ext uri="{FF2B5EF4-FFF2-40B4-BE49-F238E27FC236}">
                <a16:creationId xmlns:a16="http://schemas.microsoft.com/office/drawing/2014/main" id="{962FE850-C38C-70DD-E92F-2708FCADC3E8}"/>
              </a:ext>
            </a:extLst>
          </p:cNvPr>
          <p:cNvSpPr txBox="1"/>
          <p:nvPr userDrawn="1"/>
        </p:nvSpPr>
        <p:spPr bwMode="black">
          <a:xfrm>
            <a:off x="560269" y="66215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2" name="Text Placeholder 21">
            <a:extLst>
              <a:ext uri="{FF2B5EF4-FFF2-40B4-BE49-F238E27FC236}">
                <a16:creationId xmlns:a16="http://schemas.microsoft.com/office/drawing/2014/main" id="{45145C8E-5E07-F3E5-FC69-D7FE30DFE5B3}"/>
              </a:ext>
            </a:extLst>
          </p:cNvPr>
          <p:cNvSpPr>
            <a:spLocks noGrp="1"/>
          </p:cNvSpPr>
          <p:nvPr>
            <p:ph type="body" sz="quarter" idx="11" hasCustomPrompt="1"/>
          </p:nvPr>
        </p:nvSpPr>
        <p:spPr>
          <a:xfrm>
            <a:off x="560269" y="4513255"/>
            <a:ext cx="6716020"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4" name="Title 1">
            <a:extLst>
              <a:ext uri="{FF2B5EF4-FFF2-40B4-BE49-F238E27FC236}">
                <a16:creationId xmlns:a16="http://schemas.microsoft.com/office/drawing/2014/main" id="{5AF09CB0-62F0-2DF2-EE99-48E811447DF7}"/>
              </a:ext>
            </a:extLst>
          </p:cNvPr>
          <p:cNvSpPr>
            <a:spLocks noGrp="1"/>
          </p:cNvSpPr>
          <p:nvPr>
            <p:ph type="ctrTitle" hasCustomPrompt="1"/>
          </p:nvPr>
        </p:nvSpPr>
        <p:spPr>
          <a:xfrm>
            <a:off x="560269" y="2292059"/>
            <a:ext cx="6716020"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5" name="Subtitle 2">
            <a:extLst>
              <a:ext uri="{FF2B5EF4-FFF2-40B4-BE49-F238E27FC236}">
                <a16:creationId xmlns:a16="http://schemas.microsoft.com/office/drawing/2014/main" id="{36E126FC-C456-40F1-0E02-4599E0445702}"/>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6" name="Text Placeholder 13">
            <a:extLst>
              <a:ext uri="{FF2B5EF4-FFF2-40B4-BE49-F238E27FC236}">
                <a16:creationId xmlns:a16="http://schemas.microsoft.com/office/drawing/2014/main" id="{C348CD09-1F24-6ACF-0A0C-6E7AE8FB02FC}"/>
              </a:ext>
            </a:extLst>
          </p:cNvPr>
          <p:cNvSpPr>
            <a:spLocks noGrp="1"/>
          </p:cNvSpPr>
          <p:nvPr>
            <p:ph type="body" sz="quarter" idx="17" hasCustomPrompt="1"/>
          </p:nvPr>
        </p:nvSpPr>
        <p:spPr>
          <a:xfrm>
            <a:off x="560268" y="5680710"/>
            <a:ext cx="6716020"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
        <p:nvSpPr>
          <p:cNvPr id="26" name="Text Placeholder 25">
            <a:extLst>
              <a:ext uri="{FF2B5EF4-FFF2-40B4-BE49-F238E27FC236}">
                <a16:creationId xmlns:a16="http://schemas.microsoft.com/office/drawing/2014/main" id="{F5CC9F80-B471-15A4-C4C2-E6083DE38A7E}"/>
              </a:ext>
            </a:extLst>
          </p:cNvPr>
          <p:cNvSpPr>
            <a:spLocks noGrp="1"/>
          </p:cNvSpPr>
          <p:nvPr>
            <p:ph type="body" sz="quarter" idx="20" hasCustomPrompt="1"/>
          </p:nvPr>
        </p:nvSpPr>
        <p:spPr>
          <a:xfrm>
            <a:off x="8775683" y="1777210"/>
            <a:ext cx="2710256" cy="2710256"/>
          </a:xfrm>
          <a:custGeom>
            <a:avLst/>
            <a:gdLst>
              <a:gd name="connsiteX0" fmla="*/ 2414190 w 2710256"/>
              <a:gd name="connsiteY0" fmla="*/ 0 h 2710256"/>
              <a:gd name="connsiteX1" fmla="*/ 2623540 w 2710256"/>
              <a:gd name="connsiteY1" fmla="*/ 86716 h 2710256"/>
              <a:gd name="connsiteX2" fmla="*/ 2623540 w 2710256"/>
              <a:gd name="connsiteY2" fmla="*/ 505417 h 2710256"/>
              <a:gd name="connsiteX3" fmla="*/ 505415 w 2710256"/>
              <a:gd name="connsiteY3" fmla="*/ 2623541 h 2710256"/>
              <a:gd name="connsiteX4" fmla="*/ 86714 w 2710256"/>
              <a:gd name="connsiteY4" fmla="*/ 2623541 h 2710256"/>
              <a:gd name="connsiteX5" fmla="*/ 86716 w 2710256"/>
              <a:gd name="connsiteY5" fmla="*/ 2623541 h 2710256"/>
              <a:gd name="connsiteX6" fmla="*/ 86716 w 2710256"/>
              <a:gd name="connsiteY6" fmla="*/ 2204840 h 2710256"/>
              <a:gd name="connsiteX7" fmla="*/ 2204840 w 2710256"/>
              <a:gd name="connsiteY7" fmla="*/ 86716 h 2710256"/>
              <a:gd name="connsiteX8" fmla="*/ 2414190 w 2710256"/>
              <a:gd name="connsiteY8" fmla="*/ 0 h 271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0256" h="2710256">
                <a:moveTo>
                  <a:pt x="2414190" y="0"/>
                </a:moveTo>
                <a:cubicBezTo>
                  <a:pt x="2489960" y="0"/>
                  <a:pt x="2565730" y="28906"/>
                  <a:pt x="2623540" y="86716"/>
                </a:cubicBezTo>
                <a:cubicBezTo>
                  <a:pt x="2739162" y="202337"/>
                  <a:pt x="2739162" y="389795"/>
                  <a:pt x="2623540" y="505417"/>
                </a:cubicBezTo>
                <a:cubicBezTo>
                  <a:pt x="1917499" y="1211458"/>
                  <a:pt x="1211457" y="1917499"/>
                  <a:pt x="505415" y="2623541"/>
                </a:cubicBezTo>
                <a:cubicBezTo>
                  <a:pt x="389794" y="2739162"/>
                  <a:pt x="202335" y="2739162"/>
                  <a:pt x="86714" y="2623541"/>
                </a:cubicBezTo>
                <a:lnTo>
                  <a:pt x="86716" y="2623541"/>
                </a:lnTo>
                <a:cubicBezTo>
                  <a:pt x="-28905" y="2507920"/>
                  <a:pt x="-28905" y="2320461"/>
                  <a:pt x="86716" y="2204840"/>
                </a:cubicBezTo>
                <a:lnTo>
                  <a:pt x="2204840" y="86716"/>
                </a:lnTo>
                <a:cubicBezTo>
                  <a:pt x="2262650" y="28906"/>
                  <a:pt x="2338420" y="0"/>
                  <a:pt x="2414190" y="0"/>
                </a:cubicBezTo>
                <a:close/>
              </a:path>
            </a:pathLst>
          </a:custGeom>
          <a:solidFill>
            <a:srgbClr val="00CCFF"/>
          </a:solidFill>
          <a:ln w="6506"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None/>
              <a:defRPr lang="en-US" sz="1600" dirty="0"/>
            </a:lvl1pPr>
          </a:lstStyle>
          <a:p>
            <a:pPr marL="0" lvl="0"/>
            <a:r>
              <a:rPr lang="en-US"/>
              <a:t> </a:t>
            </a:r>
          </a:p>
        </p:txBody>
      </p:sp>
      <p:sp>
        <p:nvSpPr>
          <p:cNvPr id="27" name="Text Placeholder 26">
            <a:extLst>
              <a:ext uri="{FF2B5EF4-FFF2-40B4-BE49-F238E27FC236}">
                <a16:creationId xmlns:a16="http://schemas.microsoft.com/office/drawing/2014/main" id="{A03EAB6F-7647-9641-D2AA-6FC1842DDCE3}"/>
              </a:ext>
            </a:extLst>
          </p:cNvPr>
          <p:cNvSpPr>
            <a:spLocks noGrp="1"/>
          </p:cNvSpPr>
          <p:nvPr>
            <p:ph type="body" sz="quarter" idx="21" hasCustomPrompt="1"/>
          </p:nvPr>
        </p:nvSpPr>
        <p:spPr>
          <a:xfrm>
            <a:off x="8854451" y="243937"/>
            <a:ext cx="2992603" cy="2992603"/>
          </a:xfrm>
          <a:custGeom>
            <a:avLst/>
            <a:gdLst>
              <a:gd name="connsiteX0" fmla="*/ 2195701 w 2992603"/>
              <a:gd name="connsiteY0" fmla="*/ 0 h 2992603"/>
              <a:gd name="connsiteX1" fmla="*/ 2759197 w 2992603"/>
              <a:gd name="connsiteY1" fmla="*/ 233407 h 2992603"/>
              <a:gd name="connsiteX2" fmla="*/ 2759197 w 2992603"/>
              <a:gd name="connsiteY2" fmla="*/ 1360398 h 2992603"/>
              <a:gd name="connsiteX3" fmla="*/ 1360399 w 2992603"/>
              <a:gd name="connsiteY3" fmla="*/ 2759196 h 2992603"/>
              <a:gd name="connsiteX4" fmla="*/ 233408 w 2992603"/>
              <a:gd name="connsiteY4" fmla="*/ 2759196 h 2992603"/>
              <a:gd name="connsiteX5" fmla="*/ 233408 w 2992603"/>
              <a:gd name="connsiteY5" fmla="*/ 1632205 h 2992603"/>
              <a:gd name="connsiteX6" fmla="*/ 1632206 w 2992603"/>
              <a:gd name="connsiteY6" fmla="*/ 233407 h 2992603"/>
              <a:gd name="connsiteX7" fmla="*/ 2195701 w 2992603"/>
              <a:gd name="connsiteY7" fmla="*/ 0 h 299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2603" h="2992603">
                <a:moveTo>
                  <a:pt x="2195701" y="0"/>
                </a:moveTo>
                <a:cubicBezTo>
                  <a:pt x="2399647" y="0"/>
                  <a:pt x="2603592" y="77803"/>
                  <a:pt x="2759197" y="233407"/>
                </a:cubicBezTo>
                <a:cubicBezTo>
                  <a:pt x="3070406" y="544617"/>
                  <a:pt x="3070406" y="1049188"/>
                  <a:pt x="2759197" y="1360398"/>
                </a:cubicBezTo>
                <a:lnTo>
                  <a:pt x="1360399" y="2759196"/>
                </a:lnTo>
                <a:cubicBezTo>
                  <a:pt x="1049189" y="3070406"/>
                  <a:pt x="544617" y="3070406"/>
                  <a:pt x="233408" y="2759196"/>
                </a:cubicBezTo>
                <a:cubicBezTo>
                  <a:pt x="-77802" y="2447986"/>
                  <a:pt x="-77802" y="1943415"/>
                  <a:pt x="233408" y="1632205"/>
                </a:cubicBezTo>
                <a:lnTo>
                  <a:pt x="1632206" y="233407"/>
                </a:lnTo>
                <a:cubicBezTo>
                  <a:pt x="1787811" y="77803"/>
                  <a:pt x="1991756" y="0"/>
                  <a:pt x="2195701" y="0"/>
                </a:cubicBezTo>
                <a:close/>
              </a:path>
            </a:pathLst>
          </a:custGeom>
          <a:solidFill>
            <a:schemeClr val="tx2"/>
          </a:solidFill>
          <a:ln w="6506"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None/>
              <a:defRPr lang="en-US" sz="1600" dirty="0"/>
            </a:lvl1pPr>
          </a:lstStyle>
          <a:p>
            <a:pPr marL="0" lvl="0"/>
            <a:r>
              <a:rPr lang="en-US"/>
              <a:t> </a:t>
            </a:r>
          </a:p>
        </p:txBody>
      </p:sp>
      <p:sp>
        <p:nvSpPr>
          <p:cNvPr id="28" name="Text Placeholder 27">
            <a:extLst>
              <a:ext uri="{FF2B5EF4-FFF2-40B4-BE49-F238E27FC236}">
                <a16:creationId xmlns:a16="http://schemas.microsoft.com/office/drawing/2014/main" id="{DC80C3AE-D59D-71CC-AA0D-FA17145484DB}"/>
              </a:ext>
            </a:extLst>
          </p:cNvPr>
          <p:cNvSpPr>
            <a:spLocks noGrp="1"/>
          </p:cNvSpPr>
          <p:nvPr>
            <p:ph type="body" sz="quarter" idx="23" hasCustomPrompt="1"/>
          </p:nvPr>
        </p:nvSpPr>
        <p:spPr>
          <a:xfrm>
            <a:off x="8355293" y="229268"/>
            <a:ext cx="3502758" cy="3512306"/>
          </a:xfrm>
          <a:custGeom>
            <a:avLst/>
            <a:gdLst>
              <a:gd name="connsiteX0" fmla="*/ 1687574 w 3502758"/>
              <a:gd name="connsiteY0" fmla="*/ 0 h 3512306"/>
              <a:gd name="connsiteX1" fmla="*/ 3502758 w 3502758"/>
              <a:gd name="connsiteY1" fmla="*/ 1834282 h 3512306"/>
              <a:gd name="connsiteX2" fmla="*/ 2202649 w 3502758"/>
              <a:gd name="connsiteY2" fmla="*/ 3134392 h 3512306"/>
              <a:gd name="connsiteX3" fmla="*/ 377916 w 3502758"/>
              <a:gd name="connsiteY3" fmla="*/ 3134392 h 3512306"/>
              <a:gd name="connsiteX4" fmla="*/ 377916 w 3502758"/>
              <a:gd name="connsiteY4" fmla="*/ 1309659 h 3512306"/>
              <a:gd name="connsiteX0" fmla="*/ 3502758 w 3594198"/>
              <a:gd name="connsiteY0" fmla="*/ 1834282 h 3512306"/>
              <a:gd name="connsiteX1" fmla="*/ 2202649 w 3594198"/>
              <a:gd name="connsiteY1" fmla="*/ 3134392 h 3512306"/>
              <a:gd name="connsiteX2" fmla="*/ 377916 w 3594198"/>
              <a:gd name="connsiteY2" fmla="*/ 3134392 h 3512306"/>
              <a:gd name="connsiteX3" fmla="*/ 377916 w 3594198"/>
              <a:gd name="connsiteY3" fmla="*/ 1309659 h 3512306"/>
              <a:gd name="connsiteX4" fmla="*/ 1687574 w 3594198"/>
              <a:gd name="connsiteY4" fmla="*/ 0 h 3512306"/>
              <a:gd name="connsiteX5" fmla="*/ 3594198 w 3594198"/>
              <a:gd name="connsiteY5" fmla="*/ 1925722 h 3512306"/>
              <a:gd name="connsiteX0" fmla="*/ 3502758 w 3502758"/>
              <a:gd name="connsiteY0" fmla="*/ 1834282 h 3512306"/>
              <a:gd name="connsiteX1" fmla="*/ 2202649 w 3502758"/>
              <a:gd name="connsiteY1" fmla="*/ 3134392 h 3512306"/>
              <a:gd name="connsiteX2" fmla="*/ 377916 w 3502758"/>
              <a:gd name="connsiteY2" fmla="*/ 3134392 h 3512306"/>
              <a:gd name="connsiteX3" fmla="*/ 377916 w 3502758"/>
              <a:gd name="connsiteY3" fmla="*/ 1309659 h 3512306"/>
              <a:gd name="connsiteX4" fmla="*/ 1687574 w 3502758"/>
              <a:gd name="connsiteY4" fmla="*/ 0 h 3512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758" h="3512306">
                <a:moveTo>
                  <a:pt x="3502758" y="1834282"/>
                </a:moveTo>
                <a:lnTo>
                  <a:pt x="2202649" y="3134392"/>
                </a:lnTo>
                <a:cubicBezTo>
                  <a:pt x="1698762" y="3638278"/>
                  <a:pt x="881802" y="3638278"/>
                  <a:pt x="377916" y="3134392"/>
                </a:cubicBezTo>
                <a:cubicBezTo>
                  <a:pt x="-125971" y="2630505"/>
                  <a:pt x="-125971" y="1813545"/>
                  <a:pt x="377916" y="1309659"/>
                </a:cubicBezTo>
                <a:lnTo>
                  <a:pt x="1687574" y="0"/>
                </a:lnTo>
              </a:path>
            </a:pathLst>
          </a:custGeom>
          <a:noFill/>
          <a:ln w="6506" cap="flat">
            <a:solidFill>
              <a:schemeClr val="bg1"/>
            </a:solid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None/>
              <a:defRPr lang="en-US" sz="1600" dirty="0"/>
            </a:lvl1pPr>
          </a:lstStyle>
          <a:p>
            <a:pPr marL="0" lvl="0"/>
            <a:r>
              <a:rPr lang="en-US"/>
              <a:t> </a:t>
            </a:r>
          </a:p>
        </p:txBody>
      </p:sp>
      <p:sp>
        <p:nvSpPr>
          <p:cNvPr id="9" name="Text Placeholder 10">
            <a:extLst>
              <a:ext uri="{FF2B5EF4-FFF2-40B4-BE49-F238E27FC236}">
                <a16:creationId xmlns:a16="http://schemas.microsoft.com/office/drawing/2014/main" id="{1AB05D6B-9ACB-243C-4C50-3CE9B34FF385}"/>
              </a:ext>
            </a:extLst>
          </p:cNvPr>
          <p:cNvSpPr>
            <a:spLocks noGrp="1"/>
          </p:cNvSpPr>
          <p:nvPr>
            <p:ph type="body" sz="quarter" idx="24" hasCustomPrompt="1"/>
          </p:nvPr>
        </p:nvSpPr>
        <p:spPr>
          <a:xfrm>
            <a:off x="710042" y="611533"/>
            <a:ext cx="2212298" cy="399963"/>
          </a:xfrm>
          <a:prstGeom prst="rect">
            <a:avLst/>
          </a:prstGeom>
          <a:blipFill>
            <a:blip>
              <a:extLst>
                <a:ext uri="{96DAC541-7B7A-43D3-8B79-37D633B846F1}">
                  <asvg:svgBlip xmlns:asvg="http://schemas.microsoft.com/office/drawing/2016/SVG/main" r:embed="rId6"/>
                </a:ext>
              </a:extLst>
            </a:blip>
            <a:stretch>
              <a:fillRect/>
            </a:stretch>
          </a:blipFill>
          <a:ln w="6506"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None/>
              <a:defRPr lang="en-US" sz="1600" dirty="0"/>
            </a:lvl1pPr>
          </a:lstStyle>
          <a:p>
            <a:pPr marL="0" lvl="0"/>
            <a:r>
              <a:rPr lang="en-US"/>
              <a:t> </a:t>
            </a:r>
          </a:p>
        </p:txBody>
      </p:sp>
      <p:grpSp>
        <p:nvGrpSpPr>
          <p:cNvPr id="7" name="Group 6">
            <a:extLst>
              <a:ext uri="{FF2B5EF4-FFF2-40B4-BE49-F238E27FC236}">
                <a16:creationId xmlns:a16="http://schemas.microsoft.com/office/drawing/2014/main" id="{387DDD31-B95C-AD53-945C-64C6B2E9A80D}"/>
              </a:ext>
            </a:extLst>
          </p:cNvPr>
          <p:cNvGrpSpPr/>
          <p:nvPr userDrawn="1"/>
        </p:nvGrpSpPr>
        <p:grpSpPr>
          <a:xfrm>
            <a:off x="12323965" y="3876462"/>
            <a:ext cx="2089689" cy="3212677"/>
            <a:chOff x="12323965" y="3876462"/>
            <a:chExt cx="2089689" cy="3212677"/>
          </a:xfrm>
        </p:grpSpPr>
        <p:sp>
          <p:nvSpPr>
            <p:cNvPr id="8" name="Rectangle 7">
              <a:extLst>
                <a:ext uri="{FF2B5EF4-FFF2-40B4-BE49-F238E27FC236}">
                  <a16:creationId xmlns:a16="http://schemas.microsoft.com/office/drawing/2014/main" id="{8F782501-2A10-E83D-08FD-347B52D0C2A6}"/>
                </a:ext>
              </a:extLst>
            </p:cNvPr>
            <p:cNvSpPr/>
            <p:nvPr/>
          </p:nvSpPr>
          <p:spPr>
            <a:xfrm>
              <a:off x="12323965" y="3876462"/>
              <a:ext cx="2089689" cy="3212677"/>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spcBef>
                  <a:spcPts val="600"/>
                </a:spcBef>
              </a:pPr>
              <a:r>
                <a:rPr lang="en-US" sz="900" b="1"/>
                <a:t>Instructions to change the image follow below steps:</a:t>
              </a:r>
            </a:p>
            <a:p>
              <a:pPr marL="182880" indent="-182880" algn="l">
                <a:spcBef>
                  <a:spcPts val="600"/>
                </a:spcBef>
                <a:buFont typeface="Arial" panose="020B0604020202020204" pitchFamily="34" charset="0"/>
                <a:buChar char="•"/>
              </a:pPr>
              <a:r>
                <a:rPr lang="en-US" sz="900" b="1"/>
                <a:t>Step 1:</a:t>
              </a:r>
              <a:r>
                <a:rPr lang="en-US" sz="900"/>
                <a:t> Please move the masked shapes from top of the image placeholder</a:t>
              </a:r>
            </a:p>
            <a:p>
              <a:pPr marL="182880" indent="-182880" algn="l">
                <a:spcBef>
                  <a:spcPts val="600"/>
                </a:spcBef>
                <a:buFont typeface="Arial" panose="020B0604020202020204" pitchFamily="34" charset="0"/>
                <a:buChar char="•"/>
              </a:pPr>
              <a:r>
                <a:rPr lang="en-US" sz="900" b="1"/>
                <a:t>Step 2:</a:t>
              </a:r>
              <a:r>
                <a:rPr lang="en-US" sz="900"/>
                <a:t> Click on the </a:t>
              </a:r>
              <a:br>
                <a:rPr lang="en-US" sz="900"/>
              </a:br>
              <a:r>
                <a:rPr lang="en-US" sz="900"/>
                <a:t>image icon </a:t>
              </a:r>
            </a:p>
            <a:p>
              <a:pPr marL="182880" indent="-182880" algn="l">
                <a:spcBef>
                  <a:spcPts val="600"/>
                </a:spcBef>
                <a:buFont typeface="Arial" panose="020B0604020202020204" pitchFamily="34" charset="0"/>
                <a:buChar char="•"/>
              </a:pPr>
              <a:r>
                <a:rPr lang="en-US" sz="900" b="1"/>
                <a:t>Step 3:</a:t>
              </a:r>
              <a:r>
                <a:rPr lang="en-US" sz="900"/>
                <a:t> Select the image to be replaced and then click on Insert option</a:t>
              </a:r>
            </a:p>
            <a:p>
              <a:pPr marL="182880" indent="-182880" algn="l">
                <a:spcBef>
                  <a:spcPts val="600"/>
                </a:spcBef>
                <a:buFont typeface="Arial" panose="020B0604020202020204" pitchFamily="34" charset="0"/>
                <a:buChar char="•"/>
              </a:pPr>
              <a:r>
                <a:rPr lang="en-US" sz="900" b="1"/>
                <a:t>Step 4:</a:t>
              </a:r>
              <a:r>
                <a:rPr lang="en-US" sz="900"/>
                <a:t> Once the image is replaced, Goto </a:t>
              </a:r>
              <a:br>
                <a:rPr lang="en-US" sz="900"/>
              </a:br>
              <a:r>
                <a:rPr lang="en-US" sz="900"/>
                <a:t>Home =&gt; Reset option</a:t>
              </a:r>
            </a:p>
            <a:p>
              <a:pPr marL="182880" indent="-182880" algn="l">
                <a:spcBef>
                  <a:spcPts val="600"/>
                </a:spcBef>
                <a:buFont typeface="Arial" panose="020B0604020202020204" pitchFamily="34" charset="0"/>
                <a:buChar char="•"/>
              </a:pPr>
              <a:endParaRPr lang="en-US" sz="900" b="1"/>
            </a:p>
            <a:p>
              <a:pPr marL="182880" indent="-182880" algn="l">
                <a:spcBef>
                  <a:spcPts val="600"/>
                </a:spcBef>
                <a:buFont typeface="Arial" panose="020B0604020202020204" pitchFamily="34" charset="0"/>
                <a:buChar char="•"/>
              </a:pPr>
              <a:endParaRPr lang="en-US" sz="1800" b="1"/>
            </a:p>
            <a:p>
              <a:pPr marL="182880" indent="-182880" algn="l">
                <a:spcBef>
                  <a:spcPts val="600"/>
                </a:spcBef>
                <a:buFont typeface="Arial" panose="020B0604020202020204" pitchFamily="34" charset="0"/>
                <a:buChar char="•"/>
              </a:pPr>
              <a:r>
                <a:rPr lang="en-US" sz="900" b="1"/>
                <a:t>Step 5:</a:t>
              </a:r>
              <a:r>
                <a:rPr lang="en-US" sz="900"/>
                <a:t> Shape/masked  layers will be readjusted on the slide and ready to use</a:t>
              </a:r>
            </a:p>
          </p:txBody>
        </p:sp>
        <p:pic>
          <p:nvPicPr>
            <p:cNvPr id="10" name="Picture 9">
              <a:extLst>
                <a:ext uri="{FF2B5EF4-FFF2-40B4-BE49-F238E27FC236}">
                  <a16:creationId xmlns:a16="http://schemas.microsoft.com/office/drawing/2014/main" id="{F25BC507-2543-DB87-4673-CFCA00CA660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694135" y="4756344"/>
              <a:ext cx="197126" cy="174381"/>
            </a:xfrm>
            <a:prstGeom prst="rect">
              <a:avLst/>
            </a:prstGeom>
          </p:spPr>
        </p:pic>
        <p:pic>
          <p:nvPicPr>
            <p:cNvPr id="12" name="Picture 11">
              <a:extLst>
                <a:ext uri="{FF2B5EF4-FFF2-40B4-BE49-F238E27FC236}">
                  <a16:creationId xmlns:a16="http://schemas.microsoft.com/office/drawing/2014/main" id="{0C95EEAD-C06A-C0AC-AAE8-64D85C2E0AD9}"/>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13834532" y="5786295"/>
              <a:ext cx="491067" cy="213105"/>
            </a:xfrm>
            <a:custGeom>
              <a:avLst/>
              <a:gdLst>
                <a:gd name="connsiteX0" fmla="*/ 0 w 538480"/>
                <a:gd name="connsiteY0" fmla="*/ 0 h 233680"/>
                <a:gd name="connsiteX1" fmla="*/ 538480 w 538480"/>
                <a:gd name="connsiteY1" fmla="*/ 0 h 233680"/>
                <a:gd name="connsiteX2" fmla="*/ 538480 w 538480"/>
                <a:gd name="connsiteY2" fmla="*/ 233680 h 233680"/>
                <a:gd name="connsiteX3" fmla="*/ 0 w 538480"/>
                <a:gd name="connsiteY3" fmla="*/ 233680 h 233680"/>
              </a:gdLst>
              <a:ahLst/>
              <a:cxnLst>
                <a:cxn ang="0">
                  <a:pos x="connsiteX0" y="connsiteY0"/>
                </a:cxn>
                <a:cxn ang="0">
                  <a:pos x="connsiteX1" y="connsiteY1"/>
                </a:cxn>
                <a:cxn ang="0">
                  <a:pos x="connsiteX2" y="connsiteY2"/>
                </a:cxn>
                <a:cxn ang="0">
                  <a:pos x="connsiteX3" y="connsiteY3"/>
                </a:cxn>
              </a:cxnLst>
              <a:rect l="l" t="t" r="r" b="b"/>
              <a:pathLst>
                <a:path w="538480" h="233680">
                  <a:moveTo>
                    <a:pt x="0" y="0"/>
                  </a:moveTo>
                  <a:lnTo>
                    <a:pt x="538480" y="0"/>
                  </a:lnTo>
                  <a:lnTo>
                    <a:pt x="538480" y="233680"/>
                  </a:lnTo>
                  <a:lnTo>
                    <a:pt x="0" y="233680"/>
                  </a:lnTo>
                  <a:close/>
                </a:path>
              </a:pathLst>
            </a:custGeom>
          </p:spPr>
        </p:pic>
        <p:grpSp>
          <p:nvGrpSpPr>
            <p:cNvPr id="13" name="Group 12">
              <a:extLst>
                <a:ext uri="{FF2B5EF4-FFF2-40B4-BE49-F238E27FC236}">
                  <a16:creationId xmlns:a16="http://schemas.microsoft.com/office/drawing/2014/main" id="{FB2A9210-74E4-E508-ECE4-BE46C1D1737A}"/>
                </a:ext>
              </a:extLst>
            </p:cNvPr>
            <p:cNvGrpSpPr/>
            <p:nvPr userDrawn="1"/>
          </p:nvGrpSpPr>
          <p:grpSpPr>
            <a:xfrm>
              <a:off x="12598400" y="6054514"/>
              <a:ext cx="833967" cy="541456"/>
              <a:chOff x="12585700" y="6121400"/>
              <a:chExt cx="833967" cy="541456"/>
            </a:xfrm>
          </p:grpSpPr>
          <p:pic>
            <p:nvPicPr>
              <p:cNvPr id="14" name="Picture 2">
                <a:extLst>
                  <a:ext uri="{FF2B5EF4-FFF2-40B4-BE49-F238E27FC236}">
                    <a16:creationId xmlns:a16="http://schemas.microsoft.com/office/drawing/2014/main" id="{2C104F5D-D535-FC48-A016-38BE9382F2AB}"/>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a:fillRect/>
              </a:stretch>
            </p:blipFill>
            <p:spPr bwMode="auto">
              <a:xfrm>
                <a:off x="12585700" y="6121400"/>
                <a:ext cx="833967" cy="54145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BDFDACE8-4716-F6AF-E583-5ECE3E9D3AE6}"/>
                  </a:ext>
                </a:extLst>
              </p:cNvPr>
              <p:cNvSpPr/>
              <p:nvPr/>
            </p:nvSpPr>
            <p:spPr>
              <a:xfrm>
                <a:off x="12699270" y="6154738"/>
                <a:ext cx="226156" cy="91385"/>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7" name="Rectangle 16">
                <a:extLst>
                  <a:ext uri="{FF2B5EF4-FFF2-40B4-BE49-F238E27FC236}">
                    <a16:creationId xmlns:a16="http://schemas.microsoft.com/office/drawing/2014/main" id="{18E886F5-4948-1713-E8DE-A0D4126B5D41}"/>
                  </a:ext>
                </a:extLst>
              </p:cNvPr>
              <p:cNvSpPr/>
              <p:nvPr userDrawn="1"/>
            </p:nvSpPr>
            <p:spPr>
              <a:xfrm>
                <a:off x="13179219" y="6412700"/>
                <a:ext cx="147839" cy="102400"/>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grpSp>
    </p:spTree>
    <p:extLst>
      <p:ext uri="{BB962C8B-B14F-4D97-AF65-F5344CB8AC3E}">
        <p14:creationId xmlns:p14="http://schemas.microsoft.com/office/powerpoint/2010/main" val="152418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ivider 2026-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156307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FE17C5FF-0BB6-D8D6-AE85-A08D4A9073E9}"/>
              </a:ext>
            </a:extLst>
          </p:cNvPr>
          <p:cNvSpPr>
            <a:spLocks noGrp="1"/>
          </p:cNvSpPr>
          <p:nvPr>
            <p:ph type="pic" sz="quarter" idx="14" hasCustomPrompt="1"/>
          </p:nvPr>
        </p:nvSpPr>
        <p:spPr>
          <a:xfrm>
            <a:off x="0" y="486127"/>
            <a:ext cx="2957208" cy="5885746"/>
          </a:xfrm>
          <a:custGeom>
            <a:avLst/>
            <a:gdLst>
              <a:gd name="connsiteX0" fmla="*/ 0 w 2957208"/>
              <a:gd name="connsiteY0" fmla="*/ 0 h 5885746"/>
              <a:gd name="connsiteX1" fmla="*/ 14335 w 2957208"/>
              <a:gd name="connsiteY1" fmla="*/ 0 h 5885746"/>
              <a:gd name="connsiteX2" fmla="*/ 2957208 w 2957208"/>
              <a:gd name="connsiteY2" fmla="*/ 2942873 h 5885746"/>
              <a:gd name="connsiteX3" fmla="*/ 2957207 w 2957208"/>
              <a:gd name="connsiteY3" fmla="*/ 2942873 h 5885746"/>
              <a:gd name="connsiteX4" fmla="*/ 14334 w 2957208"/>
              <a:gd name="connsiteY4" fmla="*/ 5885746 h 5885746"/>
              <a:gd name="connsiteX5" fmla="*/ 0 w 2957208"/>
              <a:gd name="connsiteY5" fmla="*/ 5885746 h 588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7208" h="5885746">
                <a:moveTo>
                  <a:pt x="0" y="0"/>
                </a:moveTo>
                <a:lnTo>
                  <a:pt x="14335" y="0"/>
                </a:lnTo>
                <a:cubicBezTo>
                  <a:pt x="1639639" y="0"/>
                  <a:pt x="2957208" y="1317569"/>
                  <a:pt x="2957208" y="2942873"/>
                </a:cubicBezTo>
                <a:lnTo>
                  <a:pt x="2957207" y="2942873"/>
                </a:lnTo>
                <a:cubicBezTo>
                  <a:pt x="2957207" y="4568177"/>
                  <a:pt x="1639638" y="5885746"/>
                  <a:pt x="14334" y="5885746"/>
                </a:cubicBezTo>
                <a:lnTo>
                  <a:pt x="0" y="5885746"/>
                </a:ln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26" name="Freeform: Shape 25">
            <a:extLst>
              <a:ext uri="{FF2B5EF4-FFF2-40B4-BE49-F238E27FC236}">
                <a16:creationId xmlns:a16="http://schemas.microsoft.com/office/drawing/2014/main" id="{6FB998AD-8D30-E11E-F31A-9DB440E709B9}"/>
              </a:ext>
            </a:extLst>
          </p:cNvPr>
          <p:cNvSpPr/>
          <p:nvPr/>
        </p:nvSpPr>
        <p:spPr>
          <a:xfrm>
            <a:off x="10285918" y="1515906"/>
            <a:ext cx="1906082" cy="3826188"/>
          </a:xfrm>
          <a:custGeom>
            <a:avLst/>
            <a:gdLst>
              <a:gd name="connsiteX0" fmla="*/ 1906082 w 1906082"/>
              <a:gd name="connsiteY0" fmla="*/ 0 h 3826188"/>
              <a:gd name="connsiteX1" fmla="*/ 1906082 w 1906082"/>
              <a:gd name="connsiteY1" fmla="*/ 3826188 h 3826188"/>
              <a:gd name="connsiteX2" fmla="*/ 1717826 w 1906082"/>
              <a:gd name="connsiteY2" fmla="*/ 3816682 h 3826188"/>
              <a:gd name="connsiteX3" fmla="*/ 0 w 1906082"/>
              <a:gd name="connsiteY3" fmla="*/ 1913094 h 3826188"/>
              <a:gd name="connsiteX4" fmla="*/ 1717826 w 1906082"/>
              <a:gd name="connsiteY4" fmla="*/ 9506 h 3826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082" h="3826188">
                <a:moveTo>
                  <a:pt x="1906082" y="0"/>
                </a:moveTo>
                <a:lnTo>
                  <a:pt x="1906082" y="3826188"/>
                </a:lnTo>
                <a:lnTo>
                  <a:pt x="1717826" y="3816682"/>
                </a:lnTo>
                <a:cubicBezTo>
                  <a:pt x="752949" y="3718694"/>
                  <a:pt x="0" y="2903825"/>
                  <a:pt x="0" y="1913094"/>
                </a:cubicBezTo>
                <a:cubicBezTo>
                  <a:pt x="0" y="922364"/>
                  <a:pt x="752949" y="107495"/>
                  <a:pt x="1717826" y="950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28" name="Graphic 27">
            <a:extLst>
              <a:ext uri="{FF2B5EF4-FFF2-40B4-BE49-F238E27FC236}">
                <a16:creationId xmlns:a16="http://schemas.microsoft.com/office/drawing/2014/main" id="{4698F2DD-4D97-8D7A-5BEC-E5396E6DFD14}"/>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9360095" y="611533"/>
            <a:ext cx="2212298" cy="399963"/>
          </a:xfrm>
          <a:prstGeom prst="rect">
            <a:avLst/>
          </a:prstGeom>
        </p:spPr>
      </p:pic>
      <p:sp>
        <p:nvSpPr>
          <p:cNvPr id="31" name="Subtitle 2">
            <a:extLst>
              <a:ext uri="{FF2B5EF4-FFF2-40B4-BE49-F238E27FC236}">
                <a16:creationId xmlns:a16="http://schemas.microsoft.com/office/drawing/2014/main" id="{584AC4A0-A7FD-554D-C5E0-580CC43AD9E3}"/>
              </a:ext>
            </a:extLst>
          </p:cNvPr>
          <p:cNvSpPr>
            <a:spLocks noGrp="1"/>
          </p:cNvSpPr>
          <p:nvPr>
            <p:ph type="subTitle" idx="1" hasCustomPrompt="1"/>
          </p:nvPr>
        </p:nvSpPr>
        <p:spPr>
          <a:xfrm>
            <a:off x="3467100" y="22574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40" name="Title 1">
            <a:extLst>
              <a:ext uri="{FF2B5EF4-FFF2-40B4-BE49-F238E27FC236}">
                <a16:creationId xmlns:a16="http://schemas.microsoft.com/office/drawing/2014/main" id="{555A42D2-18FC-DFFB-5DB3-DF592BF30F91}"/>
              </a:ext>
            </a:extLst>
          </p:cNvPr>
          <p:cNvSpPr>
            <a:spLocks noGrp="1"/>
          </p:cNvSpPr>
          <p:nvPr>
            <p:ph type="title" hasCustomPrompt="1"/>
          </p:nvPr>
        </p:nvSpPr>
        <p:spPr bwMode="white">
          <a:xfrm>
            <a:off x="3467100" y="2844800"/>
            <a:ext cx="6324600" cy="2171700"/>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Tree>
    <p:extLst>
      <p:ext uri="{BB962C8B-B14F-4D97-AF65-F5344CB8AC3E}">
        <p14:creationId xmlns:p14="http://schemas.microsoft.com/office/powerpoint/2010/main" val="119817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ivider 2026-03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237499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4F340A53-0350-F53E-7D51-923BC4C86D0A}"/>
              </a:ext>
            </a:extLst>
          </p:cNvPr>
          <p:cNvSpPr>
            <a:spLocks noGrp="1"/>
          </p:cNvSpPr>
          <p:nvPr>
            <p:ph type="pic" sz="quarter" idx="14" hasCustomPrompt="1"/>
          </p:nvPr>
        </p:nvSpPr>
        <p:spPr>
          <a:xfrm>
            <a:off x="7301581" y="0"/>
            <a:ext cx="4890421" cy="4391066"/>
          </a:xfrm>
          <a:custGeom>
            <a:avLst/>
            <a:gdLst>
              <a:gd name="connsiteX0" fmla="*/ 1083662 w 4890421"/>
              <a:gd name="connsiteY0" fmla="*/ 0 h 4391066"/>
              <a:gd name="connsiteX1" fmla="*/ 4890421 w 4890421"/>
              <a:gd name="connsiteY1" fmla="*/ 0 h 4391066"/>
              <a:gd name="connsiteX2" fmla="*/ 4890421 w 4890421"/>
              <a:gd name="connsiteY2" fmla="*/ 2808049 h 4391066"/>
              <a:gd name="connsiteX3" fmla="*/ 3992391 w 4890421"/>
              <a:gd name="connsiteY3" fmla="*/ 3706080 h 4391066"/>
              <a:gd name="connsiteX4" fmla="*/ 684986 w 4890421"/>
              <a:gd name="connsiteY4" fmla="*/ 3706080 h 4391066"/>
              <a:gd name="connsiteX5" fmla="*/ 684986 w 4890421"/>
              <a:gd name="connsiteY5" fmla="*/ 398676 h 439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0421" h="4391066">
                <a:moveTo>
                  <a:pt x="1083662" y="0"/>
                </a:moveTo>
                <a:lnTo>
                  <a:pt x="4890421" y="0"/>
                </a:lnTo>
                <a:lnTo>
                  <a:pt x="4890421" y="2808049"/>
                </a:lnTo>
                <a:lnTo>
                  <a:pt x="3992391" y="3706080"/>
                </a:lnTo>
                <a:cubicBezTo>
                  <a:pt x="3079076" y="4619395"/>
                  <a:pt x="1598301" y="4619395"/>
                  <a:pt x="684986" y="3706080"/>
                </a:cubicBezTo>
                <a:cubicBezTo>
                  <a:pt x="-228328" y="2792765"/>
                  <a:pt x="-228328" y="1311990"/>
                  <a:pt x="684986" y="398676"/>
                </a:cubicBez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10" name="Freeform: Shape 9">
            <a:extLst>
              <a:ext uri="{FF2B5EF4-FFF2-40B4-BE49-F238E27FC236}">
                <a16:creationId xmlns:a16="http://schemas.microsoft.com/office/drawing/2014/main" id="{6B9159B2-9CF1-9E05-5FA7-5B81E7F195E7}"/>
              </a:ext>
            </a:extLst>
          </p:cNvPr>
          <p:cNvSpPr/>
          <p:nvPr/>
        </p:nvSpPr>
        <p:spPr>
          <a:xfrm>
            <a:off x="486075" y="5000653"/>
            <a:ext cx="4077476" cy="1857348"/>
          </a:xfrm>
          <a:custGeom>
            <a:avLst/>
            <a:gdLst>
              <a:gd name="connsiteX0" fmla="*/ 2507608 w 4077476"/>
              <a:gd name="connsiteY0" fmla="*/ 0 h 1857348"/>
              <a:gd name="connsiteX1" fmla="*/ 3617672 w 4077476"/>
              <a:gd name="connsiteY1" fmla="*/ 459804 h 1857348"/>
              <a:gd name="connsiteX2" fmla="*/ 4077476 w 4077476"/>
              <a:gd name="connsiteY2" fmla="*/ 1569868 h 1857348"/>
              <a:gd name="connsiteX3" fmla="*/ 4049922 w 4077476"/>
              <a:gd name="connsiteY3" fmla="*/ 1857348 h 1857348"/>
              <a:gd name="connsiteX4" fmla="*/ 0 w 4077476"/>
              <a:gd name="connsiteY4" fmla="*/ 1857348 h 1857348"/>
              <a:gd name="connsiteX5" fmla="*/ 1397545 w 4077476"/>
              <a:gd name="connsiteY5" fmla="*/ 459804 h 1857348"/>
              <a:gd name="connsiteX6" fmla="*/ 2507608 w 4077476"/>
              <a:gd name="connsiteY6" fmla="*/ 0 h 185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7476" h="1857348">
                <a:moveTo>
                  <a:pt x="2507608" y="0"/>
                </a:moveTo>
                <a:cubicBezTo>
                  <a:pt x="2909372" y="0"/>
                  <a:pt x="3311136" y="153268"/>
                  <a:pt x="3617672" y="459804"/>
                </a:cubicBezTo>
                <a:cubicBezTo>
                  <a:pt x="3924208" y="766340"/>
                  <a:pt x="4077476" y="1168104"/>
                  <a:pt x="4077476" y="1569868"/>
                </a:cubicBezTo>
                <a:lnTo>
                  <a:pt x="4049922" y="1857348"/>
                </a:lnTo>
                <a:lnTo>
                  <a:pt x="0" y="1857348"/>
                </a:lnTo>
                <a:lnTo>
                  <a:pt x="1397545" y="459804"/>
                </a:lnTo>
                <a:cubicBezTo>
                  <a:pt x="1704080" y="153268"/>
                  <a:pt x="2105844" y="0"/>
                  <a:pt x="250760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Subtitle 2">
            <a:extLst>
              <a:ext uri="{FF2B5EF4-FFF2-40B4-BE49-F238E27FC236}">
                <a16:creationId xmlns:a16="http://schemas.microsoft.com/office/drawing/2014/main" id="{C31F9952-3096-5EB4-195E-E111EF3DA746}"/>
              </a:ext>
            </a:extLst>
          </p:cNvPr>
          <p:cNvSpPr>
            <a:spLocks noGrp="1"/>
          </p:cNvSpPr>
          <p:nvPr>
            <p:ph type="subTitle" idx="1" hasCustomPrompt="1"/>
          </p:nvPr>
        </p:nvSpPr>
        <p:spPr>
          <a:xfrm>
            <a:off x="560269" y="8096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5" name="Title 1">
            <a:extLst>
              <a:ext uri="{FF2B5EF4-FFF2-40B4-BE49-F238E27FC236}">
                <a16:creationId xmlns:a16="http://schemas.microsoft.com/office/drawing/2014/main" id="{B5279600-C9F1-CF2F-5C8E-97EEA785D158}"/>
              </a:ext>
            </a:extLst>
          </p:cNvPr>
          <p:cNvSpPr>
            <a:spLocks noGrp="1"/>
          </p:cNvSpPr>
          <p:nvPr>
            <p:ph type="title" hasCustomPrompt="1"/>
          </p:nvPr>
        </p:nvSpPr>
        <p:spPr bwMode="white">
          <a:xfrm>
            <a:off x="560269" y="1308100"/>
            <a:ext cx="6324600" cy="2171700"/>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pic>
        <p:nvPicPr>
          <p:cNvPr id="6" name="Graphic 5">
            <a:extLst>
              <a:ext uri="{FF2B5EF4-FFF2-40B4-BE49-F238E27FC236}">
                <a16:creationId xmlns:a16="http://schemas.microsoft.com/office/drawing/2014/main" id="{EC8615EA-924C-6B9D-68EB-D8BBB5ECB831}"/>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9360095" y="5843933"/>
            <a:ext cx="2212298" cy="399963"/>
          </a:xfrm>
          <a:prstGeom prst="rect">
            <a:avLst/>
          </a:prstGeom>
        </p:spPr>
      </p:pic>
    </p:spTree>
    <p:extLst>
      <p:ext uri="{BB962C8B-B14F-4D97-AF65-F5344CB8AC3E}">
        <p14:creationId xmlns:p14="http://schemas.microsoft.com/office/powerpoint/2010/main" val="98273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ivider 2026-04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371741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0054152A-0AC2-B35F-B3CA-D6B593C009A8}"/>
              </a:ext>
            </a:extLst>
          </p:cNvPr>
          <p:cNvSpPr>
            <a:spLocks noGrp="1"/>
          </p:cNvSpPr>
          <p:nvPr>
            <p:ph type="pic" sz="quarter" idx="14" hasCustomPrompt="1"/>
          </p:nvPr>
        </p:nvSpPr>
        <p:spPr>
          <a:xfrm>
            <a:off x="622300" y="673100"/>
            <a:ext cx="10909300" cy="2463800"/>
          </a:xfrm>
          <a:custGeom>
            <a:avLst/>
            <a:gdLst>
              <a:gd name="connsiteX0" fmla="*/ 1231900 w 10909300"/>
              <a:gd name="connsiteY0" fmla="*/ 0 h 2463800"/>
              <a:gd name="connsiteX1" fmla="*/ 9677400 w 10909300"/>
              <a:gd name="connsiteY1" fmla="*/ 0 h 2463800"/>
              <a:gd name="connsiteX2" fmla="*/ 10909300 w 10909300"/>
              <a:gd name="connsiteY2" fmla="*/ 1231900 h 2463800"/>
              <a:gd name="connsiteX3" fmla="*/ 9677400 w 10909300"/>
              <a:gd name="connsiteY3" fmla="*/ 2463800 h 2463800"/>
              <a:gd name="connsiteX4" fmla="*/ 1231900 w 10909300"/>
              <a:gd name="connsiteY4" fmla="*/ 2463800 h 2463800"/>
              <a:gd name="connsiteX5" fmla="*/ 0 w 10909300"/>
              <a:gd name="connsiteY5" fmla="*/ 1231900 h 2463800"/>
              <a:gd name="connsiteX6" fmla="*/ 1231900 w 10909300"/>
              <a:gd name="connsiteY6"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09300" h="2463800">
                <a:moveTo>
                  <a:pt x="1231900" y="0"/>
                </a:moveTo>
                <a:lnTo>
                  <a:pt x="9677400" y="0"/>
                </a:lnTo>
                <a:cubicBezTo>
                  <a:pt x="10357760" y="0"/>
                  <a:pt x="10909300" y="551540"/>
                  <a:pt x="10909300" y="1231900"/>
                </a:cubicBezTo>
                <a:cubicBezTo>
                  <a:pt x="10909300" y="1912260"/>
                  <a:pt x="10357760" y="2463800"/>
                  <a:pt x="9677400" y="2463800"/>
                </a:cubicBezTo>
                <a:lnTo>
                  <a:pt x="1231900" y="2463800"/>
                </a:lnTo>
                <a:cubicBezTo>
                  <a:pt x="551540" y="2463800"/>
                  <a:pt x="0" y="1912260"/>
                  <a:pt x="0" y="1231900"/>
                </a:cubicBezTo>
                <a:cubicBezTo>
                  <a:pt x="0" y="551540"/>
                  <a:pt x="551540" y="0"/>
                  <a:pt x="1231900" y="0"/>
                </a:cubicBez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pic>
        <p:nvPicPr>
          <p:cNvPr id="28" name="Graphic 27">
            <a:extLst>
              <a:ext uri="{FF2B5EF4-FFF2-40B4-BE49-F238E27FC236}">
                <a16:creationId xmlns:a16="http://schemas.microsoft.com/office/drawing/2014/main" id="{4698F2DD-4D97-8D7A-5BEC-E5396E6DFD14}"/>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9360095" y="5843933"/>
            <a:ext cx="2212298" cy="399963"/>
          </a:xfrm>
          <a:prstGeom prst="rect">
            <a:avLst/>
          </a:prstGeom>
        </p:spPr>
      </p:pic>
      <p:sp>
        <p:nvSpPr>
          <p:cNvPr id="40" name="Title 1">
            <a:extLst>
              <a:ext uri="{FF2B5EF4-FFF2-40B4-BE49-F238E27FC236}">
                <a16:creationId xmlns:a16="http://schemas.microsoft.com/office/drawing/2014/main" id="{555A42D2-18FC-DFFB-5DB3-DF592BF30F91}"/>
              </a:ext>
            </a:extLst>
          </p:cNvPr>
          <p:cNvSpPr>
            <a:spLocks noGrp="1"/>
          </p:cNvSpPr>
          <p:nvPr>
            <p:ph type="title" hasCustomPrompt="1"/>
          </p:nvPr>
        </p:nvSpPr>
        <p:spPr bwMode="white">
          <a:xfrm>
            <a:off x="1703173" y="3657600"/>
            <a:ext cx="8785654" cy="1446550"/>
          </a:xfrm>
          <a:prstGeom prst="rect">
            <a:avLst/>
          </a:prstGeom>
        </p:spPr>
        <p:txBody>
          <a:bodyPr vert="horz" anchor="t" anchorCtr="0">
            <a:noAutofit/>
          </a:bodyPr>
          <a:lstStyle>
            <a:lvl1pPr algn="l">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a:t>
            </a:r>
            <a:br>
              <a:rPr lang="en-US"/>
            </a:br>
            <a:r>
              <a:rPr lang="en-US"/>
              <a:t>Sans Light sentence case</a:t>
            </a:r>
          </a:p>
        </p:txBody>
      </p:sp>
    </p:spTree>
    <p:extLst>
      <p:ext uri="{BB962C8B-B14F-4D97-AF65-F5344CB8AC3E}">
        <p14:creationId xmlns:p14="http://schemas.microsoft.com/office/powerpoint/2010/main" val="422243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ivider 2026-05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370668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C64657C8-34AC-81B6-5C51-BB17F9686E24}"/>
              </a:ext>
            </a:extLst>
          </p:cNvPr>
          <p:cNvSpPr/>
          <p:nvPr/>
        </p:nvSpPr>
        <p:spPr>
          <a:xfrm rot="5400000">
            <a:off x="-17144" y="2760344"/>
            <a:ext cx="4114801" cy="4080511"/>
          </a:xfrm>
          <a:custGeom>
            <a:avLst/>
            <a:gdLst>
              <a:gd name="connsiteX0" fmla="*/ 0 w 4114801"/>
              <a:gd name="connsiteY0" fmla="*/ 4080511 h 4080511"/>
              <a:gd name="connsiteX1" fmla="*/ 0 w 4114801"/>
              <a:gd name="connsiteY1" fmla="*/ 2051686 h 4080511"/>
              <a:gd name="connsiteX2" fmla="*/ 2051686 w 4114801"/>
              <a:gd name="connsiteY2" fmla="*/ 0 h 4080511"/>
              <a:gd name="connsiteX3" fmla="*/ 2063115 w 4114801"/>
              <a:gd name="connsiteY3" fmla="*/ 0 h 4080511"/>
              <a:gd name="connsiteX4" fmla="*/ 4114801 w 4114801"/>
              <a:gd name="connsiteY4" fmla="*/ 2051686 h 4080511"/>
              <a:gd name="connsiteX5" fmla="*/ 4114800 w 4114801"/>
              <a:gd name="connsiteY5" fmla="*/ 4080511 h 408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4801" h="4080511">
                <a:moveTo>
                  <a:pt x="0" y="4080511"/>
                </a:moveTo>
                <a:lnTo>
                  <a:pt x="0" y="2051686"/>
                </a:lnTo>
                <a:cubicBezTo>
                  <a:pt x="0" y="918571"/>
                  <a:pt x="918571" y="0"/>
                  <a:pt x="2051686" y="0"/>
                </a:cubicBezTo>
                <a:lnTo>
                  <a:pt x="2063115" y="0"/>
                </a:lnTo>
                <a:cubicBezTo>
                  <a:pt x="3196230" y="0"/>
                  <a:pt x="4114801" y="918571"/>
                  <a:pt x="4114801" y="2051686"/>
                </a:cubicBezTo>
                <a:lnTo>
                  <a:pt x="4114800" y="4080511"/>
                </a:lnTo>
                <a:close/>
              </a:path>
            </a:pathLst>
          </a:custGeom>
          <a:gradFill flip="none" rotWithShape="1">
            <a:gsLst>
              <a:gs pos="65000">
                <a:srgbClr val="140A42"/>
              </a:gs>
              <a:gs pos="0">
                <a:srgbClr val="00CCFF"/>
              </a:gs>
            </a:gsLst>
            <a:lin ang="8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pic>
        <p:nvPicPr>
          <p:cNvPr id="23" name="Graphic 22">
            <a:extLst>
              <a:ext uri="{FF2B5EF4-FFF2-40B4-BE49-F238E27FC236}">
                <a16:creationId xmlns:a16="http://schemas.microsoft.com/office/drawing/2014/main" id="{194BBB78-5FF7-C366-70FD-3AF06FA9E09B}"/>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25" name="Title 1">
            <a:extLst>
              <a:ext uri="{FF2B5EF4-FFF2-40B4-BE49-F238E27FC236}">
                <a16:creationId xmlns:a16="http://schemas.microsoft.com/office/drawing/2014/main" id="{5FE5ABEB-7B35-8213-C6F0-6497298925D8}"/>
              </a:ext>
            </a:extLst>
          </p:cNvPr>
          <p:cNvSpPr>
            <a:spLocks noGrp="1"/>
          </p:cNvSpPr>
          <p:nvPr>
            <p:ph type="title" hasCustomPrompt="1"/>
          </p:nvPr>
        </p:nvSpPr>
        <p:spPr bwMode="white">
          <a:xfrm>
            <a:off x="6948370" y="2594609"/>
            <a:ext cx="4624024" cy="2739391"/>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Sans Light sentence case</a:t>
            </a:r>
          </a:p>
        </p:txBody>
      </p:sp>
      <p:sp>
        <p:nvSpPr>
          <p:cNvPr id="13" name="Picture Placeholder 12">
            <a:extLst>
              <a:ext uri="{FF2B5EF4-FFF2-40B4-BE49-F238E27FC236}">
                <a16:creationId xmlns:a16="http://schemas.microsoft.com/office/drawing/2014/main" id="{6A254D77-8314-1D63-56AD-419C890F5396}"/>
              </a:ext>
            </a:extLst>
          </p:cNvPr>
          <p:cNvSpPr>
            <a:spLocks noGrp="1"/>
          </p:cNvSpPr>
          <p:nvPr>
            <p:ph type="pic" sz="quarter" idx="16" hasCustomPrompt="1"/>
          </p:nvPr>
        </p:nvSpPr>
        <p:spPr>
          <a:xfrm>
            <a:off x="0" y="0"/>
            <a:ext cx="6327139" cy="5552111"/>
          </a:xfrm>
          <a:custGeom>
            <a:avLst/>
            <a:gdLst>
              <a:gd name="connsiteX0" fmla="*/ 0 w 6327139"/>
              <a:gd name="connsiteY0" fmla="*/ 0 h 5552111"/>
              <a:gd name="connsiteX1" fmla="*/ 6327139 w 6327139"/>
              <a:gd name="connsiteY1" fmla="*/ 0 h 5552111"/>
              <a:gd name="connsiteX2" fmla="*/ 6327139 w 6327139"/>
              <a:gd name="connsiteY2" fmla="*/ 2377111 h 5552111"/>
              <a:gd name="connsiteX3" fmla="*/ 3152139 w 6327139"/>
              <a:gd name="connsiteY3" fmla="*/ 5552111 h 5552111"/>
              <a:gd name="connsiteX4" fmla="*/ 13723 w 6327139"/>
              <a:gd name="connsiteY4" fmla="*/ 2860632 h 5552111"/>
              <a:gd name="connsiteX5" fmla="*/ 0 w 6327139"/>
              <a:gd name="connsiteY5" fmla="*/ 2752636 h 555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7139" h="5552111">
                <a:moveTo>
                  <a:pt x="0" y="0"/>
                </a:moveTo>
                <a:lnTo>
                  <a:pt x="6327139" y="0"/>
                </a:lnTo>
                <a:lnTo>
                  <a:pt x="6327139" y="2377111"/>
                </a:lnTo>
                <a:cubicBezTo>
                  <a:pt x="6327139" y="4130615"/>
                  <a:pt x="4905643" y="5552111"/>
                  <a:pt x="3152139" y="5552111"/>
                </a:cubicBezTo>
                <a:cubicBezTo>
                  <a:pt x="1563027" y="5552111"/>
                  <a:pt x="246589" y="4384652"/>
                  <a:pt x="13723" y="2860632"/>
                </a:cubicBezTo>
                <a:lnTo>
                  <a:pt x="0" y="2752636"/>
                </a:lnTo>
                <a:close/>
              </a:path>
            </a:pathLst>
          </a:custGeom>
          <a:blipFill>
            <a:blip r:embed="rId6"/>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9" name="Text Placeholder 8">
            <a:extLst>
              <a:ext uri="{FF2B5EF4-FFF2-40B4-BE49-F238E27FC236}">
                <a16:creationId xmlns:a16="http://schemas.microsoft.com/office/drawing/2014/main" id="{88296AAA-9AC5-C0EC-9897-4E4D0D105DAE}"/>
              </a:ext>
            </a:extLst>
          </p:cNvPr>
          <p:cNvSpPr>
            <a:spLocks noGrp="1"/>
          </p:cNvSpPr>
          <p:nvPr>
            <p:ph type="body" sz="quarter" idx="20" hasCustomPrompt="1"/>
          </p:nvPr>
        </p:nvSpPr>
        <p:spPr>
          <a:xfrm>
            <a:off x="0" y="2743200"/>
            <a:ext cx="4080512" cy="2808911"/>
          </a:xfrm>
          <a:custGeom>
            <a:avLst/>
            <a:gdLst>
              <a:gd name="connsiteX0" fmla="*/ 0 w 4080512"/>
              <a:gd name="connsiteY0" fmla="*/ 0 h 2808911"/>
              <a:gd name="connsiteX1" fmla="*/ 2028826 w 4080512"/>
              <a:gd name="connsiteY1" fmla="*/ 0 h 2808911"/>
              <a:gd name="connsiteX2" fmla="*/ 4080512 w 4080512"/>
              <a:gd name="connsiteY2" fmla="*/ 2051686 h 2808911"/>
              <a:gd name="connsiteX3" fmla="*/ 4080512 w 4080512"/>
              <a:gd name="connsiteY3" fmla="*/ 2063115 h 2808911"/>
              <a:gd name="connsiteX4" fmla="*/ 3988272 w 4080512"/>
              <a:gd name="connsiteY4" fmla="*/ 2673224 h 2808911"/>
              <a:gd name="connsiteX5" fmla="*/ 3978625 w 4080512"/>
              <a:gd name="connsiteY5" fmla="*/ 2699582 h 2808911"/>
              <a:gd name="connsiteX6" fmla="*/ 3945622 w 4080512"/>
              <a:gd name="connsiteY6" fmla="*/ 2708954 h 2808911"/>
              <a:gd name="connsiteX7" fmla="*/ 3152140 w 4080512"/>
              <a:gd name="connsiteY7" fmla="*/ 2808911 h 2808911"/>
              <a:gd name="connsiteX8" fmla="*/ 13723 w 4080512"/>
              <a:gd name="connsiteY8" fmla="*/ 117432 h 2808911"/>
              <a:gd name="connsiteX9" fmla="*/ 0 w 4080512"/>
              <a:gd name="connsiteY9" fmla="*/ 9436 h 280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0512" h="2808911">
                <a:moveTo>
                  <a:pt x="0" y="0"/>
                </a:moveTo>
                <a:lnTo>
                  <a:pt x="2028826" y="0"/>
                </a:lnTo>
                <a:cubicBezTo>
                  <a:pt x="3161941" y="0"/>
                  <a:pt x="4080513" y="918572"/>
                  <a:pt x="4080512" y="2051686"/>
                </a:cubicBezTo>
                <a:lnTo>
                  <a:pt x="4080512" y="2063115"/>
                </a:lnTo>
                <a:cubicBezTo>
                  <a:pt x="4080512" y="2275574"/>
                  <a:pt x="4048219" y="2480491"/>
                  <a:pt x="3988272" y="2673224"/>
                </a:cubicBezTo>
                <a:lnTo>
                  <a:pt x="3978625" y="2699582"/>
                </a:lnTo>
                <a:lnTo>
                  <a:pt x="3945622" y="2708954"/>
                </a:lnTo>
                <a:cubicBezTo>
                  <a:pt x="3692005" y="2774207"/>
                  <a:pt x="3426125" y="2808911"/>
                  <a:pt x="3152140" y="2808911"/>
                </a:cubicBezTo>
                <a:cubicBezTo>
                  <a:pt x="1563027" y="2808911"/>
                  <a:pt x="246589" y="1641452"/>
                  <a:pt x="13723" y="117432"/>
                </a:cubicBezTo>
                <a:lnTo>
                  <a:pt x="0" y="9436"/>
                </a:lnTo>
                <a:close/>
              </a:path>
            </a:pathLst>
          </a:custGeom>
          <a:solidFill>
            <a:srgbClr val="00CC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None/>
              <a:defRPr lang="en-US" sz="1600" dirty="0"/>
            </a:lvl1pPr>
          </a:lstStyle>
          <a:p>
            <a:pPr marL="0" lvl="0"/>
            <a:r>
              <a:rPr lang="en-US"/>
              <a:t> </a:t>
            </a:r>
          </a:p>
        </p:txBody>
      </p:sp>
      <p:grpSp>
        <p:nvGrpSpPr>
          <p:cNvPr id="12" name="Group 11">
            <a:extLst>
              <a:ext uri="{FF2B5EF4-FFF2-40B4-BE49-F238E27FC236}">
                <a16:creationId xmlns:a16="http://schemas.microsoft.com/office/drawing/2014/main" id="{13E3113A-26C0-984B-11CB-789A7AFB2ED7}"/>
              </a:ext>
            </a:extLst>
          </p:cNvPr>
          <p:cNvGrpSpPr/>
          <p:nvPr/>
        </p:nvGrpSpPr>
        <p:grpSpPr>
          <a:xfrm>
            <a:off x="12323965" y="3876462"/>
            <a:ext cx="2089689" cy="3212677"/>
            <a:chOff x="12323965" y="3876462"/>
            <a:chExt cx="2089689" cy="3212677"/>
          </a:xfrm>
        </p:grpSpPr>
        <p:sp>
          <p:nvSpPr>
            <p:cNvPr id="14" name="Rectangle 13">
              <a:extLst>
                <a:ext uri="{FF2B5EF4-FFF2-40B4-BE49-F238E27FC236}">
                  <a16:creationId xmlns:a16="http://schemas.microsoft.com/office/drawing/2014/main" id="{99302882-B07A-5399-657A-08126A085FAA}"/>
                </a:ext>
              </a:extLst>
            </p:cNvPr>
            <p:cNvSpPr/>
            <p:nvPr/>
          </p:nvSpPr>
          <p:spPr>
            <a:xfrm>
              <a:off x="12323965" y="3876462"/>
              <a:ext cx="2089689" cy="3212677"/>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spcBef>
                  <a:spcPts val="600"/>
                </a:spcBef>
              </a:pPr>
              <a:r>
                <a:rPr lang="en-US" sz="900" b="1"/>
                <a:t>Instructions to change the image follow below steps:</a:t>
              </a:r>
            </a:p>
            <a:p>
              <a:pPr marL="182880" indent="-182880" algn="l">
                <a:spcBef>
                  <a:spcPts val="600"/>
                </a:spcBef>
                <a:buFont typeface="Arial" panose="020B0604020202020204" pitchFamily="34" charset="0"/>
                <a:buChar char="•"/>
              </a:pPr>
              <a:r>
                <a:rPr lang="en-US" sz="900" b="1"/>
                <a:t>Step 1:</a:t>
              </a:r>
              <a:r>
                <a:rPr lang="en-US" sz="900"/>
                <a:t> Please move the masked shapes from top of the image placeholder</a:t>
              </a:r>
            </a:p>
            <a:p>
              <a:pPr marL="182880" indent="-182880" algn="l">
                <a:spcBef>
                  <a:spcPts val="600"/>
                </a:spcBef>
                <a:buFont typeface="Arial" panose="020B0604020202020204" pitchFamily="34" charset="0"/>
                <a:buChar char="•"/>
              </a:pPr>
              <a:r>
                <a:rPr lang="en-US" sz="900" b="1"/>
                <a:t>Step 2:</a:t>
              </a:r>
              <a:r>
                <a:rPr lang="en-US" sz="900"/>
                <a:t> Click on the </a:t>
              </a:r>
              <a:br>
                <a:rPr lang="en-US" sz="900"/>
              </a:br>
              <a:r>
                <a:rPr lang="en-US" sz="900"/>
                <a:t>image icon </a:t>
              </a:r>
            </a:p>
            <a:p>
              <a:pPr marL="182880" indent="-182880" algn="l">
                <a:spcBef>
                  <a:spcPts val="600"/>
                </a:spcBef>
                <a:buFont typeface="Arial" panose="020B0604020202020204" pitchFamily="34" charset="0"/>
                <a:buChar char="•"/>
              </a:pPr>
              <a:r>
                <a:rPr lang="en-US" sz="900" b="1"/>
                <a:t>Step 3:</a:t>
              </a:r>
              <a:r>
                <a:rPr lang="en-US" sz="900"/>
                <a:t> Select the image to be replaced and then click on Insert option</a:t>
              </a:r>
            </a:p>
            <a:p>
              <a:pPr marL="182880" indent="-182880" algn="l">
                <a:spcBef>
                  <a:spcPts val="600"/>
                </a:spcBef>
                <a:buFont typeface="Arial" panose="020B0604020202020204" pitchFamily="34" charset="0"/>
                <a:buChar char="•"/>
              </a:pPr>
              <a:r>
                <a:rPr lang="en-US" sz="900" b="1"/>
                <a:t>Step 4:</a:t>
              </a:r>
              <a:r>
                <a:rPr lang="en-US" sz="900"/>
                <a:t> Once the image is replaced, Goto </a:t>
              </a:r>
              <a:br>
                <a:rPr lang="en-US" sz="900"/>
              </a:br>
              <a:r>
                <a:rPr lang="en-US" sz="900"/>
                <a:t>Home =&gt; Reset option</a:t>
              </a:r>
            </a:p>
            <a:p>
              <a:pPr marL="182880" indent="-182880" algn="l">
                <a:spcBef>
                  <a:spcPts val="600"/>
                </a:spcBef>
                <a:buFont typeface="Arial" panose="020B0604020202020204" pitchFamily="34" charset="0"/>
                <a:buChar char="•"/>
              </a:pPr>
              <a:endParaRPr lang="en-US" sz="900" b="1"/>
            </a:p>
            <a:p>
              <a:pPr marL="182880" indent="-182880" algn="l">
                <a:spcBef>
                  <a:spcPts val="600"/>
                </a:spcBef>
                <a:buFont typeface="Arial" panose="020B0604020202020204" pitchFamily="34" charset="0"/>
                <a:buChar char="•"/>
              </a:pPr>
              <a:endParaRPr lang="en-US" sz="1800" b="1"/>
            </a:p>
            <a:p>
              <a:pPr marL="182880" indent="-182880" algn="l">
                <a:spcBef>
                  <a:spcPts val="600"/>
                </a:spcBef>
                <a:buFont typeface="Arial" panose="020B0604020202020204" pitchFamily="34" charset="0"/>
                <a:buChar char="•"/>
              </a:pPr>
              <a:r>
                <a:rPr lang="en-US" sz="900" b="1"/>
                <a:t>Step 5:</a:t>
              </a:r>
              <a:r>
                <a:rPr lang="en-US" sz="900"/>
                <a:t> Shape/masked  layers will be readjusted on the slide and ready to use</a:t>
              </a:r>
            </a:p>
          </p:txBody>
        </p:sp>
        <p:pic>
          <p:nvPicPr>
            <p:cNvPr id="15" name="Picture 14">
              <a:extLst>
                <a:ext uri="{FF2B5EF4-FFF2-40B4-BE49-F238E27FC236}">
                  <a16:creationId xmlns:a16="http://schemas.microsoft.com/office/drawing/2014/main" id="{2CC58985-0C3C-097C-1F60-A1A44B3F677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694135" y="4756344"/>
              <a:ext cx="197126" cy="174381"/>
            </a:xfrm>
            <a:prstGeom prst="rect">
              <a:avLst/>
            </a:prstGeom>
          </p:spPr>
        </p:pic>
        <p:pic>
          <p:nvPicPr>
            <p:cNvPr id="16" name="Picture 15">
              <a:extLst>
                <a:ext uri="{FF2B5EF4-FFF2-40B4-BE49-F238E27FC236}">
                  <a16:creationId xmlns:a16="http://schemas.microsoft.com/office/drawing/2014/main" id="{B04BF919-0125-F0D1-D738-4F4B0976D726}"/>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13834532" y="5786295"/>
              <a:ext cx="491067" cy="213105"/>
            </a:xfrm>
            <a:custGeom>
              <a:avLst/>
              <a:gdLst>
                <a:gd name="connsiteX0" fmla="*/ 0 w 538480"/>
                <a:gd name="connsiteY0" fmla="*/ 0 h 233680"/>
                <a:gd name="connsiteX1" fmla="*/ 538480 w 538480"/>
                <a:gd name="connsiteY1" fmla="*/ 0 h 233680"/>
                <a:gd name="connsiteX2" fmla="*/ 538480 w 538480"/>
                <a:gd name="connsiteY2" fmla="*/ 233680 h 233680"/>
                <a:gd name="connsiteX3" fmla="*/ 0 w 538480"/>
                <a:gd name="connsiteY3" fmla="*/ 233680 h 233680"/>
              </a:gdLst>
              <a:ahLst/>
              <a:cxnLst>
                <a:cxn ang="0">
                  <a:pos x="connsiteX0" y="connsiteY0"/>
                </a:cxn>
                <a:cxn ang="0">
                  <a:pos x="connsiteX1" y="connsiteY1"/>
                </a:cxn>
                <a:cxn ang="0">
                  <a:pos x="connsiteX2" y="connsiteY2"/>
                </a:cxn>
                <a:cxn ang="0">
                  <a:pos x="connsiteX3" y="connsiteY3"/>
                </a:cxn>
              </a:cxnLst>
              <a:rect l="l" t="t" r="r" b="b"/>
              <a:pathLst>
                <a:path w="538480" h="233680">
                  <a:moveTo>
                    <a:pt x="0" y="0"/>
                  </a:moveTo>
                  <a:lnTo>
                    <a:pt x="538480" y="0"/>
                  </a:lnTo>
                  <a:lnTo>
                    <a:pt x="538480" y="233680"/>
                  </a:lnTo>
                  <a:lnTo>
                    <a:pt x="0" y="233680"/>
                  </a:lnTo>
                  <a:close/>
                </a:path>
              </a:pathLst>
            </a:custGeom>
          </p:spPr>
        </p:pic>
        <p:grpSp>
          <p:nvGrpSpPr>
            <p:cNvPr id="17" name="Group 16">
              <a:extLst>
                <a:ext uri="{FF2B5EF4-FFF2-40B4-BE49-F238E27FC236}">
                  <a16:creationId xmlns:a16="http://schemas.microsoft.com/office/drawing/2014/main" id="{3D3F27F7-BE73-4095-86A6-D508C1A94F63}"/>
                </a:ext>
              </a:extLst>
            </p:cNvPr>
            <p:cNvGrpSpPr/>
            <p:nvPr/>
          </p:nvGrpSpPr>
          <p:grpSpPr>
            <a:xfrm>
              <a:off x="12598400" y="6054514"/>
              <a:ext cx="833967" cy="541456"/>
              <a:chOff x="12585700" y="6121400"/>
              <a:chExt cx="833967" cy="541456"/>
            </a:xfrm>
          </p:grpSpPr>
          <p:pic>
            <p:nvPicPr>
              <p:cNvPr id="18" name="Picture 2">
                <a:extLst>
                  <a:ext uri="{FF2B5EF4-FFF2-40B4-BE49-F238E27FC236}">
                    <a16:creationId xmlns:a16="http://schemas.microsoft.com/office/drawing/2014/main" id="{D15BDCEA-34E9-D41E-A765-98D13F56C2E5}"/>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a:fillRect/>
              </a:stretch>
            </p:blipFill>
            <p:spPr bwMode="auto">
              <a:xfrm>
                <a:off x="12585700" y="6121400"/>
                <a:ext cx="833967" cy="54145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49A0D4E4-097B-6261-3752-47CD008405BE}"/>
                  </a:ext>
                </a:extLst>
              </p:cNvPr>
              <p:cNvSpPr/>
              <p:nvPr/>
            </p:nvSpPr>
            <p:spPr>
              <a:xfrm>
                <a:off x="12699270" y="6154738"/>
                <a:ext cx="226156" cy="91385"/>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0" name="Rectangle 19">
                <a:extLst>
                  <a:ext uri="{FF2B5EF4-FFF2-40B4-BE49-F238E27FC236}">
                    <a16:creationId xmlns:a16="http://schemas.microsoft.com/office/drawing/2014/main" id="{4A461E1A-178C-C568-796D-F6D8764F4046}"/>
                  </a:ext>
                </a:extLst>
              </p:cNvPr>
              <p:cNvSpPr/>
              <p:nvPr/>
            </p:nvSpPr>
            <p:spPr>
              <a:xfrm>
                <a:off x="13179219" y="6412700"/>
                <a:ext cx="147839" cy="102400"/>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grpSp>
    </p:spTree>
    <p:extLst>
      <p:ext uri="{BB962C8B-B14F-4D97-AF65-F5344CB8AC3E}">
        <p14:creationId xmlns:p14="http://schemas.microsoft.com/office/powerpoint/2010/main" val="3938696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ivider 2026-06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42645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Freeform: Shape 31">
            <a:extLst>
              <a:ext uri="{FF2B5EF4-FFF2-40B4-BE49-F238E27FC236}">
                <a16:creationId xmlns:a16="http://schemas.microsoft.com/office/drawing/2014/main" id="{0309296F-DACA-9046-F9F0-2407339F5BBF}"/>
              </a:ext>
            </a:extLst>
          </p:cNvPr>
          <p:cNvSpPr/>
          <p:nvPr/>
        </p:nvSpPr>
        <p:spPr>
          <a:xfrm>
            <a:off x="0" y="241300"/>
            <a:ext cx="11861800" cy="6362700"/>
          </a:xfrm>
          <a:custGeom>
            <a:avLst/>
            <a:gdLst>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 name="connsiteX6" fmla="*/ 91440 w 11861800"/>
              <a:gd name="connsiteY6" fmla="*/ 91440 h 6362700"/>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61800" h="6362700">
                <a:moveTo>
                  <a:pt x="0" y="0"/>
                </a:moveTo>
                <a:lnTo>
                  <a:pt x="11042602" y="0"/>
                </a:lnTo>
                <a:cubicBezTo>
                  <a:pt x="11495033" y="0"/>
                  <a:pt x="11861800" y="366767"/>
                  <a:pt x="11861800" y="819198"/>
                </a:cubicBezTo>
                <a:lnTo>
                  <a:pt x="11861800" y="5543502"/>
                </a:lnTo>
                <a:cubicBezTo>
                  <a:pt x="11861800" y="5995933"/>
                  <a:pt x="11495033" y="6362700"/>
                  <a:pt x="11042602" y="6362700"/>
                </a:cubicBezTo>
                <a:lnTo>
                  <a:pt x="0" y="636270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3" name="Freeform: Shape 22">
            <a:extLst>
              <a:ext uri="{FF2B5EF4-FFF2-40B4-BE49-F238E27FC236}">
                <a16:creationId xmlns:a16="http://schemas.microsoft.com/office/drawing/2014/main" id="{008C8038-FA73-08C5-C7EC-459DEC5181D5}"/>
              </a:ext>
            </a:extLst>
          </p:cNvPr>
          <p:cNvSpPr/>
          <p:nvPr/>
        </p:nvSpPr>
        <p:spPr>
          <a:xfrm rot="2700000">
            <a:off x="9238214" y="-735198"/>
            <a:ext cx="2460591" cy="4778211"/>
          </a:xfrm>
          <a:custGeom>
            <a:avLst/>
            <a:gdLst>
              <a:gd name="connsiteX0" fmla="*/ 0 w 2460591"/>
              <a:gd name="connsiteY0" fmla="*/ 1280424 h 4778211"/>
              <a:gd name="connsiteX1" fmla="*/ 1280424 w 2460591"/>
              <a:gd name="connsiteY1" fmla="*/ 0 h 4778211"/>
              <a:gd name="connsiteX2" fmla="*/ 2460591 w 2460591"/>
              <a:gd name="connsiteY2" fmla="*/ 1180167 h 4778211"/>
              <a:gd name="connsiteX3" fmla="*/ 2460591 w 2460591"/>
              <a:gd name="connsiteY3" fmla="*/ 3547915 h 4778211"/>
              <a:gd name="connsiteX4" fmla="*/ 1230295 w 2460591"/>
              <a:gd name="connsiteY4" fmla="*/ 4778211 h 4778211"/>
              <a:gd name="connsiteX5" fmla="*/ 1230296 w 2460591"/>
              <a:gd name="connsiteY5" fmla="*/ 4778210 h 4778211"/>
              <a:gd name="connsiteX6" fmla="*/ 0 w 2460591"/>
              <a:gd name="connsiteY6" fmla="*/ 3547914 h 477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0591" h="4778211">
                <a:moveTo>
                  <a:pt x="0" y="1280424"/>
                </a:moveTo>
                <a:lnTo>
                  <a:pt x="1280424" y="0"/>
                </a:lnTo>
                <a:lnTo>
                  <a:pt x="2460591" y="1180167"/>
                </a:lnTo>
                <a:lnTo>
                  <a:pt x="2460591" y="3547915"/>
                </a:lnTo>
                <a:cubicBezTo>
                  <a:pt x="2460591" y="4227389"/>
                  <a:pt x="1909769" y="4778211"/>
                  <a:pt x="1230295" y="4778211"/>
                </a:cubicBezTo>
                <a:lnTo>
                  <a:pt x="1230296" y="4778210"/>
                </a:lnTo>
                <a:cubicBezTo>
                  <a:pt x="550822" y="4778210"/>
                  <a:pt x="0" y="4227388"/>
                  <a:pt x="0" y="354791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Rectangle: Rounded Corners 6">
            <a:extLst>
              <a:ext uri="{FF2B5EF4-FFF2-40B4-BE49-F238E27FC236}">
                <a16:creationId xmlns:a16="http://schemas.microsoft.com/office/drawing/2014/main" id="{0A6F5794-85A7-17A2-FFC2-4D48EE025E27}"/>
              </a:ext>
            </a:extLst>
          </p:cNvPr>
          <p:cNvSpPr/>
          <p:nvPr/>
        </p:nvSpPr>
        <p:spPr>
          <a:xfrm rot="2700000">
            <a:off x="9018425" y="1722637"/>
            <a:ext cx="1400920" cy="3088994"/>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1" name="Freeform: Shape 20">
            <a:extLst>
              <a:ext uri="{FF2B5EF4-FFF2-40B4-BE49-F238E27FC236}">
                <a16:creationId xmlns:a16="http://schemas.microsoft.com/office/drawing/2014/main" id="{00DF1DF1-E612-7259-00E2-0E94AA9CD634}"/>
              </a:ext>
            </a:extLst>
          </p:cNvPr>
          <p:cNvSpPr/>
          <p:nvPr/>
        </p:nvSpPr>
        <p:spPr>
          <a:xfrm rot="2700000">
            <a:off x="11090780" y="1102947"/>
            <a:ext cx="573932" cy="2880691"/>
          </a:xfrm>
          <a:custGeom>
            <a:avLst/>
            <a:gdLst>
              <a:gd name="connsiteX0" fmla="*/ 0 w 573932"/>
              <a:gd name="connsiteY0" fmla="*/ 0 h 2880691"/>
              <a:gd name="connsiteX1" fmla="*/ 573932 w 573932"/>
              <a:gd name="connsiteY1" fmla="*/ 573932 h 2880691"/>
              <a:gd name="connsiteX2" fmla="*/ 573932 w 573932"/>
              <a:gd name="connsiteY2" fmla="*/ 2593725 h 2880691"/>
              <a:gd name="connsiteX3" fmla="*/ 286966 w 573932"/>
              <a:gd name="connsiteY3" fmla="*/ 2880691 h 2880691"/>
              <a:gd name="connsiteX4" fmla="*/ 0 w 573932"/>
              <a:gd name="connsiteY4" fmla="*/ 2593725 h 2880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932" h="2880691">
                <a:moveTo>
                  <a:pt x="0" y="0"/>
                </a:moveTo>
                <a:lnTo>
                  <a:pt x="573932" y="573932"/>
                </a:lnTo>
                <a:lnTo>
                  <a:pt x="573932" y="2593725"/>
                </a:lnTo>
                <a:cubicBezTo>
                  <a:pt x="573932" y="2752212"/>
                  <a:pt x="445453" y="2880691"/>
                  <a:pt x="286966" y="2880691"/>
                </a:cubicBezTo>
                <a:cubicBezTo>
                  <a:pt x="128479" y="2880691"/>
                  <a:pt x="0" y="2752212"/>
                  <a:pt x="0" y="2593725"/>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9" name="Graphic 8">
            <a:extLst>
              <a:ext uri="{FF2B5EF4-FFF2-40B4-BE49-F238E27FC236}">
                <a16:creationId xmlns:a16="http://schemas.microsoft.com/office/drawing/2014/main" id="{A32A4BBE-9AC6-9A23-A558-3095FF713B79}"/>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726120" y="5218685"/>
            <a:ext cx="2212298" cy="399963"/>
          </a:xfrm>
          <a:prstGeom prst="rect">
            <a:avLst/>
          </a:prstGeom>
        </p:spPr>
      </p:pic>
      <p:sp>
        <p:nvSpPr>
          <p:cNvPr id="10" name="Title 1">
            <a:extLst>
              <a:ext uri="{FF2B5EF4-FFF2-40B4-BE49-F238E27FC236}">
                <a16:creationId xmlns:a16="http://schemas.microsoft.com/office/drawing/2014/main" id="{FD57E1A5-6398-744B-9D89-B5FC950E8582}"/>
              </a:ext>
            </a:extLst>
          </p:cNvPr>
          <p:cNvSpPr>
            <a:spLocks noGrp="1"/>
          </p:cNvSpPr>
          <p:nvPr>
            <p:ph type="title" hasCustomPrompt="1"/>
          </p:nvPr>
        </p:nvSpPr>
        <p:spPr bwMode="white">
          <a:xfrm>
            <a:off x="560269" y="1265342"/>
            <a:ext cx="5650031" cy="2087458"/>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
        <p:nvSpPr>
          <p:cNvPr id="11" name="Subtitle 2">
            <a:extLst>
              <a:ext uri="{FF2B5EF4-FFF2-40B4-BE49-F238E27FC236}">
                <a16:creationId xmlns:a16="http://schemas.microsoft.com/office/drawing/2014/main" id="{3D3BA533-3ADD-8D51-053C-1D0D9AD3232B}"/>
              </a:ext>
            </a:extLst>
          </p:cNvPr>
          <p:cNvSpPr>
            <a:spLocks noGrp="1"/>
          </p:cNvSpPr>
          <p:nvPr>
            <p:ph type="subTitle" idx="1" hasCustomPrompt="1"/>
          </p:nvPr>
        </p:nvSpPr>
        <p:spPr>
          <a:xfrm>
            <a:off x="560269" y="767271"/>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2" name="Picture Placeholder 41">
            <a:extLst>
              <a:ext uri="{FF2B5EF4-FFF2-40B4-BE49-F238E27FC236}">
                <a16:creationId xmlns:a16="http://schemas.microsoft.com/office/drawing/2014/main" id="{646C28D9-E3F6-9E2B-04BE-29A79EA6668D}"/>
              </a:ext>
            </a:extLst>
          </p:cNvPr>
          <p:cNvSpPr>
            <a:spLocks noGrp="1"/>
          </p:cNvSpPr>
          <p:nvPr>
            <p:ph type="pic" sz="quarter" idx="14" hasCustomPrompt="1"/>
          </p:nvPr>
        </p:nvSpPr>
        <p:spPr>
          <a:xfrm>
            <a:off x="8667751" y="3414409"/>
            <a:ext cx="3194049" cy="3189591"/>
          </a:xfrm>
          <a:prstGeom prst="roundRect">
            <a:avLst>
              <a:gd name="adj" fmla="val 24829"/>
            </a:avLst>
          </a:pr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823333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ivid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343959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Top Corners Rounded 5">
            <a:extLst>
              <a:ext uri="{FF2B5EF4-FFF2-40B4-BE49-F238E27FC236}">
                <a16:creationId xmlns:a16="http://schemas.microsoft.com/office/drawing/2014/main" id="{06A038E8-64AE-8880-6663-5B5585D30CCB}"/>
              </a:ext>
            </a:extLst>
          </p:cNvPr>
          <p:cNvSpPr/>
          <p:nvPr/>
        </p:nvSpPr>
        <p:spPr>
          <a:xfrm rot="5400000">
            <a:off x="2133600" y="-1543050"/>
            <a:ext cx="5676900" cy="9944100"/>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Freeform: Shape 9">
            <a:extLst>
              <a:ext uri="{FF2B5EF4-FFF2-40B4-BE49-F238E27FC236}">
                <a16:creationId xmlns:a16="http://schemas.microsoft.com/office/drawing/2014/main" id="{330374AA-A7E2-AECE-1458-73409259AA40}"/>
              </a:ext>
            </a:extLst>
          </p:cNvPr>
          <p:cNvSpPr/>
          <p:nvPr/>
        </p:nvSpPr>
        <p:spPr>
          <a:xfrm>
            <a:off x="2" y="589788"/>
            <a:ext cx="2853043" cy="5678424"/>
          </a:xfrm>
          <a:custGeom>
            <a:avLst/>
            <a:gdLst>
              <a:gd name="connsiteX0" fmla="*/ 0 w 2853043"/>
              <a:gd name="connsiteY0" fmla="*/ 0 h 5678424"/>
              <a:gd name="connsiteX1" fmla="*/ 13830 w 2853043"/>
              <a:gd name="connsiteY1" fmla="*/ 0 h 5678424"/>
              <a:gd name="connsiteX2" fmla="*/ 2853043 w 2853043"/>
              <a:gd name="connsiteY2" fmla="*/ 2839212 h 5678424"/>
              <a:gd name="connsiteX3" fmla="*/ 2853042 w 2853043"/>
              <a:gd name="connsiteY3" fmla="*/ 2839212 h 5678424"/>
              <a:gd name="connsiteX4" fmla="*/ 13829 w 2853043"/>
              <a:gd name="connsiteY4" fmla="*/ 5678424 h 5678424"/>
              <a:gd name="connsiteX5" fmla="*/ 0 w 2853043"/>
              <a:gd name="connsiteY5" fmla="*/ 5678424 h 567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3043" h="5678424">
                <a:moveTo>
                  <a:pt x="0" y="0"/>
                </a:moveTo>
                <a:lnTo>
                  <a:pt x="13830" y="0"/>
                </a:lnTo>
                <a:cubicBezTo>
                  <a:pt x="1581884" y="0"/>
                  <a:pt x="2853043" y="1271159"/>
                  <a:pt x="2853043" y="2839212"/>
                </a:cubicBezTo>
                <a:lnTo>
                  <a:pt x="2853042" y="2839212"/>
                </a:lnTo>
                <a:cubicBezTo>
                  <a:pt x="2853042" y="4407266"/>
                  <a:pt x="1581883" y="5678424"/>
                  <a:pt x="13829" y="5678424"/>
                </a:cubicBezTo>
                <a:lnTo>
                  <a:pt x="0" y="5678424"/>
                </a:lnTo>
                <a:close/>
              </a:path>
            </a:pathLst>
          </a:custGeom>
          <a:gradFill flip="none" rotWithShape="1">
            <a:gsLst>
              <a:gs pos="0">
                <a:srgbClr val="3E747E"/>
              </a:gs>
              <a:gs pos="98000">
                <a:srgbClr val="6CE5C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5" name="Graphic 4">
            <a:extLst>
              <a:ext uri="{FF2B5EF4-FFF2-40B4-BE49-F238E27FC236}">
                <a16:creationId xmlns:a16="http://schemas.microsoft.com/office/drawing/2014/main" id="{581C33A8-1F18-8162-5652-8392E5AF9164}"/>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9360095" y="5843933"/>
            <a:ext cx="2212298" cy="399963"/>
          </a:xfrm>
          <a:prstGeom prst="rect">
            <a:avLst/>
          </a:prstGeom>
        </p:spPr>
      </p:pic>
      <p:sp>
        <p:nvSpPr>
          <p:cNvPr id="14" name="Title 1">
            <a:extLst>
              <a:ext uri="{FF2B5EF4-FFF2-40B4-BE49-F238E27FC236}">
                <a16:creationId xmlns:a16="http://schemas.microsoft.com/office/drawing/2014/main" id="{4411A8A4-6024-50CD-FEB3-D5754242D804}"/>
              </a:ext>
            </a:extLst>
          </p:cNvPr>
          <p:cNvSpPr>
            <a:spLocks noGrp="1"/>
          </p:cNvSpPr>
          <p:nvPr>
            <p:ph type="title" hasCustomPrompt="1"/>
          </p:nvPr>
        </p:nvSpPr>
        <p:spPr bwMode="white">
          <a:xfrm>
            <a:off x="3354269" y="2400302"/>
            <a:ext cx="5446831" cy="2057398"/>
          </a:xfrm>
          <a:prstGeom prst="rect">
            <a:avLst/>
          </a:prstGeom>
        </p:spPr>
        <p:txBody>
          <a:bodyPr vert="horz" anchor="t" anchorCtr="0"/>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Tree>
    <p:extLst>
      <p:ext uri="{BB962C8B-B14F-4D97-AF65-F5344CB8AC3E}">
        <p14:creationId xmlns:p14="http://schemas.microsoft.com/office/powerpoint/2010/main" val="357991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ivider 2026-08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48081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6D66F840-DC3F-98E2-1515-EBA85FF8AB6E}"/>
              </a:ext>
            </a:extLst>
          </p:cNvPr>
          <p:cNvSpPr/>
          <p:nvPr/>
        </p:nvSpPr>
        <p:spPr>
          <a:xfrm>
            <a:off x="0"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nvGrpSpPr>
          <p:cNvPr id="33" name="Group 32">
            <a:extLst>
              <a:ext uri="{FF2B5EF4-FFF2-40B4-BE49-F238E27FC236}">
                <a16:creationId xmlns:a16="http://schemas.microsoft.com/office/drawing/2014/main" id="{E3F9D131-ED47-159F-D2D8-EE9600953C46}"/>
              </a:ext>
            </a:extLst>
          </p:cNvPr>
          <p:cNvGrpSpPr/>
          <p:nvPr/>
        </p:nvGrpSpPr>
        <p:grpSpPr>
          <a:xfrm>
            <a:off x="6291548" y="469901"/>
            <a:ext cx="5651999" cy="5905499"/>
            <a:chOff x="-3636639" y="711200"/>
            <a:chExt cx="6563187" cy="6857555"/>
          </a:xfrm>
        </p:grpSpPr>
        <p:sp>
          <p:nvSpPr>
            <p:cNvPr id="8" name="Freeform: Shape 7">
              <a:extLst>
                <a:ext uri="{FF2B5EF4-FFF2-40B4-BE49-F238E27FC236}">
                  <a16:creationId xmlns:a16="http://schemas.microsoft.com/office/drawing/2014/main" id="{1B0CD13D-716D-C239-E3F7-94F356E4BDD1}"/>
                </a:ext>
              </a:extLst>
            </p:cNvPr>
            <p:cNvSpPr/>
            <p:nvPr/>
          </p:nvSpPr>
          <p:spPr>
            <a:xfrm>
              <a:off x="-2915180" y="711200"/>
              <a:ext cx="920466" cy="920466"/>
            </a:xfrm>
            <a:custGeom>
              <a:avLst/>
              <a:gdLst>
                <a:gd name="connsiteX0" fmla="*/ 920467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6"/>
                    <a:pt x="460233" y="920466"/>
                  </a:cubicBezTo>
                  <a:cubicBezTo>
                    <a:pt x="206053" y="920466"/>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8E56412-5E8B-A1F9-6893-9684E967775D}"/>
                </a:ext>
              </a:extLst>
            </p:cNvPr>
            <p:cNvSpPr/>
            <p:nvPr/>
          </p:nvSpPr>
          <p:spPr>
            <a:xfrm>
              <a:off x="-1246696" y="711200"/>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2 h 920392"/>
                <a:gd name="connsiteX4" fmla="*/ 460233 w 1666338"/>
                <a:gd name="connsiteY4" fmla="*/ 920392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5" y="920392"/>
                    <a:pt x="1206105" y="920392"/>
                  </a:cubicBezTo>
                  <a:lnTo>
                    <a:pt x="460233" y="920392"/>
                  </a:lnTo>
                  <a:cubicBezTo>
                    <a:pt x="206053" y="920392"/>
                    <a:pt x="0" y="714339"/>
                    <a:pt x="0" y="460159"/>
                  </a:cubicBezTo>
                  <a:lnTo>
                    <a:pt x="0" y="460233"/>
                  </a:lnTo>
                  <a:cubicBezTo>
                    <a:pt x="0" y="206053"/>
                    <a:pt x="206053" y="0"/>
                    <a:pt x="460233" y="0"/>
                  </a:cubicBezTo>
                  <a:close/>
                </a:path>
              </a:pathLst>
            </a:custGeom>
            <a:solidFill>
              <a:srgbClr val="5CC8F9"/>
            </a:solidFill>
            <a:ln w="7388"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04C4114B-28B5-5F88-4DC0-2E450A0C1E15}"/>
                </a:ext>
              </a:extLst>
            </p:cNvPr>
            <p:cNvSpPr/>
            <p:nvPr/>
          </p:nvSpPr>
          <p:spPr>
            <a:xfrm>
              <a:off x="-1246770" y="711200"/>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32AEE555-A49B-9B6E-955F-DA38BEC6E48D}"/>
                </a:ext>
              </a:extLst>
            </p:cNvPr>
            <p:cNvSpPr/>
            <p:nvPr/>
          </p:nvSpPr>
          <p:spPr>
            <a:xfrm>
              <a:off x="1228546" y="711200"/>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B97164CF-FD44-445F-654A-F40CBDDCA5F8}"/>
                </a:ext>
              </a:extLst>
            </p:cNvPr>
            <p:cNvSpPr/>
            <p:nvPr/>
          </p:nvSpPr>
          <p:spPr>
            <a:xfrm>
              <a:off x="-413526" y="1632332"/>
              <a:ext cx="1666338" cy="920392"/>
            </a:xfrm>
            <a:custGeom>
              <a:avLst/>
              <a:gdLst>
                <a:gd name="connsiteX0" fmla="*/ 1206106 w 1666338"/>
                <a:gd name="connsiteY0" fmla="*/ 0 h 920392"/>
                <a:gd name="connsiteX1" fmla="*/ 1666339 w 1666338"/>
                <a:gd name="connsiteY1" fmla="*/ 460233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3"/>
                  </a:cubicBezTo>
                  <a:lnTo>
                    <a:pt x="1666339" y="460159"/>
                  </a:lnTo>
                  <a:cubicBezTo>
                    <a:pt x="1666339" y="714339"/>
                    <a:pt x="1460286" y="920393"/>
                    <a:pt x="1206106" y="920393"/>
                  </a:cubicBezTo>
                  <a:lnTo>
                    <a:pt x="460233" y="920393"/>
                  </a:lnTo>
                  <a:cubicBezTo>
                    <a:pt x="206053" y="920393"/>
                    <a:pt x="0" y="714339"/>
                    <a:pt x="0" y="460159"/>
                  </a:cubicBezTo>
                  <a:lnTo>
                    <a:pt x="0" y="460233"/>
                  </a:lnTo>
                  <a:cubicBezTo>
                    <a:pt x="0" y="206053"/>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8501A8E-B988-B0A4-38C2-E875AACF00F3}"/>
                </a:ext>
              </a:extLst>
            </p:cNvPr>
            <p:cNvSpPr/>
            <p:nvPr/>
          </p:nvSpPr>
          <p:spPr>
            <a:xfrm>
              <a:off x="308153" y="1632258"/>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EE634FCA-D671-8E4E-FB65-176D5753BD81}"/>
                </a:ext>
              </a:extLst>
            </p:cNvPr>
            <p:cNvSpPr/>
            <p:nvPr/>
          </p:nvSpPr>
          <p:spPr>
            <a:xfrm>
              <a:off x="611252" y="2552724"/>
              <a:ext cx="2315296" cy="920392"/>
            </a:xfrm>
            <a:custGeom>
              <a:avLst/>
              <a:gdLst>
                <a:gd name="connsiteX0" fmla="*/ 1855063 w 2315296"/>
                <a:gd name="connsiteY0" fmla="*/ 0 h 920392"/>
                <a:gd name="connsiteX1" fmla="*/ 2315297 w 2315296"/>
                <a:gd name="connsiteY1" fmla="*/ 460233 h 920392"/>
                <a:gd name="connsiteX2" fmla="*/ 2315297 w 2315296"/>
                <a:gd name="connsiteY2" fmla="*/ 460159 h 920392"/>
                <a:gd name="connsiteX3" fmla="*/ 1855063 w 2315296"/>
                <a:gd name="connsiteY3" fmla="*/ 920392 h 920392"/>
                <a:gd name="connsiteX4" fmla="*/ 460233 w 2315296"/>
                <a:gd name="connsiteY4" fmla="*/ 920392 h 920392"/>
                <a:gd name="connsiteX5" fmla="*/ 0 w 2315296"/>
                <a:gd name="connsiteY5" fmla="*/ 460159 h 920392"/>
                <a:gd name="connsiteX6" fmla="*/ 0 w 2315296"/>
                <a:gd name="connsiteY6" fmla="*/ 460233 h 920392"/>
                <a:gd name="connsiteX7" fmla="*/ 460233 w 2315296"/>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5296" h="920392">
                  <a:moveTo>
                    <a:pt x="1855063" y="0"/>
                  </a:moveTo>
                  <a:cubicBezTo>
                    <a:pt x="2109243" y="0"/>
                    <a:pt x="2315297" y="206053"/>
                    <a:pt x="2315297" y="460233"/>
                  </a:cubicBezTo>
                  <a:lnTo>
                    <a:pt x="2315297" y="460159"/>
                  </a:lnTo>
                  <a:cubicBezTo>
                    <a:pt x="2315297" y="714339"/>
                    <a:pt x="2109243" y="920392"/>
                    <a:pt x="1855063" y="920392"/>
                  </a:cubicBezTo>
                  <a:lnTo>
                    <a:pt x="460233" y="920392"/>
                  </a:lnTo>
                  <a:cubicBezTo>
                    <a:pt x="206054" y="920392"/>
                    <a:pt x="0" y="714339"/>
                    <a:pt x="0" y="460159"/>
                  </a:cubicBezTo>
                  <a:lnTo>
                    <a:pt x="0" y="460233"/>
                  </a:lnTo>
                  <a:cubicBezTo>
                    <a:pt x="0" y="206053"/>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D924FC20-7D0D-869C-E9B7-7B299C8191A2}"/>
                </a:ext>
              </a:extLst>
            </p:cNvPr>
            <p:cNvSpPr/>
            <p:nvPr/>
          </p:nvSpPr>
          <p:spPr>
            <a:xfrm>
              <a:off x="1228546" y="3473117"/>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D97B7C2-D247-4CB8-F5BE-35AB2F63072A}"/>
                </a:ext>
              </a:extLst>
            </p:cNvPr>
            <p:cNvSpPr/>
            <p:nvPr/>
          </p:nvSpPr>
          <p:spPr>
            <a:xfrm>
              <a:off x="1228620" y="4398096"/>
              <a:ext cx="1697928" cy="920392"/>
            </a:xfrm>
            <a:custGeom>
              <a:avLst/>
              <a:gdLst>
                <a:gd name="connsiteX0" fmla="*/ 1250642 w 1697928"/>
                <a:gd name="connsiteY0" fmla="*/ 0 h 920392"/>
                <a:gd name="connsiteX1" fmla="*/ 1697929 w 1697928"/>
                <a:gd name="connsiteY1" fmla="*/ 447287 h 920392"/>
                <a:gd name="connsiteX2" fmla="*/ 1697929 w 1697928"/>
                <a:gd name="connsiteY2" fmla="*/ 473106 h 920392"/>
                <a:gd name="connsiteX3" fmla="*/ 1250642 w 1697928"/>
                <a:gd name="connsiteY3" fmla="*/ 920393 h 920392"/>
                <a:gd name="connsiteX4" fmla="*/ 447286 w 1697928"/>
                <a:gd name="connsiteY4" fmla="*/ 920393 h 920392"/>
                <a:gd name="connsiteX5" fmla="*/ 0 w 1697928"/>
                <a:gd name="connsiteY5" fmla="*/ 473106 h 920392"/>
                <a:gd name="connsiteX6" fmla="*/ 0 w 1697928"/>
                <a:gd name="connsiteY6" fmla="*/ 447287 h 920392"/>
                <a:gd name="connsiteX7" fmla="*/ 447286 w 169792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928" h="920392">
                  <a:moveTo>
                    <a:pt x="1250642" y="0"/>
                  </a:moveTo>
                  <a:cubicBezTo>
                    <a:pt x="1497671" y="0"/>
                    <a:pt x="1697929" y="200257"/>
                    <a:pt x="1697929" y="447287"/>
                  </a:cubicBezTo>
                  <a:lnTo>
                    <a:pt x="1697929" y="473106"/>
                  </a:lnTo>
                  <a:cubicBezTo>
                    <a:pt x="1697929" y="720135"/>
                    <a:pt x="1497672" y="920393"/>
                    <a:pt x="1250642" y="920393"/>
                  </a:cubicBezTo>
                  <a:lnTo>
                    <a:pt x="447286" y="920393"/>
                  </a:lnTo>
                  <a:cubicBezTo>
                    <a:pt x="200257" y="920393"/>
                    <a:pt x="0" y="720136"/>
                    <a:pt x="0" y="473106"/>
                  </a:cubicBezTo>
                  <a:lnTo>
                    <a:pt x="0" y="447287"/>
                  </a:lnTo>
                  <a:cubicBezTo>
                    <a:pt x="0" y="200257"/>
                    <a:pt x="200257" y="0"/>
                    <a:pt x="447286" y="0"/>
                  </a:cubicBezTo>
                  <a:close/>
                </a:path>
              </a:pathLst>
            </a:custGeom>
            <a:solidFill>
              <a:srgbClr val="6EEAC4"/>
            </a:solidFill>
            <a:ln w="738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6A346994-B426-203A-07D5-80547C708E56}"/>
                </a:ext>
              </a:extLst>
            </p:cNvPr>
            <p:cNvSpPr/>
            <p:nvPr/>
          </p:nvSpPr>
          <p:spPr>
            <a:xfrm>
              <a:off x="698919" y="5323001"/>
              <a:ext cx="1687275" cy="920392"/>
            </a:xfrm>
            <a:custGeom>
              <a:avLst/>
              <a:gdLst>
                <a:gd name="connsiteX0" fmla="*/ 1227042 w 1687275"/>
                <a:gd name="connsiteY0" fmla="*/ 0 h 920392"/>
                <a:gd name="connsiteX1" fmla="*/ 1687276 w 1687275"/>
                <a:gd name="connsiteY1" fmla="*/ 460233 h 920392"/>
                <a:gd name="connsiteX2" fmla="*/ 1687276 w 1687275"/>
                <a:gd name="connsiteY2" fmla="*/ 460159 h 920392"/>
                <a:gd name="connsiteX3" fmla="*/ 1227042 w 1687275"/>
                <a:gd name="connsiteY3" fmla="*/ 920393 h 920392"/>
                <a:gd name="connsiteX4" fmla="*/ 460233 w 1687275"/>
                <a:gd name="connsiteY4" fmla="*/ 920393 h 920392"/>
                <a:gd name="connsiteX5" fmla="*/ 0 w 1687275"/>
                <a:gd name="connsiteY5" fmla="*/ 460159 h 920392"/>
                <a:gd name="connsiteX6" fmla="*/ 0 w 1687275"/>
                <a:gd name="connsiteY6" fmla="*/ 460233 h 920392"/>
                <a:gd name="connsiteX7" fmla="*/ 460233 w 1687275"/>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7275" h="920392">
                  <a:moveTo>
                    <a:pt x="1227042" y="0"/>
                  </a:moveTo>
                  <a:cubicBezTo>
                    <a:pt x="1481222" y="0"/>
                    <a:pt x="1687276" y="206053"/>
                    <a:pt x="1687276" y="460233"/>
                  </a:cubicBezTo>
                  <a:lnTo>
                    <a:pt x="1687276" y="460159"/>
                  </a:lnTo>
                  <a:cubicBezTo>
                    <a:pt x="1687276" y="714339"/>
                    <a:pt x="1481222" y="920393"/>
                    <a:pt x="1227042" y="920393"/>
                  </a:cubicBezTo>
                  <a:lnTo>
                    <a:pt x="460233" y="920393"/>
                  </a:lnTo>
                  <a:cubicBezTo>
                    <a:pt x="206054" y="920393"/>
                    <a:pt x="0" y="714339"/>
                    <a:pt x="0" y="460159"/>
                  </a:cubicBezTo>
                  <a:lnTo>
                    <a:pt x="0" y="460233"/>
                  </a:lnTo>
                  <a:cubicBezTo>
                    <a:pt x="0" y="206054"/>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5C3DCF-B310-DBED-FE6D-0455460C74D5}"/>
                </a:ext>
              </a:extLst>
            </p:cNvPr>
            <p:cNvSpPr/>
            <p:nvPr/>
          </p:nvSpPr>
          <p:spPr>
            <a:xfrm>
              <a:off x="1228546" y="6477320"/>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F6048-5617-D6BF-9EBC-40116B532B38}"/>
                </a:ext>
              </a:extLst>
            </p:cNvPr>
            <p:cNvSpPr/>
            <p:nvPr/>
          </p:nvSpPr>
          <p:spPr>
            <a:xfrm>
              <a:off x="308153" y="6477320"/>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4"/>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60AC4BC1-7BB5-461D-4186-57D7CB424A62}"/>
                </a:ext>
              </a:extLst>
            </p:cNvPr>
            <p:cNvSpPr/>
            <p:nvPr/>
          </p:nvSpPr>
          <p:spPr>
            <a:xfrm rot="5400000">
              <a:off x="-783170" y="3639906"/>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2 h 920392"/>
                <a:gd name="connsiteX4" fmla="*/ 460233 w 1666338"/>
                <a:gd name="connsiteY4" fmla="*/ 920392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6" y="920392"/>
                    <a:pt x="1206105" y="920392"/>
                  </a:cubicBezTo>
                  <a:lnTo>
                    <a:pt x="460233" y="920392"/>
                  </a:lnTo>
                  <a:cubicBezTo>
                    <a:pt x="206053" y="920392"/>
                    <a:pt x="0" y="714339"/>
                    <a:pt x="0" y="460159"/>
                  </a:cubicBezTo>
                  <a:lnTo>
                    <a:pt x="0" y="460233"/>
                  </a:lnTo>
                  <a:cubicBezTo>
                    <a:pt x="0" y="206053"/>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326CC3A3-6381-6772-A88F-6A1C877E2CD2}"/>
                </a:ext>
              </a:extLst>
            </p:cNvPr>
            <p:cNvSpPr/>
            <p:nvPr/>
          </p:nvSpPr>
          <p:spPr>
            <a:xfrm>
              <a:off x="-413526" y="4012879"/>
              <a:ext cx="920466" cy="920466"/>
            </a:xfrm>
            <a:custGeom>
              <a:avLst/>
              <a:gdLst>
                <a:gd name="connsiteX0" fmla="*/ 920467 w 920466"/>
                <a:gd name="connsiteY0" fmla="*/ 460233 h 920466"/>
                <a:gd name="connsiteX1" fmla="*/ 460234 w 920466"/>
                <a:gd name="connsiteY1" fmla="*/ 920467 h 920466"/>
                <a:gd name="connsiteX2" fmla="*/ 0 w 920466"/>
                <a:gd name="connsiteY2" fmla="*/ 460233 h 920466"/>
                <a:gd name="connsiteX3" fmla="*/ 460234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4" y="920467"/>
                  </a:cubicBezTo>
                  <a:cubicBezTo>
                    <a:pt x="206054" y="920467"/>
                    <a:pt x="0" y="714413"/>
                    <a:pt x="0" y="460233"/>
                  </a:cubicBezTo>
                  <a:cubicBezTo>
                    <a:pt x="0" y="206054"/>
                    <a:pt x="206054" y="0"/>
                    <a:pt x="460234" y="0"/>
                  </a:cubicBezTo>
                  <a:cubicBezTo>
                    <a:pt x="714413" y="0"/>
                    <a:pt x="920467" y="206054"/>
                    <a:pt x="920467" y="460233"/>
                  </a:cubicBezTo>
                  <a:close/>
                </a:path>
              </a:pathLst>
            </a:custGeom>
            <a:solidFill>
              <a:srgbClr val="5CC8F9"/>
            </a:solidFill>
            <a:ln w="738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487F3FD4-7F0C-7B88-D5D7-A9B1D4E7EDCD}"/>
                </a:ext>
              </a:extLst>
            </p:cNvPr>
            <p:cNvSpPr/>
            <p:nvPr/>
          </p:nvSpPr>
          <p:spPr>
            <a:xfrm>
              <a:off x="-410197"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719D077-291C-F22B-E91D-1D74A19CCC20}"/>
                </a:ext>
              </a:extLst>
            </p:cNvPr>
            <p:cNvSpPr/>
            <p:nvPr/>
          </p:nvSpPr>
          <p:spPr>
            <a:xfrm>
              <a:off x="-1330590" y="4957611"/>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4"/>
                    <a:pt x="206054" y="0"/>
                    <a:pt x="460233" y="0"/>
                  </a:cubicBezTo>
                  <a:cubicBezTo>
                    <a:pt x="714413" y="0"/>
                    <a:pt x="920467" y="206053"/>
                    <a:pt x="920467" y="460233"/>
                  </a:cubicBezTo>
                  <a:close/>
                </a:path>
              </a:pathLst>
            </a:custGeom>
            <a:solidFill>
              <a:srgbClr val="5CC8F9"/>
            </a:solidFill>
            <a:ln w="7388"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26E80CF-7709-6FA0-986E-0B101C62C03D}"/>
                </a:ext>
              </a:extLst>
            </p:cNvPr>
            <p:cNvSpPr/>
            <p:nvPr/>
          </p:nvSpPr>
          <p:spPr>
            <a:xfrm rot="5400000">
              <a:off x="-1701861" y="6275316"/>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5" y="920393"/>
                    <a:pt x="1206105" y="920393"/>
                  </a:cubicBezTo>
                  <a:lnTo>
                    <a:pt x="460233" y="920393"/>
                  </a:lnTo>
                  <a:cubicBezTo>
                    <a:pt x="206053" y="920393"/>
                    <a:pt x="0" y="714339"/>
                    <a:pt x="0" y="460159"/>
                  </a:cubicBezTo>
                  <a:lnTo>
                    <a:pt x="0" y="460233"/>
                  </a:lnTo>
                  <a:cubicBezTo>
                    <a:pt x="0" y="206054"/>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B1CA37FA-E05D-BBA4-0924-E5B6CE13357E}"/>
                </a:ext>
              </a:extLst>
            </p:cNvPr>
            <p:cNvSpPr/>
            <p:nvPr/>
          </p:nvSpPr>
          <p:spPr>
            <a:xfrm>
              <a:off x="-1332291" y="6648289"/>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8C4B006-C207-FFD1-7D5E-2BCAFC191975}"/>
                </a:ext>
              </a:extLst>
            </p:cNvPr>
            <p:cNvSpPr/>
            <p:nvPr/>
          </p:nvSpPr>
          <p:spPr>
            <a:xfrm rot="16200000">
              <a:off x="-2625657" y="6275316"/>
              <a:ext cx="1666338" cy="920392"/>
            </a:xfrm>
            <a:custGeom>
              <a:avLst/>
              <a:gdLst>
                <a:gd name="connsiteX0" fmla="*/ 1206106 w 1666338"/>
                <a:gd name="connsiteY0" fmla="*/ 0 h 920392"/>
                <a:gd name="connsiteX1" fmla="*/ 1666339 w 1666338"/>
                <a:gd name="connsiteY1" fmla="*/ 460233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3"/>
                  </a:cubicBezTo>
                  <a:lnTo>
                    <a:pt x="1666339" y="460159"/>
                  </a:lnTo>
                  <a:cubicBezTo>
                    <a:pt x="1666339" y="714339"/>
                    <a:pt x="1460285" y="920393"/>
                    <a:pt x="1206106" y="920393"/>
                  </a:cubicBezTo>
                  <a:lnTo>
                    <a:pt x="460233" y="920393"/>
                  </a:lnTo>
                  <a:cubicBezTo>
                    <a:pt x="206053" y="920393"/>
                    <a:pt x="0" y="714339"/>
                    <a:pt x="0" y="460159"/>
                  </a:cubicBezTo>
                  <a:lnTo>
                    <a:pt x="0" y="460233"/>
                  </a:lnTo>
                  <a:cubicBezTo>
                    <a:pt x="0" y="206054"/>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44342DBC-543F-A8A9-8804-2A87D9DA9EFA}"/>
                </a:ext>
              </a:extLst>
            </p:cNvPr>
            <p:cNvSpPr/>
            <p:nvPr/>
          </p:nvSpPr>
          <p:spPr>
            <a:xfrm>
              <a:off x="-2249355" y="5902343"/>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3" y="920467"/>
                    <a:pt x="0" y="714413"/>
                    <a:pt x="0" y="460233"/>
                  </a:cubicBezTo>
                  <a:cubicBezTo>
                    <a:pt x="0" y="206054"/>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F9A21E2-93C4-EF96-F88C-C69F3E89C47D}"/>
                </a:ext>
              </a:extLst>
            </p:cNvPr>
            <p:cNvSpPr/>
            <p:nvPr/>
          </p:nvSpPr>
          <p:spPr>
            <a:xfrm>
              <a:off x="-2055673" y="3191029"/>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A4C5232E-9DFD-3B3E-A3CF-ADE7F35CE79C}"/>
                </a:ext>
              </a:extLst>
            </p:cNvPr>
            <p:cNvSpPr/>
            <p:nvPr/>
          </p:nvSpPr>
          <p:spPr>
            <a:xfrm>
              <a:off x="-2972737" y="3191029"/>
              <a:ext cx="920466" cy="920466"/>
            </a:xfrm>
            <a:custGeom>
              <a:avLst/>
              <a:gdLst>
                <a:gd name="connsiteX0" fmla="*/ 920467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6"/>
                    <a:pt x="460233" y="920466"/>
                  </a:cubicBezTo>
                  <a:cubicBezTo>
                    <a:pt x="206053" y="920466"/>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E1A87EC-7FA0-AB16-D7AB-58663762D703}"/>
                </a:ext>
              </a:extLst>
            </p:cNvPr>
            <p:cNvSpPr/>
            <p:nvPr/>
          </p:nvSpPr>
          <p:spPr>
            <a:xfrm rot="5400000">
              <a:off x="-4006282" y="4584638"/>
              <a:ext cx="1666338" cy="920392"/>
            </a:xfrm>
            <a:custGeom>
              <a:avLst/>
              <a:gdLst>
                <a:gd name="connsiteX0" fmla="*/ 1206106 w 1666338"/>
                <a:gd name="connsiteY0" fmla="*/ 0 h 920392"/>
                <a:gd name="connsiteX1" fmla="*/ 1666339 w 1666338"/>
                <a:gd name="connsiteY1" fmla="*/ 460234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4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4"/>
                  </a:cubicBezTo>
                  <a:lnTo>
                    <a:pt x="1666339" y="460159"/>
                  </a:lnTo>
                  <a:cubicBezTo>
                    <a:pt x="1666339" y="714339"/>
                    <a:pt x="1460285" y="920393"/>
                    <a:pt x="1206106" y="920393"/>
                  </a:cubicBezTo>
                  <a:lnTo>
                    <a:pt x="460233" y="920393"/>
                  </a:lnTo>
                  <a:cubicBezTo>
                    <a:pt x="206053" y="920393"/>
                    <a:pt x="0" y="714339"/>
                    <a:pt x="0" y="460159"/>
                  </a:cubicBezTo>
                  <a:lnTo>
                    <a:pt x="0" y="460234"/>
                  </a:lnTo>
                  <a:cubicBezTo>
                    <a:pt x="0" y="206054"/>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0C601C84-B052-D8A7-105C-A9C65E32CC8C}"/>
                </a:ext>
              </a:extLst>
            </p:cNvPr>
            <p:cNvSpPr/>
            <p:nvPr/>
          </p:nvSpPr>
          <p:spPr>
            <a:xfrm>
              <a:off x="-3636639"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9C6E5C72-8486-1E66-04A7-D91B736D0636}"/>
                </a:ext>
              </a:extLst>
            </p:cNvPr>
            <p:cNvSpPr/>
            <p:nvPr/>
          </p:nvSpPr>
          <p:spPr>
            <a:xfrm>
              <a:off x="-2712917"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endParaRPr lang="en-US"/>
            </a:p>
          </p:txBody>
        </p:sp>
      </p:grpSp>
      <p:sp>
        <p:nvSpPr>
          <p:cNvPr id="34" name="Title 1">
            <a:extLst>
              <a:ext uri="{FF2B5EF4-FFF2-40B4-BE49-F238E27FC236}">
                <a16:creationId xmlns:a16="http://schemas.microsoft.com/office/drawing/2014/main" id="{88E0F4A3-D638-A7B8-4A93-B69D33864EF9}"/>
              </a:ext>
            </a:extLst>
          </p:cNvPr>
          <p:cNvSpPr>
            <a:spLocks noGrp="1"/>
          </p:cNvSpPr>
          <p:nvPr>
            <p:ph type="title" hasCustomPrompt="1"/>
          </p:nvPr>
        </p:nvSpPr>
        <p:spPr bwMode="white">
          <a:xfrm>
            <a:off x="560269" y="3381727"/>
            <a:ext cx="5419102" cy="2079273"/>
          </a:xfrm>
          <a:prstGeom prst="rect">
            <a:avLst/>
          </a:prstGeom>
        </p:spPr>
        <p:txBody>
          <a:bodyPr vert="horz" anchor="t" anchorCtr="0"/>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
        <p:nvSpPr>
          <p:cNvPr id="38" name="Subtitle 2">
            <a:extLst>
              <a:ext uri="{FF2B5EF4-FFF2-40B4-BE49-F238E27FC236}">
                <a16:creationId xmlns:a16="http://schemas.microsoft.com/office/drawing/2014/main" id="{07C91505-163B-33AB-6F26-775FAE512906}"/>
              </a:ext>
            </a:extLst>
          </p:cNvPr>
          <p:cNvSpPr>
            <a:spLocks noGrp="1"/>
          </p:cNvSpPr>
          <p:nvPr>
            <p:ph type="subTitle" idx="1" hasCustomPrompt="1"/>
          </p:nvPr>
        </p:nvSpPr>
        <p:spPr>
          <a:xfrm>
            <a:off x="560269" y="28289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41" name="Graphic 40">
            <a:extLst>
              <a:ext uri="{FF2B5EF4-FFF2-40B4-BE49-F238E27FC236}">
                <a16:creationId xmlns:a16="http://schemas.microsoft.com/office/drawing/2014/main" id="{05880F7E-2EF9-500F-8C65-8AE5422B47D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10042" y="611533"/>
            <a:ext cx="2212298" cy="399963"/>
          </a:xfrm>
          <a:prstGeom prst="rect">
            <a:avLst/>
          </a:prstGeom>
        </p:spPr>
      </p:pic>
    </p:spTree>
    <p:extLst>
      <p:ext uri="{BB962C8B-B14F-4D97-AF65-F5344CB8AC3E}">
        <p14:creationId xmlns:p14="http://schemas.microsoft.com/office/powerpoint/2010/main" val="4251365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losing 2026-01 - IQVI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0FB1EB-886A-6250-1720-BF969FB7A49D}"/>
              </a:ext>
            </a:extLst>
          </p:cNvPr>
          <p:cNvGraphicFramePr>
            <a:graphicFrameLocks noChangeAspect="1"/>
          </p:cNvGraphicFramePr>
          <p:nvPr>
            <p:custDataLst>
              <p:tags r:id="rId1"/>
            </p:custDataLst>
            <p:extLst>
              <p:ext uri="{D42A27DB-BD31-4B8C-83A1-F6EECF244321}">
                <p14:modId xmlns:p14="http://schemas.microsoft.com/office/powerpoint/2010/main" val="3929380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A0FB1EB-886A-6250-1720-BF969FB7A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FA43C2D8-91E1-D523-C303-80C76AB672E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sp>
        <p:nvSpPr>
          <p:cNvPr id="26" name="Picture Placeholder 25">
            <a:extLst>
              <a:ext uri="{FF2B5EF4-FFF2-40B4-BE49-F238E27FC236}">
                <a16:creationId xmlns:a16="http://schemas.microsoft.com/office/drawing/2014/main" id="{C5206E26-8F1D-9E77-06A9-3E52BE359D6E}"/>
              </a:ext>
            </a:extLst>
          </p:cNvPr>
          <p:cNvSpPr>
            <a:spLocks noGrp="1"/>
          </p:cNvSpPr>
          <p:nvPr>
            <p:ph type="pic" sz="quarter" idx="14" hasCustomPrompt="1"/>
          </p:nvPr>
        </p:nvSpPr>
        <p:spPr>
          <a:xfrm>
            <a:off x="9231744" y="480060"/>
            <a:ext cx="2960256" cy="5891813"/>
          </a:xfrm>
          <a:custGeom>
            <a:avLst/>
            <a:gdLst>
              <a:gd name="connsiteX0" fmla="*/ 2945906 w 2960256"/>
              <a:gd name="connsiteY0" fmla="*/ 0 h 5891813"/>
              <a:gd name="connsiteX1" fmla="*/ 2960256 w 2960256"/>
              <a:gd name="connsiteY1" fmla="*/ 0 h 5891813"/>
              <a:gd name="connsiteX2" fmla="*/ 2960256 w 2960256"/>
              <a:gd name="connsiteY2" fmla="*/ 5891813 h 5891813"/>
              <a:gd name="connsiteX3" fmla="*/ 2945907 w 2960256"/>
              <a:gd name="connsiteY3" fmla="*/ 5891813 h 5891813"/>
              <a:gd name="connsiteX4" fmla="*/ 1 w 2960256"/>
              <a:gd name="connsiteY4" fmla="*/ 2945907 h 5891813"/>
              <a:gd name="connsiteX5" fmla="*/ 0 w 2960256"/>
              <a:gd name="connsiteY5" fmla="*/ 2945907 h 5891813"/>
              <a:gd name="connsiteX6" fmla="*/ 2945906 w 2960256"/>
              <a:gd name="connsiteY6" fmla="*/ 0 h 589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256" h="5891813">
                <a:moveTo>
                  <a:pt x="2945906" y="0"/>
                </a:moveTo>
                <a:lnTo>
                  <a:pt x="2960256" y="0"/>
                </a:lnTo>
                <a:lnTo>
                  <a:pt x="2960256" y="5891813"/>
                </a:lnTo>
                <a:lnTo>
                  <a:pt x="2945907" y="5891813"/>
                </a:lnTo>
                <a:cubicBezTo>
                  <a:pt x="1318928" y="5891813"/>
                  <a:pt x="1" y="4572886"/>
                  <a:pt x="1" y="2945907"/>
                </a:cubicBezTo>
                <a:lnTo>
                  <a:pt x="0" y="2945907"/>
                </a:lnTo>
                <a:cubicBezTo>
                  <a:pt x="0" y="1318927"/>
                  <a:pt x="1318927" y="0"/>
                  <a:pt x="2945906" y="0"/>
                </a:cubicBezTo>
                <a:close/>
              </a:path>
            </a:pathLst>
          </a:cu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729468" y="2705249"/>
            <a:ext cx="8109732" cy="1441434"/>
          </a:xfrm>
          <a:prstGeom prst="rect">
            <a:avLst/>
          </a:prstGeom>
          <a:noFill/>
        </p:spPr>
        <p:txBody>
          <a:bodyPr vert="horz" anchor="ctr" anchorCtr="0">
            <a:noAutofit/>
          </a:bodyPr>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Closing slides are 44pt Noto Sans Light sentence case</a:t>
            </a:r>
          </a:p>
        </p:txBody>
      </p:sp>
      <p:pic>
        <p:nvPicPr>
          <p:cNvPr id="4" name="Graphic 3">
            <a:extLst>
              <a:ext uri="{FF2B5EF4-FFF2-40B4-BE49-F238E27FC236}">
                <a16:creationId xmlns:a16="http://schemas.microsoft.com/office/drawing/2014/main" id="{A8AC6ABD-4638-0FE9-9EFB-87A913DE552B}"/>
              </a:ext>
            </a:extLst>
          </p:cNvPr>
          <p:cNvPicPr>
            <a:picLocks/>
          </p:cNvPicPr>
          <p:nvPr/>
        </p:nvPicPr>
        <p:blipFill>
          <a:blip>
            <a:extLst>
              <a:ext uri="{96DAC541-7B7A-43D3-8B79-37D633B846F1}">
                <asvg:svgBlip xmlns:asvg="http://schemas.microsoft.com/office/drawing/2016/SVG/main" r:embed="rId7"/>
              </a:ext>
            </a:extLst>
          </a:blip>
          <a:stretch>
            <a:fillRect/>
          </a:stretch>
        </p:blipFill>
        <p:spPr>
          <a:xfrm>
            <a:off x="710042" y="5757573"/>
            <a:ext cx="2212298" cy="399963"/>
          </a:xfrm>
          <a:prstGeom prst="rect">
            <a:avLst/>
          </a:prstGeom>
        </p:spPr>
      </p:pic>
    </p:spTree>
    <p:extLst>
      <p:ext uri="{BB962C8B-B14F-4D97-AF65-F5344CB8AC3E}">
        <p14:creationId xmlns:p14="http://schemas.microsoft.com/office/powerpoint/2010/main" val="3088892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losing 2026-02 - IQVIA">
    <p:bg>
      <p:bgPr>
        <a:solidFill>
          <a:srgbClr val="2B3A4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0FB1EB-886A-6250-1720-BF969FB7A49D}"/>
              </a:ext>
            </a:extLst>
          </p:cNvPr>
          <p:cNvGraphicFramePr>
            <a:graphicFrameLocks noChangeAspect="1"/>
          </p:cNvGraphicFramePr>
          <p:nvPr>
            <p:custDataLst>
              <p:tags r:id="rId1"/>
            </p:custDataLst>
            <p:extLst>
              <p:ext uri="{D42A27DB-BD31-4B8C-83A1-F6EECF244321}">
                <p14:modId xmlns:p14="http://schemas.microsoft.com/office/powerpoint/2010/main" val="3219584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A0FB1EB-886A-6250-1720-BF969FB7A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DFA0D13-DE2C-0B2E-321B-37575593958C}"/>
              </a:ext>
            </a:extLst>
          </p:cNvPr>
          <p:cNvSpPr/>
          <p:nvPr/>
        </p:nvSpPr>
        <p:spPr>
          <a:xfrm>
            <a:off x="0" y="0"/>
            <a:ext cx="12192000" cy="6858000"/>
          </a:xfrm>
          <a:prstGeom prst="rect">
            <a:avLst/>
          </a:prstGeom>
          <a:solidFill>
            <a:schemeClr val="tx2"/>
          </a:soli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729468" y="2367171"/>
            <a:ext cx="6471432" cy="2123658"/>
          </a:xfrm>
          <a:prstGeom prst="rect">
            <a:avLst/>
          </a:prstGeom>
          <a:noFill/>
        </p:spPr>
        <p:txBody>
          <a:bodyPr vert="horz" anchor="ctr" anchorCtr="0">
            <a:noAutofit/>
          </a:bodyPr>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Closing slides are </a:t>
            </a:r>
            <a:br>
              <a:rPr lang="en-US"/>
            </a:br>
            <a:r>
              <a:rPr lang="en-US"/>
              <a:t>44pt Noto Sans Light sentence case</a:t>
            </a:r>
          </a:p>
        </p:txBody>
      </p:sp>
      <p:pic>
        <p:nvPicPr>
          <p:cNvPr id="5" name="Graphic 4">
            <a:extLst>
              <a:ext uri="{FF2B5EF4-FFF2-40B4-BE49-F238E27FC236}">
                <a16:creationId xmlns:a16="http://schemas.microsoft.com/office/drawing/2014/main" id="{FE7BBED7-1DCF-E62E-3826-549F8362CD9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360095" y="5909973"/>
            <a:ext cx="2212298" cy="399963"/>
          </a:xfrm>
          <a:prstGeom prst="rect">
            <a:avLst/>
          </a:prstGeom>
        </p:spPr>
      </p:pic>
      <p:sp>
        <p:nvSpPr>
          <p:cNvPr id="13" name="Rectangle: Top Corners Rounded 12">
            <a:extLst>
              <a:ext uri="{FF2B5EF4-FFF2-40B4-BE49-F238E27FC236}">
                <a16:creationId xmlns:a16="http://schemas.microsoft.com/office/drawing/2014/main" id="{0E99BEF8-B37E-D639-B8AE-389ED1C2F410}"/>
              </a:ext>
            </a:extLst>
          </p:cNvPr>
          <p:cNvSpPr/>
          <p:nvPr/>
        </p:nvSpPr>
        <p:spPr>
          <a:xfrm rot="16200000" flipH="1">
            <a:off x="9687544" y="2143688"/>
            <a:ext cx="2514566" cy="2494346"/>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1" err="1"/>
          </a:p>
        </p:txBody>
      </p:sp>
      <p:sp>
        <p:nvSpPr>
          <p:cNvPr id="17" name="Freeform: Shape 16">
            <a:extLst>
              <a:ext uri="{FF2B5EF4-FFF2-40B4-BE49-F238E27FC236}">
                <a16:creationId xmlns:a16="http://schemas.microsoft.com/office/drawing/2014/main" id="{57E1F127-38D3-D9EB-971C-A039C20BDB56}"/>
              </a:ext>
            </a:extLst>
          </p:cNvPr>
          <p:cNvSpPr/>
          <p:nvPr/>
        </p:nvSpPr>
        <p:spPr>
          <a:xfrm flipH="1">
            <a:off x="8321628" y="0"/>
            <a:ext cx="3867268" cy="3850111"/>
          </a:xfrm>
          <a:custGeom>
            <a:avLst/>
            <a:gdLst>
              <a:gd name="connsiteX0" fmla="*/ 3867268 w 3867268"/>
              <a:gd name="connsiteY0" fmla="*/ 0 h 3850111"/>
              <a:gd name="connsiteX1" fmla="*/ 0 w 3867268"/>
              <a:gd name="connsiteY1" fmla="*/ 0 h 3850111"/>
              <a:gd name="connsiteX2" fmla="*/ 0 w 3867268"/>
              <a:gd name="connsiteY2" fmla="*/ 457200 h 3850111"/>
              <a:gd name="connsiteX3" fmla="*/ 0 w 3867268"/>
              <a:gd name="connsiteY3" fmla="*/ 1672128 h 3850111"/>
              <a:gd name="connsiteX4" fmla="*/ 0 w 3867268"/>
              <a:gd name="connsiteY4" fmla="*/ 2129328 h 3850111"/>
              <a:gd name="connsiteX5" fmla="*/ 26183 w 3867268"/>
              <a:gd name="connsiteY5" fmla="*/ 2300888 h 3850111"/>
              <a:gd name="connsiteX6" fmla="*/ 1927016 w 3867268"/>
              <a:gd name="connsiteY6" fmla="*/ 3850111 h 3850111"/>
              <a:gd name="connsiteX7" fmla="*/ 3867268 w 3867268"/>
              <a:gd name="connsiteY7" fmla="*/ 1909860 h 3850111"/>
              <a:gd name="connsiteX8" fmla="*/ 3867268 w 3867268"/>
              <a:gd name="connsiteY8" fmla="*/ 1452659 h 3850111"/>
              <a:gd name="connsiteX9" fmla="*/ 3867268 w 3867268"/>
              <a:gd name="connsiteY9" fmla="*/ 457200 h 385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7268" h="3850111">
                <a:moveTo>
                  <a:pt x="3867268" y="0"/>
                </a:moveTo>
                <a:lnTo>
                  <a:pt x="0" y="0"/>
                </a:lnTo>
                <a:lnTo>
                  <a:pt x="0" y="457200"/>
                </a:lnTo>
                <a:lnTo>
                  <a:pt x="0" y="1672128"/>
                </a:lnTo>
                <a:lnTo>
                  <a:pt x="0" y="2129328"/>
                </a:lnTo>
                <a:lnTo>
                  <a:pt x="26183" y="2300888"/>
                </a:lnTo>
                <a:cubicBezTo>
                  <a:pt x="207105" y="3185028"/>
                  <a:pt x="989391" y="3850111"/>
                  <a:pt x="1927016" y="3850111"/>
                </a:cubicBezTo>
                <a:cubicBezTo>
                  <a:pt x="2998588" y="3850111"/>
                  <a:pt x="3867268" y="2981431"/>
                  <a:pt x="3867268" y="1909860"/>
                </a:cubicBezTo>
                <a:lnTo>
                  <a:pt x="3867268" y="1452659"/>
                </a:lnTo>
                <a:lnTo>
                  <a:pt x="3867268" y="457200"/>
                </a:lnTo>
                <a:close/>
              </a:path>
            </a:pathLst>
          </a:custGeom>
          <a:gradFill>
            <a:gsLst>
              <a:gs pos="75000">
                <a:srgbClr val="140A42"/>
              </a:gs>
              <a:gs pos="0">
                <a:srgbClr val="00CCFF"/>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b="1" err="1"/>
          </a:p>
        </p:txBody>
      </p:sp>
      <p:sp>
        <p:nvSpPr>
          <p:cNvPr id="15" name="Freeform: Shape 14">
            <a:extLst>
              <a:ext uri="{FF2B5EF4-FFF2-40B4-BE49-F238E27FC236}">
                <a16:creationId xmlns:a16="http://schemas.microsoft.com/office/drawing/2014/main" id="{E50B38AA-2B30-B9A6-A77B-73C8C2812053}"/>
              </a:ext>
            </a:extLst>
          </p:cNvPr>
          <p:cNvSpPr/>
          <p:nvPr/>
        </p:nvSpPr>
        <p:spPr>
          <a:xfrm rot="16200000" flipH="1">
            <a:off x="10086560" y="1744672"/>
            <a:ext cx="1716534" cy="2494346"/>
          </a:xfrm>
          <a:custGeom>
            <a:avLst/>
            <a:gdLst>
              <a:gd name="connsiteX0" fmla="*/ 0 w 2808911"/>
              <a:gd name="connsiteY0" fmla="*/ 4081711 h 4081711"/>
              <a:gd name="connsiteX1" fmla="*/ 0 w 2808911"/>
              <a:gd name="connsiteY1" fmla="*/ 2051686 h 4081711"/>
              <a:gd name="connsiteX2" fmla="*/ 2051686 w 2808911"/>
              <a:gd name="connsiteY2" fmla="*/ 0 h 4081711"/>
              <a:gd name="connsiteX3" fmla="*/ 2063115 w 2808911"/>
              <a:gd name="connsiteY3" fmla="*/ 0 h 4081711"/>
              <a:gd name="connsiteX4" fmla="*/ 2673224 w 2808911"/>
              <a:gd name="connsiteY4" fmla="*/ 92240 h 4081711"/>
              <a:gd name="connsiteX5" fmla="*/ 2699582 w 2808911"/>
              <a:gd name="connsiteY5" fmla="*/ 101887 h 4081711"/>
              <a:gd name="connsiteX6" fmla="*/ 2708954 w 2808911"/>
              <a:gd name="connsiteY6" fmla="*/ 134890 h 4081711"/>
              <a:gd name="connsiteX7" fmla="*/ 2808911 w 2808911"/>
              <a:gd name="connsiteY7" fmla="*/ 928372 h 4081711"/>
              <a:gd name="connsiteX8" fmla="*/ 117432 w 2808911"/>
              <a:gd name="connsiteY8" fmla="*/ 4066789 h 4081711"/>
              <a:gd name="connsiteX9" fmla="*/ 0 w 2808911"/>
              <a:gd name="connsiteY9" fmla="*/ 4081711 h 408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8911" h="4081711">
                <a:moveTo>
                  <a:pt x="0" y="4081711"/>
                </a:moveTo>
                <a:lnTo>
                  <a:pt x="0" y="2051686"/>
                </a:lnTo>
                <a:cubicBezTo>
                  <a:pt x="0" y="918571"/>
                  <a:pt x="918572" y="-1"/>
                  <a:pt x="2051686" y="0"/>
                </a:cubicBezTo>
                <a:lnTo>
                  <a:pt x="2063115" y="0"/>
                </a:lnTo>
                <a:cubicBezTo>
                  <a:pt x="2275574" y="0"/>
                  <a:pt x="2480491" y="32293"/>
                  <a:pt x="2673224" y="92240"/>
                </a:cubicBezTo>
                <a:lnTo>
                  <a:pt x="2699582" y="101887"/>
                </a:lnTo>
                <a:lnTo>
                  <a:pt x="2708954" y="134890"/>
                </a:lnTo>
                <a:cubicBezTo>
                  <a:pt x="2774207" y="388507"/>
                  <a:pt x="2808911" y="654387"/>
                  <a:pt x="2808911" y="928372"/>
                </a:cubicBezTo>
                <a:cubicBezTo>
                  <a:pt x="2808911" y="2517485"/>
                  <a:pt x="1641452" y="3833923"/>
                  <a:pt x="117432" y="4066789"/>
                </a:cubicBezTo>
                <a:lnTo>
                  <a:pt x="0" y="408171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b="1" err="1"/>
          </a:p>
        </p:txBody>
      </p:sp>
    </p:spTree>
    <p:extLst>
      <p:ext uri="{BB962C8B-B14F-4D97-AF65-F5344CB8AC3E}">
        <p14:creationId xmlns:p14="http://schemas.microsoft.com/office/powerpoint/2010/main" val="268626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3511424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A8A15E-1053-38DD-AC1D-5EA46364C078}"/>
              </a:ext>
            </a:extLst>
          </p:cNvPr>
          <p:cNvGraphicFramePr>
            <a:graphicFrameLocks noChangeAspect="1"/>
          </p:cNvGraphicFramePr>
          <p:nvPr userDrawn="1">
            <p:custDataLst>
              <p:tags r:id="rId1"/>
            </p:custDataLst>
            <p:extLst>
              <p:ext uri="{D42A27DB-BD31-4B8C-83A1-F6EECF244321}">
                <p14:modId xmlns:p14="http://schemas.microsoft.com/office/powerpoint/2010/main" val="109620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05A8A15E-1053-38DD-AC1D-5EA46364C0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00398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1962777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524644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3948523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2024-07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20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Tree>
    <p:extLst>
      <p:ext uri="{BB962C8B-B14F-4D97-AF65-F5344CB8AC3E}">
        <p14:creationId xmlns:p14="http://schemas.microsoft.com/office/powerpoint/2010/main" val="157799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056260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2024-04 - IQVIA">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377811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2024-05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err="1"/>
          </a:p>
        </p:txBody>
      </p:sp>
    </p:spTree>
    <p:extLst>
      <p:ext uri="{BB962C8B-B14F-4D97-AF65-F5344CB8AC3E}">
        <p14:creationId xmlns:p14="http://schemas.microsoft.com/office/powerpoint/2010/main" val="285045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51432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2024-07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38548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56B5BD-D0BB-AFCA-634D-8774ECD5E040}"/>
              </a:ext>
            </a:extLst>
          </p:cNvPr>
          <p:cNvGraphicFramePr>
            <a:graphicFrameLocks noChangeAspect="1"/>
          </p:cNvGraphicFramePr>
          <p:nvPr userDrawn="1">
            <p:custDataLst>
              <p:tags r:id="rId1"/>
            </p:custDataLst>
            <p:extLst>
              <p:ext uri="{D42A27DB-BD31-4B8C-83A1-F6EECF244321}">
                <p14:modId xmlns:p14="http://schemas.microsoft.com/office/powerpoint/2010/main" val="259286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1556B5BD-D0BB-AFCA-634D-8774ECD5E0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70795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3872521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over 2024-02 - IQVIA">
    <p:bg>
      <p:bgPr>
        <a:solidFill>
          <a:schemeClr val="bg1"/>
        </a:soli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4097495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77080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87134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2024-05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4.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603065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ver 2024-06-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4026367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2024-07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467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817199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347172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140877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27927AA-6E3C-3281-2AB0-473A1A133008}"/>
              </a:ext>
            </a:extLst>
          </p:cNvPr>
          <p:cNvGraphicFramePr>
            <a:graphicFrameLocks noChangeAspect="1"/>
          </p:cNvGraphicFramePr>
          <p:nvPr userDrawn="1">
            <p:custDataLst>
              <p:tags r:id="rId1"/>
            </p:custDataLst>
            <p:extLst>
              <p:ext uri="{D42A27DB-BD31-4B8C-83A1-F6EECF244321}">
                <p14:modId xmlns:p14="http://schemas.microsoft.com/office/powerpoint/2010/main" val="159847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827927AA-6E3C-3281-2AB0-473A1A1330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082396"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spTree>
    <p:extLst>
      <p:ext uri="{BB962C8B-B14F-4D97-AF65-F5344CB8AC3E}">
        <p14:creationId xmlns:p14="http://schemas.microsoft.com/office/powerpoint/2010/main" val="350125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968391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6695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58045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6717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3504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310589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over 2024-02 - IQVIA">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68145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292518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2024-04 - IQVIA">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408475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ver 2024-05-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103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80871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ver 2024-06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26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Co-Brand 2024-01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1425698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ver Co-Brand 2024-02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18" name="Freeform: Shape 17">
            <a:extLst>
              <a:ext uri="{FF2B5EF4-FFF2-40B4-BE49-F238E27FC236}">
                <a16:creationId xmlns:a16="http://schemas.microsoft.com/office/drawing/2014/main" id="{D7711C25-1E32-D856-3159-AA194B0AE59F}"/>
              </a:ext>
            </a:extLst>
          </p:cNvPr>
          <p:cNvSpPr/>
          <p:nvPr userDrawn="1"/>
        </p:nvSpPr>
        <p:spPr>
          <a:xfrm rot="-2700000">
            <a:off x="7890787" y="-1101899"/>
            <a:ext cx="3375142" cy="3358615"/>
          </a:xfrm>
          <a:custGeom>
            <a:avLst/>
            <a:gdLst>
              <a:gd name="connsiteX0" fmla="*/ 824841 w 3375142"/>
              <a:gd name="connsiteY0" fmla="*/ 0 h 3358615"/>
              <a:gd name="connsiteX1" fmla="*/ 3375142 w 3375142"/>
              <a:gd name="connsiteY1" fmla="*/ 2550301 h 3358615"/>
              <a:gd name="connsiteX2" fmla="*/ 3375142 w 3375142"/>
              <a:gd name="connsiteY2" fmla="*/ 2834570 h 3358615"/>
              <a:gd name="connsiteX3" fmla="*/ 2851097 w 3375142"/>
              <a:gd name="connsiteY3" fmla="*/ 3358615 h 3358615"/>
              <a:gd name="connsiteX4" fmla="*/ 524045 w 3375142"/>
              <a:gd name="connsiteY4" fmla="*/ 3358615 h 3358615"/>
              <a:gd name="connsiteX5" fmla="*/ 0 w 3375142"/>
              <a:gd name="connsiteY5" fmla="*/ 2834570 h 3358615"/>
              <a:gd name="connsiteX6" fmla="*/ 0 w 3375142"/>
              <a:gd name="connsiteY6" fmla="*/ 524045 h 3358615"/>
              <a:gd name="connsiteX7" fmla="*/ 524045 w 3375142"/>
              <a:gd name="connsiteY7" fmla="*/ 0 h 3358615"/>
              <a:gd name="connsiteX0" fmla="*/ 3375142 w 3466582"/>
              <a:gd name="connsiteY0" fmla="*/ 2550301 h 3358615"/>
              <a:gd name="connsiteX1" fmla="*/ 3375142 w 3466582"/>
              <a:gd name="connsiteY1" fmla="*/ 2834570 h 3358615"/>
              <a:gd name="connsiteX2" fmla="*/ 2851097 w 3466582"/>
              <a:gd name="connsiteY2" fmla="*/ 3358615 h 3358615"/>
              <a:gd name="connsiteX3" fmla="*/ 524045 w 3466582"/>
              <a:gd name="connsiteY3" fmla="*/ 3358615 h 3358615"/>
              <a:gd name="connsiteX4" fmla="*/ 0 w 3466582"/>
              <a:gd name="connsiteY4" fmla="*/ 2834570 h 3358615"/>
              <a:gd name="connsiteX5" fmla="*/ 0 w 3466582"/>
              <a:gd name="connsiteY5" fmla="*/ 524045 h 3358615"/>
              <a:gd name="connsiteX6" fmla="*/ 524045 w 3466582"/>
              <a:gd name="connsiteY6" fmla="*/ 0 h 3358615"/>
              <a:gd name="connsiteX7" fmla="*/ 824841 w 3466582"/>
              <a:gd name="connsiteY7" fmla="*/ 0 h 3358615"/>
              <a:gd name="connsiteX8" fmla="*/ 3466582 w 3466582"/>
              <a:gd name="connsiteY8" fmla="*/ 2641741 h 3358615"/>
              <a:gd name="connsiteX0" fmla="*/ 3375142 w 3375142"/>
              <a:gd name="connsiteY0" fmla="*/ 2550301 h 3358615"/>
              <a:gd name="connsiteX1" fmla="*/ 3375142 w 3375142"/>
              <a:gd name="connsiteY1" fmla="*/ 2834570 h 3358615"/>
              <a:gd name="connsiteX2" fmla="*/ 2851097 w 3375142"/>
              <a:gd name="connsiteY2" fmla="*/ 3358615 h 3358615"/>
              <a:gd name="connsiteX3" fmla="*/ 524045 w 3375142"/>
              <a:gd name="connsiteY3" fmla="*/ 3358615 h 3358615"/>
              <a:gd name="connsiteX4" fmla="*/ 0 w 3375142"/>
              <a:gd name="connsiteY4" fmla="*/ 2834570 h 3358615"/>
              <a:gd name="connsiteX5" fmla="*/ 0 w 3375142"/>
              <a:gd name="connsiteY5" fmla="*/ 524045 h 3358615"/>
              <a:gd name="connsiteX6" fmla="*/ 524045 w 3375142"/>
              <a:gd name="connsiteY6" fmla="*/ 0 h 3358615"/>
              <a:gd name="connsiteX7" fmla="*/ 824841 w 3375142"/>
              <a:gd name="connsiteY7" fmla="*/ 0 h 335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5142" h="3358615">
                <a:moveTo>
                  <a:pt x="3375142" y="2550301"/>
                </a:moveTo>
                <a:lnTo>
                  <a:pt x="3375142" y="2834570"/>
                </a:lnTo>
                <a:cubicBezTo>
                  <a:pt x="3375142" y="3123992"/>
                  <a:pt x="3140519" y="3358615"/>
                  <a:pt x="2851097" y="3358615"/>
                </a:cubicBezTo>
                <a:lnTo>
                  <a:pt x="524045" y="3358615"/>
                </a:lnTo>
                <a:cubicBezTo>
                  <a:pt x="234623" y="3358615"/>
                  <a:pt x="0" y="3123992"/>
                  <a:pt x="0" y="2834570"/>
                </a:cubicBezTo>
                <a:lnTo>
                  <a:pt x="0" y="524045"/>
                </a:lnTo>
                <a:cubicBezTo>
                  <a:pt x="0" y="234623"/>
                  <a:pt x="234623" y="0"/>
                  <a:pt x="524045" y="0"/>
                </a:cubicBezTo>
                <a:lnTo>
                  <a:pt x="824841"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3" name="Freeform: Shape 12">
            <a:extLst>
              <a:ext uri="{FF2B5EF4-FFF2-40B4-BE49-F238E27FC236}">
                <a16:creationId xmlns:a16="http://schemas.microsoft.com/office/drawing/2014/main" id="{7C9A477D-265C-9608-FDB2-0CC08A6EB248}"/>
              </a:ext>
            </a:extLst>
          </p:cNvPr>
          <p:cNvSpPr/>
          <p:nvPr userDrawn="1"/>
        </p:nvSpPr>
        <p:spPr>
          <a:xfrm rot="-2700000">
            <a:off x="8628149" y="-1411464"/>
            <a:ext cx="3721275" cy="4628377"/>
          </a:xfrm>
          <a:custGeom>
            <a:avLst/>
            <a:gdLst>
              <a:gd name="connsiteX0" fmla="*/ 823095 w 3721275"/>
              <a:gd name="connsiteY0" fmla="*/ 0 h 4628377"/>
              <a:gd name="connsiteX1" fmla="*/ 3721275 w 3721275"/>
              <a:gd name="connsiteY1" fmla="*/ 2898181 h 4628377"/>
              <a:gd name="connsiteX2" fmla="*/ 1991079 w 3721275"/>
              <a:gd name="connsiteY2" fmla="*/ 4628377 h 4628377"/>
              <a:gd name="connsiteX3" fmla="*/ 648536 w 3721275"/>
              <a:gd name="connsiteY3" fmla="*/ 4628377 h 4628377"/>
              <a:gd name="connsiteX4" fmla="*/ 0 w 3721275"/>
              <a:gd name="connsiteY4" fmla="*/ 3979841 h 4628377"/>
              <a:gd name="connsiteX5" fmla="*/ 0 w 3721275"/>
              <a:gd name="connsiteY5" fmla="*/ 648536 h 4628377"/>
              <a:gd name="connsiteX6" fmla="*/ 648536 w 3721275"/>
              <a:gd name="connsiteY6" fmla="*/ 0 h 462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1275" h="4628377">
                <a:moveTo>
                  <a:pt x="823095" y="0"/>
                </a:moveTo>
                <a:lnTo>
                  <a:pt x="3721275" y="2898181"/>
                </a:lnTo>
                <a:lnTo>
                  <a:pt x="1991079" y="4628377"/>
                </a:lnTo>
                <a:lnTo>
                  <a:pt x="648536" y="4628377"/>
                </a:lnTo>
                <a:cubicBezTo>
                  <a:pt x="290359" y="4628377"/>
                  <a:pt x="0" y="4338018"/>
                  <a:pt x="0" y="3979841"/>
                </a:cubicBezTo>
                <a:lnTo>
                  <a:pt x="0" y="648536"/>
                </a:lnTo>
                <a:cubicBezTo>
                  <a:pt x="0" y="290359"/>
                  <a:pt x="290359" y="0"/>
                  <a:pt x="64853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47624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ver Co-Brand 2024-03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93076B7C-F202-996E-7DFF-5D02CB251F3F}"/>
              </a:ext>
            </a:extLst>
          </p:cNvPr>
          <p:cNvSpPr/>
          <p:nvPr userDrawn="1"/>
        </p:nvSpPr>
        <p:spPr>
          <a:xfrm rot="2700000">
            <a:off x="10287508" y="-38027"/>
            <a:ext cx="2386306" cy="3251042"/>
          </a:xfrm>
          <a:custGeom>
            <a:avLst/>
            <a:gdLst>
              <a:gd name="connsiteX0" fmla="*/ 0 w 2386306"/>
              <a:gd name="connsiteY0" fmla="*/ 573618 h 3251042"/>
              <a:gd name="connsiteX1" fmla="*/ 573618 w 2386306"/>
              <a:gd name="connsiteY1" fmla="*/ 0 h 3251042"/>
              <a:gd name="connsiteX2" fmla="*/ 2386306 w 2386306"/>
              <a:gd name="connsiteY2" fmla="*/ 1812689 h 3251042"/>
              <a:gd name="connsiteX3" fmla="*/ 2386306 w 2386306"/>
              <a:gd name="connsiteY3" fmla="*/ 2894719 h 3251042"/>
              <a:gd name="connsiteX4" fmla="*/ 2029983 w 2386306"/>
              <a:gd name="connsiteY4" fmla="*/ 3251042 h 3251042"/>
              <a:gd name="connsiteX5" fmla="*/ 356323 w 2386306"/>
              <a:gd name="connsiteY5" fmla="*/ 3251042 h 3251042"/>
              <a:gd name="connsiteX6" fmla="*/ 0 w 2386306"/>
              <a:gd name="connsiteY6" fmla="*/ 2894719 h 325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6306" h="3251042">
                <a:moveTo>
                  <a:pt x="0" y="573618"/>
                </a:moveTo>
                <a:lnTo>
                  <a:pt x="573618" y="0"/>
                </a:lnTo>
                <a:lnTo>
                  <a:pt x="2386306" y="1812689"/>
                </a:lnTo>
                <a:lnTo>
                  <a:pt x="2386306" y="2894719"/>
                </a:lnTo>
                <a:cubicBezTo>
                  <a:pt x="2386306" y="3091511"/>
                  <a:pt x="2226775" y="3251042"/>
                  <a:pt x="2029983" y="3251042"/>
                </a:cubicBezTo>
                <a:lnTo>
                  <a:pt x="356323" y="3251042"/>
                </a:lnTo>
                <a:cubicBezTo>
                  <a:pt x="159531" y="3251042"/>
                  <a:pt x="0" y="3091511"/>
                  <a:pt x="0" y="289471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Freeform: Shape 5">
            <a:extLst>
              <a:ext uri="{FF2B5EF4-FFF2-40B4-BE49-F238E27FC236}">
                <a16:creationId xmlns:a16="http://schemas.microsoft.com/office/drawing/2014/main" id="{1CF6A970-AE29-6F75-C4C8-B187F617CAEC}"/>
              </a:ext>
            </a:extLst>
          </p:cNvPr>
          <p:cNvSpPr/>
          <p:nvPr userDrawn="1"/>
        </p:nvSpPr>
        <p:spPr>
          <a:xfrm rot="2700000">
            <a:off x="10132011" y="1200350"/>
            <a:ext cx="2806378" cy="2807032"/>
          </a:xfrm>
          <a:custGeom>
            <a:avLst/>
            <a:gdLst>
              <a:gd name="connsiteX0" fmla="*/ 93508 w 2806378"/>
              <a:gd name="connsiteY0" fmla="*/ 93507 h 2807032"/>
              <a:gd name="connsiteX1" fmla="*/ 319254 w 2806378"/>
              <a:gd name="connsiteY1" fmla="*/ 0 h 2807032"/>
              <a:gd name="connsiteX2" fmla="*/ 928529 w 2806378"/>
              <a:gd name="connsiteY2" fmla="*/ 0 h 2807032"/>
              <a:gd name="connsiteX3" fmla="*/ 2806378 w 2806378"/>
              <a:gd name="connsiteY3" fmla="*/ 1877849 h 2807032"/>
              <a:gd name="connsiteX4" fmla="*/ 2806378 w 2806378"/>
              <a:gd name="connsiteY4" fmla="*/ 2487778 h 2807032"/>
              <a:gd name="connsiteX5" fmla="*/ 2487124 w 2806378"/>
              <a:gd name="connsiteY5" fmla="*/ 2807032 h 2807032"/>
              <a:gd name="connsiteX6" fmla="*/ 319254 w 2806378"/>
              <a:gd name="connsiteY6" fmla="*/ 2807032 h 2807032"/>
              <a:gd name="connsiteX7" fmla="*/ 0 w 2806378"/>
              <a:gd name="connsiteY7" fmla="*/ 2487778 h 2807032"/>
              <a:gd name="connsiteX8" fmla="*/ 0 w 2806378"/>
              <a:gd name="connsiteY8" fmla="*/ 319254 h 2807032"/>
              <a:gd name="connsiteX9" fmla="*/ 93508 w 2806378"/>
              <a:gd name="connsiteY9" fmla="*/ 93507 h 280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378" h="2807032">
                <a:moveTo>
                  <a:pt x="93508" y="93507"/>
                </a:moveTo>
                <a:cubicBezTo>
                  <a:pt x="151281" y="35733"/>
                  <a:pt x="231095" y="0"/>
                  <a:pt x="319254" y="0"/>
                </a:cubicBezTo>
                <a:lnTo>
                  <a:pt x="928529" y="0"/>
                </a:lnTo>
                <a:lnTo>
                  <a:pt x="2806378" y="1877849"/>
                </a:lnTo>
                <a:lnTo>
                  <a:pt x="2806378" y="2487778"/>
                </a:lnTo>
                <a:cubicBezTo>
                  <a:pt x="2806378" y="2664097"/>
                  <a:pt x="2663443" y="2807032"/>
                  <a:pt x="2487124" y="2807032"/>
                </a:cubicBezTo>
                <a:lnTo>
                  <a:pt x="319254" y="2807032"/>
                </a:lnTo>
                <a:cubicBezTo>
                  <a:pt x="142935" y="2807032"/>
                  <a:pt x="0" y="2664097"/>
                  <a:pt x="0" y="2487778"/>
                </a:cubicBezTo>
                <a:lnTo>
                  <a:pt x="0" y="319254"/>
                </a:lnTo>
                <a:cubicBezTo>
                  <a:pt x="0" y="231094"/>
                  <a:pt x="35734" y="151281"/>
                  <a:pt x="93508" y="9350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C595510-407A-9229-034C-83CA1804EAD4}"/>
              </a:ext>
            </a:extLst>
          </p:cNvPr>
          <p:cNvSpPr/>
          <p:nvPr userDrawn="1"/>
        </p:nvSpPr>
        <p:spPr>
          <a:xfrm rot="2700000">
            <a:off x="10839088" y="1250954"/>
            <a:ext cx="2705824" cy="2705824"/>
          </a:xfrm>
          <a:custGeom>
            <a:avLst/>
            <a:gdLst>
              <a:gd name="connsiteX0" fmla="*/ 0 w 2705824"/>
              <a:gd name="connsiteY0" fmla="*/ 0 h 2705824"/>
              <a:gd name="connsiteX1" fmla="*/ 2705824 w 2705824"/>
              <a:gd name="connsiteY1" fmla="*/ 2705824 h 2705824"/>
              <a:gd name="connsiteX2" fmla="*/ 306766 w 2705824"/>
              <a:gd name="connsiteY2" fmla="*/ 2705824 h 2705824"/>
              <a:gd name="connsiteX3" fmla="*/ 0 w 2705824"/>
              <a:gd name="connsiteY3" fmla="*/ 2399058 h 2705824"/>
              <a:gd name="connsiteX0" fmla="*/ 2705824 w 2797264"/>
              <a:gd name="connsiteY0" fmla="*/ 2705824 h 2797264"/>
              <a:gd name="connsiteX1" fmla="*/ 306766 w 2797264"/>
              <a:gd name="connsiteY1" fmla="*/ 2705824 h 2797264"/>
              <a:gd name="connsiteX2" fmla="*/ 0 w 2797264"/>
              <a:gd name="connsiteY2" fmla="*/ 2399058 h 2797264"/>
              <a:gd name="connsiteX3" fmla="*/ 0 w 2797264"/>
              <a:gd name="connsiteY3" fmla="*/ 0 h 2797264"/>
              <a:gd name="connsiteX4" fmla="*/ 2797264 w 2797264"/>
              <a:gd name="connsiteY4" fmla="*/ 2797264 h 2797264"/>
              <a:gd name="connsiteX0" fmla="*/ 2705824 w 2705824"/>
              <a:gd name="connsiteY0" fmla="*/ 2705824 h 2705824"/>
              <a:gd name="connsiteX1" fmla="*/ 306766 w 2705824"/>
              <a:gd name="connsiteY1" fmla="*/ 2705824 h 2705824"/>
              <a:gd name="connsiteX2" fmla="*/ 0 w 2705824"/>
              <a:gd name="connsiteY2" fmla="*/ 2399058 h 2705824"/>
              <a:gd name="connsiteX3" fmla="*/ 0 w 2705824"/>
              <a:gd name="connsiteY3" fmla="*/ 0 h 2705824"/>
            </a:gdLst>
            <a:ahLst/>
            <a:cxnLst>
              <a:cxn ang="0">
                <a:pos x="connsiteX0" y="connsiteY0"/>
              </a:cxn>
              <a:cxn ang="0">
                <a:pos x="connsiteX1" y="connsiteY1"/>
              </a:cxn>
              <a:cxn ang="0">
                <a:pos x="connsiteX2" y="connsiteY2"/>
              </a:cxn>
              <a:cxn ang="0">
                <a:pos x="connsiteX3" y="connsiteY3"/>
              </a:cxn>
            </a:cxnLst>
            <a:rect l="l" t="t" r="r" b="b"/>
            <a:pathLst>
              <a:path w="2705824" h="2705824">
                <a:moveTo>
                  <a:pt x="2705824" y="2705824"/>
                </a:moveTo>
                <a:lnTo>
                  <a:pt x="306766" y="2705824"/>
                </a:lnTo>
                <a:cubicBezTo>
                  <a:pt x="137344" y="2705824"/>
                  <a:pt x="0" y="2568480"/>
                  <a:pt x="0" y="2399058"/>
                </a:cubicBezTo>
                <a:lnTo>
                  <a:pt x="0" y="0"/>
                </a:lnTo>
              </a:path>
            </a:pathLst>
          </a:custGeom>
          <a:noFill/>
          <a:ln>
            <a:solidFill>
              <a:srgbClr val="0CEFC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49191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ver Co-Brand 2024-04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userDrawn="1"/>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Freeform: Shape 5">
            <a:extLst>
              <a:ext uri="{FF2B5EF4-FFF2-40B4-BE49-F238E27FC236}">
                <a16:creationId xmlns:a16="http://schemas.microsoft.com/office/drawing/2014/main" id="{7FC2DBB2-A181-4E29-6CCA-A8F30AC33C44}"/>
              </a:ext>
            </a:extLst>
          </p:cNvPr>
          <p:cNvSpPr/>
          <p:nvPr userDrawn="1"/>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7" name="Freeform: Shape 6">
            <a:extLst>
              <a:ext uri="{FF2B5EF4-FFF2-40B4-BE49-F238E27FC236}">
                <a16:creationId xmlns:a16="http://schemas.microsoft.com/office/drawing/2014/main" id="{AFC722F8-9A5C-19E5-0242-1E41CA5B41E8}"/>
              </a:ext>
            </a:extLst>
          </p:cNvPr>
          <p:cNvSpPr/>
          <p:nvPr userDrawn="1"/>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8" name="Freeform: Shape 7">
            <a:extLst>
              <a:ext uri="{FF2B5EF4-FFF2-40B4-BE49-F238E27FC236}">
                <a16:creationId xmlns:a16="http://schemas.microsoft.com/office/drawing/2014/main" id="{461D5A5C-10B5-236E-C5A3-320C49CAC101}"/>
              </a:ext>
            </a:extLst>
          </p:cNvPr>
          <p:cNvSpPr/>
          <p:nvPr userDrawn="1"/>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sp>
        <p:nvSpPr>
          <p:cNvPr id="10" name="Freeform: Shape 9">
            <a:extLst>
              <a:ext uri="{FF2B5EF4-FFF2-40B4-BE49-F238E27FC236}">
                <a16:creationId xmlns:a16="http://schemas.microsoft.com/office/drawing/2014/main" id="{F380E180-0B33-1124-60B3-4CE23784FB15}"/>
              </a:ext>
            </a:extLst>
          </p:cNvPr>
          <p:cNvSpPr/>
          <p:nvPr userDrawn="1"/>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spTree>
    <p:extLst>
      <p:ext uri="{BB962C8B-B14F-4D97-AF65-F5344CB8AC3E}">
        <p14:creationId xmlns:p14="http://schemas.microsoft.com/office/powerpoint/2010/main" val="344838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4454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7401">
          <p15:clr>
            <a:srgbClr val="FBAE40"/>
          </p15:clr>
        </p15:guide>
        <p15:guide id="4" pos="23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80336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9162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17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7726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le of Contents-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47299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3" name="Freeform: Shape 32">
            <a:extLst>
              <a:ext uri="{FF2B5EF4-FFF2-40B4-BE49-F238E27FC236}">
                <a16:creationId xmlns:a16="http://schemas.microsoft.com/office/drawing/2014/main" id="{9123A0F2-7503-B8DD-283A-DEA0EB4EB5EA}"/>
              </a:ext>
            </a:extLst>
          </p:cNvPr>
          <p:cNvSpPr/>
          <p:nvPr userDrawn="1"/>
        </p:nvSpPr>
        <p:spPr>
          <a:xfrm rot="18900000" flipH="1">
            <a:off x="-594083" y="523938"/>
            <a:ext cx="1527403" cy="2007154"/>
          </a:xfrm>
          <a:custGeom>
            <a:avLst/>
            <a:gdLst>
              <a:gd name="connsiteX0" fmla="*/ 0 w 1527403"/>
              <a:gd name="connsiteY0" fmla="*/ 0 h 2007154"/>
              <a:gd name="connsiteX1" fmla="*/ 0 w 1527403"/>
              <a:gd name="connsiteY1" fmla="*/ 1210251 h 2007154"/>
              <a:gd name="connsiteX2" fmla="*/ 796903 w 1527403"/>
              <a:gd name="connsiteY2" fmla="*/ 2007154 h 2007154"/>
              <a:gd name="connsiteX3" fmla="*/ 1457708 w 1527403"/>
              <a:gd name="connsiteY3" fmla="*/ 1655807 h 2007154"/>
              <a:gd name="connsiteX4" fmla="*/ 1527403 w 1527403"/>
              <a:gd name="connsiteY4" fmla="*/ 1527403 h 200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403" h="2007154">
                <a:moveTo>
                  <a:pt x="0" y="0"/>
                </a:moveTo>
                <a:lnTo>
                  <a:pt x="0" y="1210251"/>
                </a:lnTo>
                <a:cubicBezTo>
                  <a:pt x="0" y="1650368"/>
                  <a:pt x="356786" y="2007154"/>
                  <a:pt x="796903" y="2007154"/>
                </a:cubicBezTo>
                <a:cubicBezTo>
                  <a:pt x="1071976" y="2007154"/>
                  <a:pt x="1314498" y="1867785"/>
                  <a:pt x="1457708" y="1655807"/>
                </a:cubicBezTo>
                <a:lnTo>
                  <a:pt x="1527403" y="152740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2" name="Freeform: Shape 31">
            <a:extLst>
              <a:ext uri="{FF2B5EF4-FFF2-40B4-BE49-F238E27FC236}">
                <a16:creationId xmlns:a16="http://schemas.microsoft.com/office/drawing/2014/main" id="{301576D0-87DC-3682-FFCD-2F2E6A1F2A94}"/>
              </a:ext>
            </a:extLst>
          </p:cNvPr>
          <p:cNvSpPr/>
          <p:nvPr userDrawn="1"/>
        </p:nvSpPr>
        <p:spPr>
          <a:xfrm rot="18900000" flipH="1">
            <a:off x="142114" y="2067490"/>
            <a:ext cx="592131" cy="1831489"/>
          </a:xfrm>
          <a:custGeom>
            <a:avLst/>
            <a:gdLst>
              <a:gd name="connsiteX0" fmla="*/ 0 w 592131"/>
              <a:gd name="connsiteY0" fmla="*/ 0 h 1831489"/>
              <a:gd name="connsiteX1" fmla="*/ 0 w 592131"/>
              <a:gd name="connsiteY1" fmla="*/ 1535422 h 1831489"/>
              <a:gd name="connsiteX2" fmla="*/ 296066 w 592131"/>
              <a:gd name="connsiteY2" fmla="*/ 1831488 h 1831489"/>
              <a:gd name="connsiteX3" fmla="*/ 296065 w 592131"/>
              <a:gd name="connsiteY3" fmla="*/ 1831489 h 1831489"/>
              <a:gd name="connsiteX4" fmla="*/ 592131 w 592131"/>
              <a:gd name="connsiteY4" fmla="*/ 1535423 h 1831489"/>
              <a:gd name="connsiteX5" fmla="*/ 592131 w 592131"/>
              <a:gd name="connsiteY5" fmla="*/ 592131 h 18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131" h="1831489">
                <a:moveTo>
                  <a:pt x="0" y="0"/>
                </a:moveTo>
                <a:lnTo>
                  <a:pt x="0" y="1535422"/>
                </a:lnTo>
                <a:cubicBezTo>
                  <a:pt x="0" y="1698935"/>
                  <a:pt x="132553" y="1831488"/>
                  <a:pt x="296066" y="1831488"/>
                </a:cubicBezTo>
                <a:lnTo>
                  <a:pt x="296065" y="1831489"/>
                </a:lnTo>
                <a:cubicBezTo>
                  <a:pt x="459578" y="1831489"/>
                  <a:pt x="592131" y="1698936"/>
                  <a:pt x="592131" y="1535423"/>
                </a:cubicBezTo>
                <a:lnTo>
                  <a:pt x="592131" y="59213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1" name="Freeform: Shape 40">
            <a:extLst>
              <a:ext uri="{FF2B5EF4-FFF2-40B4-BE49-F238E27FC236}">
                <a16:creationId xmlns:a16="http://schemas.microsoft.com/office/drawing/2014/main" id="{46560C56-9182-2FB8-A10A-9F4D9E9AE16F}"/>
              </a:ext>
            </a:extLst>
          </p:cNvPr>
          <p:cNvSpPr/>
          <p:nvPr userDrawn="1"/>
        </p:nvSpPr>
        <p:spPr>
          <a:xfrm rot="18900000" flipH="1">
            <a:off x="-769846" y="488813"/>
            <a:ext cx="2386628" cy="2423999"/>
          </a:xfrm>
          <a:custGeom>
            <a:avLst/>
            <a:gdLst>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6" fmla="*/ 381533 w 2386628"/>
              <a:gd name="connsiteY6" fmla="*/ 91440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0 w 2386628"/>
              <a:gd name="connsiteY0" fmla="*/ 0 h 2423999"/>
              <a:gd name="connsiteX1" fmla="*/ 0 w 2386628"/>
              <a:gd name="connsiteY1" fmla="*/ 1133718 h 2423999"/>
              <a:gd name="connsiteX2" fmla="*/ 1290281 w 2386628"/>
              <a:gd name="connsiteY2" fmla="*/ 2423999 h 2423999"/>
              <a:gd name="connsiteX3" fmla="*/ 2360202 w 2386628"/>
              <a:gd name="connsiteY3" fmla="*/ 1855127 h 2423999"/>
              <a:gd name="connsiteX4" fmla="*/ 2386628 w 2386628"/>
              <a:gd name="connsiteY4" fmla="*/ 1806441 h 2423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628" h="2423999">
                <a:moveTo>
                  <a:pt x="0" y="0"/>
                </a:moveTo>
                <a:lnTo>
                  <a:pt x="0" y="1133718"/>
                </a:lnTo>
                <a:cubicBezTo>
                  <a:pt x="0" y="1846321"/>
                  <a:pt x="577678" y="2423999"/>
                  <a:pt x="1290281" y="2423999"/>
                </a:cubicBezTo>
                <a:cubicBezTo>
                  <a:pt x="1735658" y="2423999"/>
                  <a:pt x="2128330" y="2198344"/>
                  <a:pt x="2360202" y="1855127"/>
                </a:cubicBezTo>
                <a:lnTo>
                  <a:pt x="2386628" y="1806441"/>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93892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92694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7105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18601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06635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974917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64656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29030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420635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ivider Photo Left - IQVIA">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370874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42870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le 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F4ACCC-7F14-F438-ACE2-3F9BADE4A0E8}"/>
              </a:ext>
            </a:extLst>
          </p:cNvPr>
          <p:cNvGraphicFramePr>
            <a:graphicFrameLocks noChangeAspect="1"/>
          </p:cNvGraphicFramePr>
          <p:nvPr userDrawn="1">
            <p:custDataLst>
              <p:tags r:id="rId1"/>
            </p:custDataLst>
            <p:extLst>
              <p:ext uri="{D42A27DB-BD31-4B8C-83A1-F6EECF244321}">
                <p14:modId xmlns:p14="http://schemas.microsoft.com/office/powerpoint/2010/main" val="207565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35F4ACCC-7F14-F438-ACE2-3F9BADE4A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a:defRPr sz="2800" b="1">
                <a:solidFill>
                  <a:schemeClr val="tx1"/>
                </a:solidFill>
                <a:latin typeface="+mj-lt"/>
              </a:defRPr>
            </a:lvl1pPr>
          </a:lstStyle>
          <a:p>
            <a:r>
              <a:rPr lang="en-US"/>
              <a:t>Headlines are 28pt Noto Sans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30775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Tree>
    <p:extLst>
      <p:ext uri="{BB962C8B-B14F-4D97-AF65-F5344CB8AC3E}">
        <p14:creationId xmlns:p14="http://schemas.microsoft.com/office/powerpoint/2010/main" val="10205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64354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21807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ivider 2024-04 - IQVIA">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322300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ivider 2024-05 - IQVIA">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err="1"/>
          </a:p>
        </p:txBody>
      </p:sp>
    </p:spTree>
    <p:extLst>
      <p:ext uri="{BB962C8B-B14F-4D97-AF65-F5344CB8AC3E}">
        <p14:creationId xmlns:p14="http://schemas.microsoft.com/office/powerpoint/2010/main" val="60266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43639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2024-07 - IQVIA">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356134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pic>
        <p:nvPicPr>
          <p:cNvPr id="33" name="Graphic 32">
            <a:extLst>
              <a:ext uri="{FF2B5EF4-FFF2-40B4-BE49-F238E27FC236}">
                <a16:creationId xmlns:a16="http://schemas.microsoft.com/office/drawing/2014/main" id="{AB890B20-7C27-E743-AFC7-1377DA74242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62835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14157B-15ED-445A-9EDD-9B69523164B0}"/>
              </a:ext>
            </a:extLst>
          </p:cNvPr>
          <p:cNvGraphicFramePr>
            <a:graphicFrameLocks noChangeAspect="1"/>
          </p:cNvGraphicFramePr>
          <p:nvPr userDrawn="1">
            <p:custDataLst>
              <p:tags r:id="rId1"/>
            </p:custDataLst>
            <p:extLst>
              <p:ext uri="{D42A27DB-BD31-4B8C-83A1-F6EECF244321}">
                <p14:modId xmlns:p14="http://schemas.microsoft.com/office/powerpoint/2010/main" val="2505845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B614157B-15ED-445A-9EDD-9B69523164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0B57C2B3-6891-4DA8-9E01-921FE43EC8CC}"/>
              </a:ext>
            </a:extLst>
          </p:cNvPr>
          <p:cNvSpPr/>
          <p:nvPr userDrawn="1"/>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grpSp>
        <p:nvGrpSpPr>
          <p:cNvPr id="56" name="Group 55">
            <a:extLst>
              <a:ext uri="{FF2B5EF4-FFF2-40B4-BE49-F238E27FC236}">
                <a16:creationId xmlns:a16="http://schemas.microsoft.com/office/drawing/2014/main" id="{956769BE-FF24-4503-A0A8-1B23CBEBD978}"/>
              </a:ext>
            </a:extLst>
          </p:cNvPr>
          <p:cNvGrpSpPr/>
          <p:nvPr userDrawn="1"/>
        </p:nvGrpSpPr>
        <p:grpSpPr>
          <a:xfrm>
            <a:off x="-1" y="260324"/>
            <a:ext cx="1250388" cy="1575820"/>
            <a:chOff x="-1" y="260324"/>
            <a:chExt cx="1250388" cy="1575820"/>
          </a:xfrm>
          <a:solidFill>
            <a:schemeClr val="accent1"/>
          </a:solidFill>
        </p:grpSpPr>
        <p:grpSp>
          <p:nvGrpSpPr>
            <p:cNvPr id="57" name="Group 56">
              <a:extLst>
                <a:ext uri="{FF2B5EF4-FFF2-40B4-BE49-F238E27FC236}">
                  <a16:creationId xmlns:a16="http://schemas.microsoft.com/office/drawing/2014/main" id="{976238AD-B809-4B3D-B0BE-6924176147F2}"/>
                </a:ext>
              </a:extLst>
            </p:cNvPr>
            <p:cNvGrpSpPr/>
            <p:nvPr/>
          </p:nvGrpSpPr>
          <p:grpSpPr>
            <a:xfrm>
              <a:off x="686264" y="1652391"/>
              <a:ext cx="564123" cy="183753"/>
              <a:chOff x="876236" y="5534957"/>
              <a:chExt cx="1674271" cy="545364"/>
            </a:xfrm>
            <a:grpFill/>
          </p:grpSpPr>
          <p:sp>
            <p:nvSpPr>
              <p:cNvPr id="79" name="Rectangle 78">
                <a:extLst>
                  <a:ext uri="{FF2B5EF4-FFF2-40B4-BE49-F238E27FC236}">
                    <a16:creationId xmlns:a16="http://schemas.microsoft.com/office/drawing/2014/main" id="{CBBA0F07-9D09-4B4F-BC5B-6F60FC6BEA6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7A447684-B90C-4C99-8A9D-50768288DCD4}"/>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Oval 80">
                <a:extLst>
                  <a:ext uri="{FF2B5EF4-FFF2-40B4-BE49-F238E27FC236}">
                    <a16:creationId xmlns:a16="http://schemas.microsoft.com/office/drawing/2014/main" id="{16ED1A4D-1BBC-4AA2-B78E-D594D2AD580B}"/>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8" name="Group 57">
              <a:extLst>
                <a:ext uri="{FF2B5EF4-FFF2-40B4-BE49-F238E27FC236}">
                  <a16:creationId xmlns:a16="http://schemas.microsoft.com/office/drawing/2014/main" id="{67DFF148-321E-48F0-B58B-2808223CF653}"/>
                </a:ext>
              </a:extLst>
            </p:cNvPr>
            <p:cNvGrpSpPr/>
            <p:nvPr/>
          </p:nvGrpSpPr>
          <p:grpSpPr>
            <a:xfrm>
              <a:off x="864211" y="1304375"/>
              <a:ext cx="386176" cy="183753"/>
              <a:chOff x="1404367" y="4502072"/>
              <a:chExt cx="1146140" cy="545364"/>
            </a:xfrm>
            <a:grpFill/>
          </p:grpSpPr>
          <p:sp>
            <p:nvSpPr>
              <p:cNvPr id="76" name="Rectangle 75">
                <a:extLst>
                  <a:ext uri="{FF2B5EF4-FFF2-40B4-BE49-F238E27FC236}">
                    <a16:creationId xmlns:a16="http://schemas.microsoft.com/office/drawing/2014/main" id="{7483C700-D1E0-4A80-9751-DD46FD24D0BD}"/>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Oval 76">
                <a:extLst>
                  <a:ext uri="{FF2B5EF4-FFF2-40B4-BE49-F238E27FC236}">
                    <a16:creationId xmlns:a16="http://schemas.microsoft.com/office/drawing/2014/main" id="{F2C91C4D-44ED-411B-9FDE-EB2699ED9B08}"/>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A6933F41-E031-46B0-BC1E-2255DA591C53}"/>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9" name="Group 58">
              <a:extLst>
                <a:ext uri="{FF2B5EF4-FFF2-40B4-BE49-F238E27FC236}">
                  <a16:creationId xmlns:a16="http://schemas.microsoft.com/office/drawing/2014/main" id="{51AC78E0-8605-4A2C-A5E0-E2BF13578C98}"/>
                </a:ext>
              </a:extLst>
            </p:cNvPr>
            <p:cNvGrpSpPr/>
            <p:nvPr/>
          </p:nvGrpSpPr>
          <p:grpSpPr>
            <a:xfrm>
              <a:off x="917753" y="956358"/>
              <a:ext cx="332634" cy="183753"/>
              <a:chOff x="1560101" y="3469185"/>
              <a:chExt cx="987231" cy="545364"/>
            </a:xfrm>
            <a:grpFill/>
          </p:grpSpPr>
          <p:sp>
            <p:nvSpPr>
              <p:cNvPr id="73" name="Oval 72">
                <a:extLst>
                  <a:ext uri="{FF2B5EF4-FFF2-40B4-BE49-F238E27FC236}">
                    <a16:creationId xmlns:a16="http://schemas.microsoft.com/office/drawing/2014/main" id="{1BEF7EBE-0A65-47DD-9378-DDFFF861C14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Rectangle 73">
                <a:extLst>
                  <a:ext uri="{FF2B5EF4-FFF2-40B4-BE49-F238E27FC236}">
                    <a16:creationId xmlns:a16="http://schemas.microsoft.com/office/drawing/2014/main" id="{6FDD92EF-78C2-41E3-9849-821D6ED93F0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1DB4FD17-32B4-48B0-AD6E-E58FC5A964E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0" name="Group 59">
              <a:extLst>
                <a:ext uri="{FF2B5EF4-FFF2-40B4-BE49-F238E27FC236}">
                  <a16:creationId xmlns:a16="http://schemas.microsoft.com/office/drawing/2014/main" id="{F530362A-CC14-46AD-8AF4-F37632E8A9F1}"/>
                </a:ext>
              </a:extLst>
            </p:cNvPr>
            <p:cNvGrpSpPr/>
            <p:nvPr/>
          </p:nvGrpSpPr>
          <p:grpSpPr>
            <a:xfrm>
              <a:off x="868078" y="608341"/>
              <a:ext cx="382309" cy="183753"/>
              <a:chOff x="1415887" y="2436300"/>
              <a:chExt cx="1134663" cy="545364"/>
            </a:xfrm>
            <a:grpFill/>
          </p:grpSpPr>
          <p:sp>
            <p:nvSpPr>
              <p:cNvPr id="70" name="Oval 69">
                <a:extLst>
                  <a:ext uri="{FF2B5EF4-FFF2-40B4-BE49-F238E27FC236}">
                    <a16:creationId xmlns:a16="http://schemas.microsoft.com/office/drawing/2014/main" id="{25DC9BB9-F4AA-4592-ACE1-133D0A49063B}"/>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6590F224-3AE8-461D-A0A2-6AC8C6280C06}"/>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Rectangle 71">
                <a:extLst>
                  <a:ext uri="{FF2B5EF4-FFF2-40B4-BE49-F238E27FC236}">
                    <a16:creationId xmlns:a16="http://schemas.microsoft.com/office/drawing/2014/main" id="{9EF452F0-5AA9-441C-BA9D-B30A3FB5E7FB}"/>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1" name="Group 60">
              <a:extLst>
                <a:ext uri="{FF2B5EF4-FFF2-40B4-BE49-F238E27FC236}">
                  <a16:creationId xmlns:a16="http://schemas.microsoft.com/office/drawing/2014/main" id="{F66A6130-1396-4D64-87C3-58B121F19519}"/>
                </a:ext>
              </a:extLst>
            </p:cNvPr>
            <p:cNvGrpSpPr/>
            <p:nvPr/>
          </p:nvGrpSpPr>
          <p:grpSpPr>
            <a:xfrm>
              <a:off x="693506" y="260324"/>
              <a:ext cx="556881" cy="183753"/>
              <a:chOff x="898206" y="1403413"/>
              <a:chExt cx="1652778" cy="545364"/>
            </a:xfrm>
            <a:grpFill/>
          </p:grpSpPr>
          <p:sp>
            <p:nvSpPr>
              <p:cNvPr id="67" name="Oval 66">
                <a:extLst>
                  <a:ext uri="{FF2B5EF4-FFF2-40B4-BE49-F238E27FC236}">
                    <a16:creationId xmlns:a16="http://schemas.microsoft.com/office/drawing/2014/main" id="{36895299-970E-497E-85D4-C86635487913}"/>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8" name="Oval 67">
                <a:extLst>
                  <a:ext uri="{FF2B5EF4-FFF2-40B4-BE49-F238E27FC236}">
                    <a16:creationId xmlns:a16="http://schemas.microsoft.com/office/drawing/2014/main" id="{D0B0A111-AC86-4432-9219-943869C6619B}"/>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Rectangle 68">
                <a:extLst>
                  <a:ext uri="{FF2B5EF4-FFF2-40B4-BE49-F238E27FC236}">
                    <a16:creationId xmlns:a16="http://schemas.microsoft.com/office/drawing/2014/main" id="{605F8A74-54AE-4A77-BF5D-0E4A482660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2" name="Freeform: Shape 61">
              <a:extLst>
                <a:ext uri="{FF2B5EF4-FFF2-40B4-BE49-F238E27FC236}">
                  <a16:creationId xmlns:a16="http://schemas.microsoft.com/office/drawing/2014/main" id="{9E02432C-76AD-4F2B-AECA-B20E080CFED7}"/>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3" name="Freeform: Shape 62">
              <a:extLst>
                <a:ext uri="{FF2B5EF4-FFF2-40B4-BE49-F238E27FC236}">
                  <a16:creationId xmlns:a16="http://schemas.microsoft.com/office/drawing/2014/main" id="{7FC28919-ED5E-4E8B-98AE-D594B2B91964}"/>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4" name="Freeform: Shape 63">
              <a:extLst>
                <a:ext uri="{FF2B5EF4-FFF2-40B4-BE49-F238E27FC236}">
                  <a16:creationId xmlns:a16="http://schemas.microsoft.com/office/drawing/2014/main" id="{816F1871-A80D-4526-85C6-1A2AB93072AA}"/>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Freeform: Shape 64">
              <a:extLst>
                <a:ext uri="{FF2B5EF4-FFF2-40B4-BE49-F238E27FC236}">
                  <a16:creationId xmlns:a16="http://schemas.microsoft.com/office/drawing/2014/main" id="{E157243A-7DAC-4244-9A5D-59FA3AF3790B}"/>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6" name="Freeform: Shape 65">
              <a:extLst>
                <a:ext uri="{FF2B5EF4-FFF2-40B4-BE49-F238E27FC236}">
                  <a16:creationId xmlns:a16="http://schemas.microsoft.com/office/drawing/2014/main" id="{A1B43125-5F2A-4430-912D-13E776DA379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82" name="Graphic 81">
            <a:extLst>
              <a:ext uri="{FF2B5EF4-FFF2-40B4-BE49-F238E27FC236}">
                <a16:creationId xmlns:a16="http://schemas.microsoft.com/office/drawing/2014/main" id="{201B25E1-AB0E-4EB5-A9AF-1983CB34E87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969708" y="1566337"/>
            <a:ext cx="9687852"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marL="285750" indent="-285750" defTabSz="9334267">
                <a:buClr>
                  <a:schemeClr val="accent1"/>
                </a:buClr>
                <a:buFont typeface="Arial" panose="020B0604020202020204" pitchFamily="34" charset="0"/>
                <a:buChar char="+"/>
                <a:tabLst>
                  <a:tab pos="9512062" algn="l"/>
                </a:tabLst>
              </a:pPr>
              <a:r>
                <a:rPr lang="en-US" sz="18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8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800"/>
                <a:t>&lt;P&gt;</a:t>
              </a:r>
            </a:p>
          </p:txBody>
        </p:sp>
        <p:sp>
          <p:nvSpPr>
            <p:cNvPr id="24" name="Textbox" hidden="1"/>
            <p:cNvSpPr txBox="1">
              <a:spLocks/>
            </p:cNvSpPr>
            <p:nvPr userDrawn="1"/>
          </p:nvSpPr>
          <p:spPr>
            <a:xfrm>
              <a:off x="6977266" y="2085631"/>
              <a:ext cx="1257061" cy="369332"/>
            </a:xfrm>
            <a:prstGeom prst="rect">
              <a:avLst/>
            </a:prstGeom>
            <a:noFill/>
          </p:spPr>
          <p:txBody>
            <a:bodyPr wrap="none" rtlCol="0" anchor="ctr">
              <a:noAutofit/>
            </a:bodyPr>
            <a:lstStyle/>
            <a:p>
              <a:pPr algn="l"/>
              <a:r>
                <a:rPr lang="en-US" sz="1800"/>
                <a:t>&lt;TIMESLOT&gt;</a:t>
              </a:r>
            </a:p>
          </p:txBody>
        </p:sp>
        <p:sp>
          <p:nvSpPr>
            <p:cNvPr id="28" name="Textbox" hidden="1"/>
            <p:cNvSpPr txBox="1">
              <a:spLocks/>
            </p:cNvSpPr>
            <p:nvPr userDrawn="1"/>
          </p:nvSpPr>
          <p:spPr>
            <a:xfrm>
              <a:off x="5081388" y="2085631"/>
              <a:ext cx="1388067" cy="369332"/>
            </a:xfrm>
            <a:prstGeom prst="rect">
              <a:avLst/>
            </a:prstGeom>
            <a:noFill/>
          </p:spPr>
          <p:txBody>
            <a:bodyPr wrap="none" rtlCol="0" anchor="ctr">
              <a:noAutofit/>
            </a:bodyPr>
            <a:lstStyle/>
            <a:p>
              <a:pPr algn="l"/>
              <a:r>
                <a:rPr lang="en-US" sz="1800"/>
                <a:t>&lt;RESPONSIBLE&gt;</a:t>
              </a:r>
            </a:p>
          </p:txBody>
        </p:sp>
        <p:sp>
          <p:nvSpPr>
            <p:cNvPr id="29" name="Textbox" hidden="1"/>
            <p:cNvSpPr txBox="1">
              <a:spLocks/>
            </p:cNvSpPr>
            <p:nvPr userDrawn="1"/>
          </p:nvSpPr>
          <p:spPr>
            <a:xfrm>
              <a:off x="8458115" y="2085631"/>
              <a:ext cx="684723" cy="369332"/>
            </a:xfrm>
            <a:prstGeom prst="rect">
              <a:avLst/>
            </a:prstGeom>
            <a:noFill/>
          </p:spPr>
          <p:txBody>
            <a:bodyPr wrap="none" rtlCol="0" anchor="ctr">
              <a:noAutofit/>
            </a:bodyPr>
            <a:lstStyle/>
            <a:p>
              <a:pPr algn="l"/>
              <a:r>
                <a:rPr lang="en-US" sz="1800"/>
                <a:t>&lt;DURATION&gt;</a:t>
              </a:r>
            </a:p>
          </p:txBody>
        </p:sp>
      </p:grpSp>
      <p:grpSp>
        <p:nvGrpSpPr>
          <p:cNvPr id="4" name="SP Agenda Section Highlight" hidden="1"/>
          <p:cNvGrpSpPr>
            <a:grpSpLocks/>
          </p:cNvGrpSpPr>
          <p:nvPr userDrawn="1"/>
        </p:nvGrpSpPr>
        <p:grpSpPr>
          <a:xfrm>
            <a:off x="1969707" y="2097669"/>
            <a:ext cx="9687851" cy="369332"/>
            <a:chOff x="1797664" y="2616963"/>
            <a:chExt cx="8657274" cy="369332"/>
          </a:xfrm>
          <a:no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marL="285750" indent="-285750" defTabSz="9334267">
                <a:buClr>
                  <a:schemeClr val="accent1"/>
                </a:buClr>
                <a:buFont typeface="Arial" panose="020B0604020202020204" pitchFamily="34" charset="0"/>
                <a:buChar char="+"/>
                <a:tabLst>
                  <a:tab pos="9512062" algn="l"/>
                </a:tabLst>
              </a:pPr>
              <a:r>
                <a:rPr lang="en-US" sz="18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8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800" b="1"/>
                <a:t>&lt;P&gt;</a:t>
              </a:r>
            </a:p>
          </p:txBody>
        </p:sp>
        <p:sp>
          <p:nvSpPr>
            <p:cNvPr id="35" name="Textbox" hidden="1"/>
            <p:cNvSpPr txBox="1">
              <a:spLocks/>
            </p:cNvSpPr>
            <p:nvPr userDrawn="1"/>
          </p:nvSpPr>
          <p:spPr>
            <a:xfrm>
              <a:off x="6976061" y="2616963"/>
              <a:ext cx="1257061" cy="369332"/>
            </a:xfrm>
            <a:prstGeom prst="rect">
              <a:avLst/>
            </a:prstGeom>
            <a:grpFill/>
          </p:spPr>
          <p:txBody>
            <a:bodyPr wrap="none" rtlCol="0" anchor="ctr">
              <a:noAutofit/>
            </a:bodyPr>
            <a:lstStyle/>
            <a:p>
              <a:pPr algn="l"/>
              <a:r>
                <a:rPr lang="en-US" sz="1800" b="1"/>
                <a:t>&lt;TIMESLOT&gt;</a:t>
              </a:r>
            </a:p>
          </p:txBody>
        </p:sp>
        <p:sp>
          <p:nvSpPr>
            <p:cNvPr id="36" name="Textbox" hidden="1"/>
            <p:cNvSpPr txBox="1">
              <a:spLocks/>
            </p:cNvSpPr>
            <p:nvPr userDrawn="1"/>
          </p:nvSpPr>
          <p:spPr>
            <a:xfrm>
              <a:off x="5072510" y="2616963"/>
              <a:ext cx="1388067" cy="369332"/>
            </a:xfrm>
            <a:prstGeom prst="rect">
              <a:avLst/>
            </a:prstGeom>
            <a:grpFill/>
          </p:spPr>
          <p:txBody>
            <a:bodyPr wrap="none" rtlCol="0" anchor="ctr">
              <a:noAutofit/>
            </a:bodyPr>
            <a:lstStyle/>
            <a:p>
              <a:pPr algn="l"/>
              <a:r>
                <a:rPr lang="en-US" sz="1800" b="1"/>
                <a:t>&lt;RESPONSIBLE&gt;</a:t>
              </a:r>
            </a:p>
          </p:txBody>
        </p:sp>
        <p:sp>
          <p:nvSpPr>
            <p:cNvPr id="37" name="Textbox" hidden="1"/>
            <p:cNvSpPr txBox="1">
              <a:spLocks/>
            </p:cNvSpPr>
            <p:nvPr userDrawn="1"/>
          </p:nvSpPr>
          <p:spPr>
            <a:xfrm>
              <a:off x="8468205" y="2616963"/>
              <a:ext cx="684723" cy="369332"/>
            </a:xfrm>
            <a:prstGeom prst="rect">
              <a:avLst/>
            </a:prstGeom>
            <a:grpFill/>
          </p:spPr>
          <p:txBody>
            <a:bodyPr wrap="none" rtlCol="0" anchor="ctr">
              <a:noAutofit/>
            </a:bodyPr>
            <a:lstStyle/>
            <a:p>
              <a:pPr algn="l"/>
              <a:r>
                <a:rPr lang="en-US" sz="1800" b="1"/>
                <a:t>&lt;DURATION&gt;</a:t>
              </a:r>
            </a:p>
          </p:txBody>
        </p:sp>
      </p:grpSp>
      <p:grpSp>
        <p:nvGrpSpPr>
          <p:cNvPr id="8" name="SP Agenda Subsection" hidden="1"/>
          <p:cNvGrpSpPr>
            <a:grpSpLocks/>
          </p:cNvGrpSpPr>
          <p:nvPr userDrawn="1"/>
        </p:nvGrpSpPr>
        <p:grpSpPr>
          <a:xfrm>
            <a:off x="2437849" y="2427296"/>
            <a:ext cx="9163984"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marL="285750" indent="-285750" defTabSz="9334267">
                <a:buClrTx/>
                <a:buFont typeface="Arial" panose="020B0604020202020204" pitchFamily="34" charset="0"/>
                <a:buChar char="•"/>
                <a:tabLst>
                  <a:tab pos="9512062" algn="l"/>
                </a:tabLst>
              </a:pPr>
              <a:r>
                <a:rPr lang="en-US" sz="16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6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600"/>
                <a:t>&lt;P&gt;</a:t>
              </a:r>
            </a:p>
          </p:txBody>
        </p:sp>
        <p:sp>
          <p:nvSpPr>
            <p:cNvPr id="42" name="Textbox" hidden="1"/>
            <p:cNvSpPr txBox="1">
              <a:spLocks/>
            </p:cNvSpPr>
            <p:nvPr userDrawn="1"/>
          </p:nvSpPr>
          <p:spPr>
            <a:xfrm>
              <a:off x="7026505" y="3155687"/>
              <a:ext cx="1257061" cy="369332"/>
            </a:xfrm>
            <a:prstGeom prst="rect">
              <a:avLst/>
            </a:prstGeom>
            <a:noFill/>
          </p:spPr>
          <p:txBody>
            <a:bodyPr wrap="none" rtlCol="0" anchor="ctr">
              <a:noAutofit/>
            </a:bodyPr>
            <a:lstStyle/>
            <a:p>
              <a:pPr algn="l"/>
              <a:r>
                <a:rPr lang="en-US" sz="1600"/>
                <a:t>&lt;TIMESLOT&gt;</a:t>
              </a:r>
            </a:p>
          </p:txBody>
        </p:sp>
        <p:sp>
          <p:nvSpPr>
            <p:cNvPr id="43" name="Textbox" hidden="1"/>
            <p:cNvSpPr txBox="1">
              <a:spLocks/>
            </p:cNvSpPr>
            <p:nvPr userDrawn="1"/>
          </p:nvSpPr>
          <p:spPr>
            <a:xfrm>
              <a:off x="5124151" y="3155687"/>
              <a:ext cx="1388067" cy="369332"/>
            </a:xfrm>
            <a:prstGeom prst="rect">
              <a:avLst/>
            </a:prstGeom>
            <a:noFill/>
          </p:spPr>
          <p:txBody>
            <a:bodyPr wrap="none" rtlCol="0" anchor="ctr">
              <a:noAutofit/>
            </a:bodyPr>
            <a:lstStyle/>
            <a:p>
              <a:pPr algn="l"/>
              <a:r>
                <a:rPr lang="en-US" sz="1600"/>
                <a:t>&lt;RESPONSIBLE&gt;</a:t>
              </a:r>
            </a:p>
          </p:txBody>
        </p:sp>
        <p:sp>
          <p:nvSpPr>
            <p:cNvPr id="44" name="Textbox" hidden="1"/>
            <p:cNvSpPr txBox="1">
              <a:spLocks/>
            </p:cNvSpPr>
            <p:nvPr userDrawn="1"/>
          </p:nvSpPr>
          <p:spPr>
            <a:xfrm>
              <a:off x="8508554" y="3155687"/>
              <a:ext cx="684723" cy="369332"/>
            </a:xfrm>
            <a:prstGeom prst="rect">
              <a:avLst/>
            </a:prstGeom>
            <a:noFill/>
          </p:spPr>
          <p:txBody>
            <a:bodyPr wrap="none" rtlCol="0" anchor="ctr">
              <a:noAutofit/>
            </a:bodyPr>
            <a:lstStyle/>
            <a:p>
              <a:pPr algn="l"/>
              <a:r>
                <a:rPr lang="en-US" sz="1600"/>
                <a:t>&lt;DURATION&gt;</a:t>
              </a:r>
            </a:p>
          </p:txBody>
        </p:sp>
      </p:grpSp>
      <p:grpSp>
        <p:nvGrpSpPr>
          <p:cNvPr id="9" name="SP Agenda Subsection Highlight" hidden="1"/>
          <p:cNvGrpSpPr>
            <a:grpSpLocks/>
          </p:cNvGrpSpPr>
          <p:nvPr userDrawn="1"/>
        </p:nvGrpSpPr>
        <p:grpSpPr>
          <a:xfrm>
            <a:off x="2437847" y="2783817"/>
            <a:ext cx="9163983" cy="369332"/>
            <a:chOff x="2265804" y="3694411"/>
            <a:chExt cx="8189134" cy="369332"/>
          </a:xfrm>
          <a:no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marL="285750" indent="-285750" defTabSz="9334267">
                <a:buClrTx/>
                <a:buFont typeface="Arial" panose="020B0604020202020204" pitchFamily="34" charset="0"/>
                <a:buChar char="•"/>
                <a:tabLst>
                  <a:tab pos="9512062" algn="l"/>
                </a:tabLst>
              </a:pPr>
              <a:r>
                <a:rPr lang="en-US" sz="16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6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600" b="1"/>
                <a:t>&lt;P&gt;</a:t>
              </a:r>
            </a:p>
          </p:txBody>
        </p:sp>
        <p:sp>
          <p:nvSpPr>
            <p:cNvPr id="49" name="Textbox" hidden="1"/>
            <p:cNvSpPr txBox="1">
              <a:spLocks/>
            </p:cNvSpPr>
            <p:nvPr userDrawn="1"/>
          </p:nvSpPr>
          <p:spPr>
            <a:xfrm>
              <a:off x="7026504" y="3694411"/>
              <a:ext cx="1257061" cy="369332"/>
            </a:xfrm>
            <a:prstGeom prst="rect">
              <a:avLst/>
            </a:prstGeom>
            <a:grpFill/>
          </p:spPr>
          <p:txBody>
            <a:bodyPr wrap="none" rtlCol="0" anchor="ctr">
              <a:noAutofit/>
            </a:bodyPr>
            <a:lstStyle/>
            <a:p>
              <a:pPr algn="l"/>
              <a:r>
                <a:rPr lang="en-US" sz="1600" b="1"/>
                <a:t>&lt;TIMESLOT&gt;</a:t>
              </a:r>
            </a:p>
          </p:txBody>
        </p:sp>
        <p:sp>
          <p:nvSpPr>
            <p:cNvPr id="50" name="Textbox" hidden="1"/>
            <p:cNvSpPr txBox="1">
              <a:spLocks/>
            </p:cNvSpPr>
            <p:nvPr userDrawn="1"/>
          </p:nvSpPr>
          <p:spPr>
            <a:xfrm>
              <a:off x="5134235" y="3694411"/>
              <a:ext cx="1388067" cy="369332"/>
            </a:xfrm>
            <a:prstGeom prst="rect">
              <a:avLst/>
            </a:prstGeom>
            <a:grpFill/>
          </p:spPr>
          <p:txBody>
            <a:bodyPr wrap="none" rtlCol="0" anchor="ctr">
              <a:noAutofit/>
            </a:bodyPr>
            <a:lstStyle/>
            <a:p>
              <a:pPr algn="l"/>
              <a:r>
                <a:rPr lang="en-US" sz="1600" b="1"/>
                <a:t>&lt;RESPONSIBLE&gt;</a:t>
              </a:r>
            </a:p>
          </p:txBody>
        </p:sp>
        <p:sp>
          <p:nvSpPr>
            <p:cNvPr id="51" name="Textbox" hidden="1"/>
            <p:cNvSpPr txBox="1">
              <a:spLocks/>
            </p:cNvSpPr>
            <p:nvPr userDrawn="1"/>
          </p:nvSpPr>
          <p:spPr>
            <a:xfrm>
              <a:off x="8508551" y="3694411"/>
              <a:ext cx="684723" cy="369332"/>
            </a:xfrm>
            <a:prstGeom prst="rect">
              <a:avLst/>
            </a:prstGeom>
            <a:grpFill/>
          </p:spPr>
          <p:txBody>
            <a:bodyPr wrap="none" rtlCol="0" anchor="ctr">
              <a:noAutofit/>
            </a:bodyPr>
            <a:lstStyle/>
            <a:p>
              <a:pPr algn="l"/>
              <a:r>
                <a:rPr lang="en-US" sz="1600" b="1"/>
                <a:t>&lt;DURATION&gt;</a:t>
              </a:r>
            </a:p>
          </p:txBody>
        </p:sp>
      </p:grpSp>
      <p:sp>
        <p:nvSpPr>
          <p:cNvPr id="52" name="Title 1">
            <a:extLst>
              <a:ext uri="{FF2B5EF4-FFF2-40B4-BE49-F238E27FC236}">
                <a16:creationId xmlns:a16="http://schemas.microsoft.com/office/drawing/2014/main" id="{3F6B5101-F0DA-4DEA-9130-F26443CAEBFB}"/>
              </a:ext>
            </a:extLst>
          </p:cNvPr>
          <p:cNvSpPr>
            <a:spLocks noGrp="1"/>
          </p:cNvSpPr>
          <p:nvPr userDrawn="1">
            <p:ph type="title" sz="quarter" idx="14" hasCustomPrompt="1"/>
          </p:nvPr>
        </p:nvSpPr>
        <p:spPr>
          <a:xfrm>
            <a:off x="1973995" y="861658"/>
            <a:ext cx="9163983" cy="557611"/>
          </a:xfrm>
          <a:prstGeom prst="rect">
            <a:avLst/>
          </a:prstGeom>
        </p:spPr>
        <p:txBody>
          <a:bodyPr/>
          <a:lstStyle>
            <a:lvl1pPr>
              <a:defRPr lang="en-US" sz="3200" b="1" kern="1200" dirty="0">
                <a:solidFill>
                  <a:schemeClr val="accent1"/>
                </a:solidFill>
                <a:latin typeface="+mj-lt"/>
                <a:ea typeface="+mj-ea"/>
                <a:cs typeface="+mj-cs"/>
              </a:defRPr>
            </a:lvl1pPr>
          </a:lstStyle>
          <a:p>
            <a:r>
              <a:rPr lang="en-US"/>
              <a:t>Agenda</a:t>
            </a:r>
          </a:p>
        </p:txBody>
      </p:sp>
    </p:spTree>
    <p:extLst>
      <p:ext uri="{BB962C8B-B14F-4D97-AF65-F5344CB8AC3E}">
        <p14:creationId xmlns:p14="http://schemas.microsoft.com/office/powerpoint/2010/main" val="95346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232">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sp>
        <p:nvSpPr>
          <p:cNvPr id="17" name="Rectangle 16">
            <a:extLst>
              <a:ext uri="{FF2B5EF4-FFF2-40B4-BE49-F238E27FC236}">
                <a16:creationId xmlns:a16="http://schemas.microsoft.com/office/drawing/2014/main" id="{42F00995-10B9-4A6A-A2A1-D8A31142B41D}"/>
              </a:ext>
            </a:extLst>
          </p:cNvPr>
          <p:cNvSpPr/>
          <p:nvPr userDrawn="1"/>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grpSp>
        <p:nvGrpSpPr>
          <p:cNvPr id="18" name="Group 17">
            <a:extLst>
              <a:ext uri="{FF2B5EF4-FFF2-40B4-BE49-F238E27FC236}">
                <a16:creationId xmlns:a16="http://schemas.microsoft.com/office/drawing/2014/main" id="{E9C9D346-85EB-40B2-8A2B-19DB2A92DB2A}"/>
              </a:ext>
            </a:extLst>
          </p:cNvPr>
          <p:cNvGrpSpPr/>
          <p:nvPr userDrawn="1"/>
        </p:nvGrpSpPr>
        <p:grpSpPr>
          <a:xfrm>
            <a:off x="-1" y="260324"/>
            <a:ext cx="1250388" cy="1575820"/>
            <a:chOff x="-1" y="260324"/>
            <a:chExt cx="1250388" cy="1575820"/>
          </a:xfrm>
          <a:solidFill>
            <a:schemeClr val="accent1"/>
          </a:solidFill>
        </p:grpSpPr>
        <p:grpSp>
          <p:nvGrpSpPr>
            <p:cNvPr id="19" name="Group 18">
              <a:extLst>
                <a:ext uri="{FF2B5EF4-FFF2-40B4-BE49-F238E27FC236}">
                  <a16:creationId xmlns:a16="http://schemas.microsoft.com/office/drawing/2014/main" id="{9EC268BA-C08A-4C38-97B6-E94209031785}"/>
                </a:ext>
              </a:extLst>
            </p:cNvPr>
            <p:cNvGrpSpPr/>
            <p:nvPr/>
          </p:nvGrpSpPr>
          <p:grpSpPr>
            <a:xfrm>
              <a:off x="686264" y="1652391"/>
              <a:ext cx="564123" cy="183753"/>
              <a:chOff x="876236" y="5534957"/>
              <a:chExt cx="1674271" cy="545364"/>
            </a:xfrm>
            <a:grpFill/>
          </p:grpSpPr>
          <p:sp>
            <p:nvSpPr>
              <p:cNvPr id="42" name="Rectangle 41">
                <a:extLst>
                  <a:ext uri="{FF2B5EF4-FFF2-40B4-BE49-F238E27FC236}">
                    <a16:creationId xmlns:a16="http://schemas.microsoft.com/office/drawing/2014/main" id="{AC0A5C8E-81CB-414E-A1C6-77485EDBFC17}"/>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3" name="Oval 42">
                <a:extLst>
                  <a:ext uri="{FF2B5EF4-FFF2-40B4-BE49-F238E27FC236}">
                    <a16:creationId xmlns:a16="http://schemas.microsoft.com/office/drawing/2014/main" id="{0A73BE3A-3964-409D-9E42-4EB69AD5953D}"/>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4" name="Oval 43">
                <a:extLst>
                  <a:ext uri="{FF2B5EF4-FFF2-40B4-BE49-F238E27FC236}">
                    <a16:creationId xmlns:a16="http://schemas.microsoft.com/office/drawing/2014/main" id="{9A92D2EB-3DBC-490E-9DE6-A92EF29FE7E2}"/>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0" name="Group 19">
              <a:extLst>
                <a:ext uri="{FF2B5EF4-FFF2-40B4-BE49-F238E27FC236}">
                  <a16:creationId xmlns:a16="http://schemas.microsoft.com/office/drawing/2014/main" id="{A153A842-B929-48CB-AC66-68DD2D7ED4D2}"/>
                </a:ext>
              </a:extLst>
            </p:cNvPr>
            <p:cNvGrpSpPr/>
            <p:nvPr/>
          </p:nvGrpSpPr>
          <p:grpSpPr>
            <a:xfrm>
              <a:off x="864211" y="1304375"/>
              <a:ext cx="386176" cy="183753"/>
              <a:chOff x="1404367" y="4502072"/>
              <a:chExt cx="1146140" cy="545364"/>
            </a:xfrm>
            <a:grpFill/>
          </p:grpSpPr>
          <p:sp>
            <p:nvSpPr>
              <p:cNvPr id="39" name="Rectangle 38">
                <a:extLst>
                  <a:ext uri="{FF2B5EF4-FFF2-40B4-BE49-F238E27FC236}">
                    <a16:creationId xmlns:a16="http://schemas.microsoft.com/office/drawing/2014/main" id="{A3A6D6D3-9DC7-41F4-AC58-52BDA1658FE3}"/>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0" name="Oval 39">
                <a:extLst>
                  <a:ext uri="{FF2B5EF4-FFF2-40B4-BE49-F238E27FC236}">
                    <a16:creationId xmlns:a16="http://schemas.microsoft.com/office/drawing/2014/main" id="{AC7A9326-EAFC-4BAF-BD47-91FF55716EE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1" name="Oval 40">
                <a:extLst>
                  <a:ext uri="{FF2B5EF4-FFF2-40B4-BE49-F238E27FC236}">
                    <a16:creationId xmlns:a16="http://schemas.microsoft.com/office/drawing/2014/main" id="{66675D94-1BEA-4F59-867F-291905A75405}"/>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1" name="Group 20">
              <a:extLst>
                <a:ext uri="{FF2B5EF4-FFF2-40B4-BE49-F238E27FC236}">
                  <a16:creationId xmlns:a16="http://schemas.microsoft.com/office/drawing/2014/main" id="{1C137B59-F0EB-480E-952E-51A98CA99A32}"/>
                </a:ext>
              </a:extLst>
            </p:cNvPr>
            <p:cNvGrpSpPr/>
            <p:nvPr/>
          </p:nvGrpSpPr>
          <p:grpSpPr>
            <a:xfrm>
              <a:off x="917753" y="956358"/>
              <a:ext cx="332634" cy="183753"/>
              <a:chOff x="1560101" y="3469185"/>
              <a:chExt cx="987231" cy="545364"/>
            </a:xfrm>
            <a:grpFill/>
          </p:grpSpPr>
          <p:sp>
            <p:nvSpPr>
              <p:cNvPr id="36" name="Oval 35">
                <a:extLst>
                  <a:ext uri="{FF2B5EF4-FFF2-40B4-BE49-F238E27FC236}">
                    <a16:creationId xmlns:a16="http://schemas.microsoft.com/office/drawing/2014/main" id="{EDAD1D9C-8748-4EC9-AD40-477548367950}"/>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7" name="Rectangle 36">
                <a:extLst>
                  <a:ext uri="{FF2B5EF4-FFF2-40B4-BE49-F238E27FC236}">
                    <a16:creationId xmlns:a16="http://schemas.microsoft.com/office/drawing/2014/main" id="{FF2B152B-EE67-4339-A086-F1E97AAEF67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8" name="Oval 37">
                <a:extLst>
                  <a:ext uri="{FF2B5EF4-FFF2-40B4-BE49-F238E27FC236}">
                    <a16:creationId xmlns:a16="http://schemas.microsoft.com/office/drawing/2014/main" id="{D80C8650-55C9-4ED2-B40D-671610C2D69F}"/>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2" name="Group 21">
              <a:extLst>
                <a:ext uri="{FF2B5EF4-FFF2-40B4-BE49-F238E27FC236}">
                  <a16:creationId xmlns:a16="http://schemas.microsoft.com/office/drawing/2014/main" id="{5F016A28-1188-4CF9-A204-346551675888}"/>
                </a:ext>
              </a:extLst>
            </p:cNvPr>
            <p:cNvGrpSpPr/>
            <p:nvPr/>
          </p:nvGrpSpPr>
          <p:grpSpPr>
            <a:xfrm>
              <a:off x="868078" y="608341"/>
              <a:ext cx="382309" cy="183753"/>
              <a:chOff x="1415887" y="2436300"/>
              <a:chExt cx="1134663" cy="545364"/>
            </a:xfrm>
            <a:grpFill/>
          </p:grpSpPr>
          <p:sp>
            <p:nvSpPr>
              <p:cNvPr id="33" name="Oval 32">
                <a:extLst>
                  <a:ext uri="{FF2B5EF4-FFF2-40B4-BE49-F238E27FC236}">
                    <a16:creationId xmlns:a16="http://schemas.microsoft.com/office/drawing/2014/main" id="{1F0BBD90-3BB0-4D0C-B89D-7E109C4092D2}"/>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4" name="Oval 33">
                <a:extLst>
                  <a:ext uri="{FF2B5EF4-FFF2-40B4-BE49-F238E27FC236}">
                    <a16:creationId xmlns:a16="http://schemas.microsoft.com/office/drawing/2014/main" id="{3D9233E7-53E5-4B79-82EA-2FE7639DA27D}"/>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5" name="Rectangle 34">
                <a:extLst>
                  <a:ext uri="{FF2B5EF4-FFF2-40B4-BE49-F238E27FC236}">
                    <a16:creationId xmlns:a16="http://schemas.microsoft.com/office/drawing/2014/main" id="{468CFD81-83EF-41DD-B6FB-6828FFB099DC}"/>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3" name="Group 22">
              <a:extLst>
                <a:ext uri="{FF2B5EF4-FFF2-40B4-BE49-F238E27FC236}">
                  <a16:creationId xmlns:a16="http://schemas.microsoft.com/office/drawing/2014/main" id="{F872365B-E981-4D60-893C-E24687F967AA}"/>
                </a:ext>
              </a:extLst>
            </p:cNvPr>
            <p:cNvGrpSpPr/>
            <p:nvPr/>
          </p:nvGrpSpPr>
          <p:grpSpPr>
            <a:xfrm>
              <a:off x="693506" y="260324"/>
              <a:ext cx="556881" cy="183753"/>
              <a:chOff x="898206" y="1403413"/>
              <a:chExt cx="1652778" cy="545364"/>
            </a:xfrm>
            <a:grpFill/>
          </p:grpSpPr>
          <p:sp>
            <p:nvSpPr>
              <p:cNvPr id="29" name="Oval 28">
                <a:extLst>
                  <a:ext uri="{FF2B5EF4-FFF2-40B4-BE49-F238E27FC236}">
                    <a16:creationId xmlns:a16="http://schemas.microsoft.com/office/drawing/2014/main" id="{A4BD07C3-2F57-48F4-B516-D42D36912922}"/>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0" name="Oval 29">
                <a:extLst>
                  <a:ext uri="{FF2B5EF4-FFF2-40B4-BE49-F238E27FC236}">
                    <a16:creationId xmlns:a16="http://schemas.microsoft.com/office/drawing/2014/main" id="{3F796E19-36EC-4E6A-8CAE-97721033032D}"/>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2" name="Rectangle 31">
                <a:extLst>
                  <a:ext uri="{FF2B5EF4-FFF2-40B4-BE49-F238E27FC236}">
                    <a16:creationId xmlns:a16="http://schemas.microsoft.com/office/drawing/2014/main" id="{AE142AC5-EE61-4F8A-9941-60615E682C21}"/>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24" name="Freeform: Shape 23">
              <a:extLst>
                <a:ext uri="{FF2B5EF4-FFF2-40B4-BE49-F238E27FC236}">
                  <a16:creationId xmlns:a16="http://schemas.microsoft.com/office/drawing/2014/main" id="{043EB0B0-5EC9-43DD-A335-A8A5722F2E8C}"/>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5" name="Freeform: Shape 24">
              <a:extLst>
                <a:ext uri="{FF2B5EF4-FFF2-40B4-BE49-F238E27FC236}">
                  <a16:creationId xmlns:a16="http://schemas.microsoft.com/office/drawing/2014/main" id="{0AE73A40-5122-4D00-814E-72F7502483D0}"/>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6" name="Freeform: Shape 25">
              <a:extLst>
                <a:ext uri="{FF2B5EF4-FFF2-40B4-BE49-F238E27FC236}">
                  <a16:creationId xmlns:a16="http://schemas.microsoft.com/office/drawing/2014/main" id="{E178B33C-2AF6-478C-94A2-893456F15E89}"/>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7" name="Freeform: Shape 26">
              <a:extLst>
                <a:ext uri="{FF2B5EF4-FFF2-40B4-BE49-F238E27FC236}">
                  <a16:creationId xmlns:a16="http://schemas.microsoft.com/office/drawing/2014/main" id="{E79D8600-BF22-41AD-AF89-75D968F92C72}"/>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8" name="Freeform: Shape 27">
              <a:extLst>
                <a:ext uri="{FF2B5EF4-FFF2-40B4-BE49-F238E27FC236}">
                  <a16:creationId xmlns:a16="http://schemas.microsoft.com/office/drawing/2014/main" id="{CD59CC96-A48C-4AC4-AE70-D24AB2FB8D16}"/>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45" name="Graphic 44">
            <a:extLst>
              <a:ext uri="{FF2B5EF4-FFF2-40B4-BE49-F238E27FC236}">
                <a16:creationId xmlns:a16="http://schemas.microsoft.com/office/drawing/2014/main" id="{935AE6DF-F5B6-4C49-9F72-CF1C8061190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
        <p:nvSpPr>
          <p:cNvPr id="88" name="Title 1">
            <a:extLst>
              <a:ext uri="{FF2B5EF4-FFF2-40B4-BE49-F238E27FC236}">
                <a16:creationId xmlns:a16="http://schemas.microsoft.com/office/drawing/2014/main" id="{D6B9EAB4-6E88-49E6-A646-370B36253FD6}"/>
              </a:ext>
            </a:extLst>
          </p:cNvPr>
          <p:cNvSpPr>
            <a:spLocks noGrp="1"/>
          </p:cNvSpPr>
          <p:nvPr>
            <p:ph type="title" sz="quarter" idx="14" hasCustomPrompt="1"/>
          </p:nvPr>
        </p:nvSpPr>
        <p:spPr>
          <a:xfrm>
            <a:off x="1973995" y="861658"/>
            <a:ext cx="9163983" cy="557611"/>
          </a:xfrm>
          <a:prstGeom prst="rect">
            <a:avLst/>
          </a:prstGeom>
        </p:spPr>
        <p:txBody>
          <a:bodyPr/>
          <a:lstStyle>
            <a:lvl1pPr>
              <a:defRPr lang="en-US" sz="3200" b="1" kern="1200" dirty="0">
                <a:solidFill>
                  <a:schemeClr val="accent1"/>
                </a:solidFill>
                <a:latin typeface="+mj-lt"/>
                <a:ea typeface="+mj-ea"/>
                <a:cs typeface="+mj-cs"/>
              </a:defRPr>
            </a:lvl1pPr>
          </a:lstStyle>
          <a:p>
            <a:r>
              <a:rPr lang="en-US"/>
              <a:t>Agenda</a:t>
            </a:r>
          </a:p>
        </p:txBody>
      </p:sp>
      <p:grpSp>
        <p:nvGrpSpPr>
          <p:cNvPr id="131" name="SP Agenda Section" hidden="1">
            <a:extLst>
              <a:ext uri="{FF2B5EF4-FFF2-40B4-BE49-F238E27FC236}">
                <a16:creationId xmlns:a16="http://schemas.microsoft.com/office/drawing/2014/main" id="{21AB9CC0-C368-4852-9236-7A04591F0217}"/>
              </a:ext>
            </a:extLst>
          </p:cNvPr>
          <p:cNvGrpSpPr/>
          <p:nvPr userDrawn="1"/>
        </p:nvGrpSpPr>
        <p:grpSpPr>
          <a:xfrm>
            <a:off x="1969708" y="1566337"/>
            <a:ext cx="9687852" cy="369332"/>
            <a:chOff x="1797664" y="2085631"/>
            <a:chExt cx="8657274" cy="369332"/>
          </a:xfrm>
        </p:grpSpPr>
        <p:sp>
          <p:nvSpPr>
            <p:cNvPr id="132" name="Textbox" hidden="1">
              <a:extLst>
                <a:ext uri="{FF2B5EF4-FFF2-40B4-BE49-F238E27FC236}">
                  <a16:creationId xmlns:a16="http://schemas.microsoft.com/office/drawing/2014/main" id="{3AB182DB-D8C0-4F05-B8C9-681A6EC8A82C}"/>
                </a:ext>
              </a:extLst>
            </p:cNvPr>
            <p:cNvSpPr txBox="1">
              <a:spLocks/>
            </p:cNvSpPr>
            <p:nvPr userDrawn="1"/>
          </p:nvSpPr>
          <p:spPr>
            <a:xfrm>
              <a:off x="2267220" y="2085631"/>
              <a:ext cx="3843347" cy="369332"/>
            </a:xfrm>
            <a:prstGeom prst="rect">
              <a:avLst/>
            </a:prstGeom>
            <a:noFill/>
          </p:spPr>
          <p:txBody>
            <a:bodyPr wrap="square" rtlCol="0" anchor="ctr">
              <a:normAutofit/>
            </a:bodyPr>
            <a:lstStyle/>
            <a:p>
              <a:pPr marL="285750" indent="-285750" defTabSz="9334267">
                <a:buClr>
                  <a:schemeClr val="accent1"/>
                </a:buClr>
                <a:buFont typeface="Arial" panose="020B0604020202020204" pitchFamily="34" charset="0"/>
                <a:buChar char="+"/>
                <a:tabLst>
                  <a:tab pos="9512062" algn="l"/>
                </a:tabLst>
              </a:pPr>
              <a:r>
                <a:rPr lang="en-US" sz="1800"/>
                <a:t>&lt;TEXT&gt;</a:t>
              </a:r>
            </a:p>
          </p:txBody>
        </p:sp>
        <p:sp>
          <p:nvSpPr>
            <p:cNvPr id="133" name="Textbox" hidden="1">
              <a:extLst>
                <a:ext uri="{FF2B5EF4-FFF2-40B4-BE49-F238E27FC236}">
                  <a16:creationId xmlns:a16="http://schemas.microsoft.com/office/drawing/2014/main" id="{1F506675-9953-420C-89AA-C48CBADE5AD6}"/>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800"/>
                <a:t>&lt;N&gt;</a:t>
              </a:r>
            </a:p>
          </p:txBody>
        </p:sp>
        <p:sp>
          <p:nvSpPr>
            <p:cNvPr id="134" name="Textbox" hidden="1">
              <a:extLst>
                <a:ext uri="{FF2B5EF4-FFF2-40B4-BE49-F238E27FC236}">
                  <a16:creationId xmlns:a16="http://schemas.microsoft.com/office/drawing/2014/main" id="{D7797BBE-CC80-4DBD-8171-2402556AAA73}"/>
                </a:ext>
              </a:extLst>
            </p:cNvPr>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800"/>
                <a:t>&lt;P&gt;</a:t>
              </a:r>
            </a:p>
          </p:txBody>
        </p:sp>
        <p:sp>
          <p:nvSpPr>
            <p:cNvPr id="135" name="Textbox" hidden="1">
              <a:extLst>
                <a:ext uri="{FF2B5EF4-FFF2-40B4-BE49-F238E27FC236}">
                  <a16:creationId xmlns:a16="http://schemas.microsoft.com/office/drawing/2014/main" id="{C0C0C783-AD38-40F8-99C4-2E90BDEEFE3E}"/>
                </a:ext>
              </a:extLst>
            </p:cNvPr>
            <p:cNvSpPr txBox="1">
              <a:spLocks/>
            </p:cNvSpPr>
            <p:nvPr userDrawn="1"/>
          </p:nvSpPr>
          <p:spPr>
            <a:xfrm>
              <a:off x="6977266" y="2085631"/>
              <a:ext cx="1257061" cy="369332"/>
            </a:xfrm>
            <a:prstGeom prst="rect">
              <a:avLst/>
            </a:prstGeom>
            <a:noFill/>
          </p:spPr>
          <p:txBody>
            <a:bodyPr wrap="none" rtlCol="0" anchor="ctr">
              <a:noAutofit/>
            </a:bodyPr>
            <a:lstStyle/>
            <a:p>
              <a:pPr algn="l"/>
              <a:r>
                <a:rPr lang="en-US" sz="1800"/>
                <a:t>&lt;TIMESLOT&gt;</a:t>
              </a:r>
            </a:p>
          </p:txBody>
        </p:sp>
        <p:sp>
          <p:nvSpPr>
            <p:cNvPr id="136" name="Textbox" hidden="1">
              <a:extLst>
                <a:ext uri="{FF2B5EF4-FFF2-40B4-BE49-F238E27FC236}">
                  <a16:creationId xmlns:a16="http://schemas.microsoft.com/office/drawing/2014/main" id="{272C9E9E-6641-4422-93BE-737BE02E7530}"/>
                </a:ext>
              </a:extLst>
            </p:cNvPr>
            <p:cNvSpPr txBox="1">
              <a:spLocks/>
            </p:cNvSpPr>
            <p:nvPr userDrawn="1"/>
          </p:nvSpPr>
          <p:spPr>
            <a:xfrm>
              <a:off x="5081388" y="2085631"/>
              <a:ext cx="1388067" cy="369332"/>
            </a:xfrm>
            <a:prstGeom prst="rect">
              <a:avLst/>
            </a:prstGeom>
            <a:noFill/>
          </p:spPr>
          <p:txBody>
            <a:bodyPr wrap="none" rtlCol="0" anchor="ctr">
              <a:noAutofit/>
            </a:bodyPr>
            <a:lstStyle/>
            <a:p>
              <a:pPr algn="l"/>
              <a:r>
                <a:rPr lang="en-US" sz="1800"/>
                <a:t>&lt;RESPONSIBLE&gt;</a:t>
              </a:r>
            </a:p>
          </p:txBody>
        </p:sp>
        <p:sp>
          <p:nvSpPr>
            <p:cNvPr id="137" name="Textbox" hidden="1">
              <a:extLst>
                <a:ext uri="{FF2B5EF4-FFF2-40B4-BE49-F238E27FC236}">
                  <a16:creationId xmlns:a16="http://schemas.microsoft.com/office/drawing/2014/main" id="{89D1EE13-FE88-4A51-9BBF-320DFE848785}"/>
                </a:ext>
              </a:extLst>
            </p:cNvPr>
            <p:cNvSpPr txBox="1">
              <a:spLocks/>
            </p:cNvSpPr>
            <p:nvPr userDrawn="1"/>
          </p:nvSpPr>
          <p:spPr>
            <a:xfrm>
              <a:off x="8458115" y="2085631"/>
              <a:ext cx="684723" cy="369332"/>
            </a:xfrm>
            <a:prstGeom prst="rect">
              <a:avLst/>
            </a:prstGeom>
            <a:noFill/>
          </p:spPr>
          <p:txBody>
            <a:bodyPr wrap="none" rtlCol="0" anchor="ctr">
              <a:noAutofit/>
            </a:bodyPr>
            <a:lstStyle/>
            <a:p>
              <a:pPr algn="l"/>
              <a:r>
                <a:rPr lang="en-US" sz="1800"/>
                <a:t>&lt;DURATION&gt;</a:t>
              </a:r>
            </a:p>
          </p:txBody>
        </p:sp>
      </p:grpSp>
      <p:grpSp>
        <p:nvGrpSpPr>
          <p:cNvPr id="138" name="SP Agenda Section Highlight" hidden="1">
            <a:extLst>
              <a:ext uri="{FF2B5EF4-FFF2-40B4-BE49-F238E27FC236}">
                <a16:creationId xmlns:a16="http://schemas.microsoft.com/office/drawing/2014/main" id="{4F5D7C69-1EDC-456E-86E7-4B93FE001C11}"/>
              </a:ext>
            </a:extLst>
          </p:cNvPr>
          <p:cNvGrpSpPr>
            <a:grpSpLocks/>
          </p:cNvGrpSpPr>
          <p:nvPr userDrawn="1"/>
        </p:nvGrpSpPr>
        <p:grpSpPr>
          <a:xfrm>
            <a:off x="1969707" y="2097669"/>
            <a:ext cx="9687851" cy="369332"/>
            <a:chOff x="1797664" y="2616963"/>
            <a:chExt cx="8657274" cy="369332"/>
          </a:xfrm>
          <a:noFill/>
        </p:grpSpPr>
        <p:sp>
          <p:nvSpPr>
            <p:cNvPr id="139" name="Textbox" hidden="1">
              <a:extLst>
                <a:ext uri="{FF2B5EF4-FFF2-40B4-BE49-F238E27FC236}">
                  <a16:creationId xmlns:a16="http://schemas.microsoft.com/office/drawing/2014/main" id="{4F0651FC-CCAE-4CA5-A306-3D32FEDE0008}"/>
                </a:ext>
              </a:extLst>
            </p:cNvPr>
            <p:cNvSpPr txBox="1">
              <a:spLocks/>
            </p:cNvSpPr>
            <p:nvPr userDrawn="1"/>
          </p:nvSpPr>
          <p:spPr>
            <a:xfrm>
              <a:off x="2267220" y="2616963"/>
              <a:ext cx="3843347" cy="369332"/>
            </a:xfrm>
            <a:prstGeom prst="rect">
              <a:avLst/>
            </a:prstGeom>
            <a:grpFill/>
          </p:spPr>
          <p:txBody>
            <a:bodyPr wrap="square" rtlCol="0" anchor="ctr">
              <a:normAutofit/>
            </a:bodyPr>
            <a:lstStyle/>
            <a:p>
              <a:pPr marL="285750" indent="-285750" defTabSz="9334267">
                <a:buClr>
                  <a:schemeClr val="accent1"/>
                </a:buClr>
                <a:buFont typeface="Arial" panose="020B0604020202020204" pitchFamily="34" charset="0"/>
                <a:buChar char="+"/>
                <a:tabLst>
                  <a:tab pos="9512062" algn="l"/>
                </a:tabLst>
              </a:pPr>
              <a:r>
                <a:rPr lang="en-US" sz="1800" b="1"/>
                <a:t>&lt;TEXT&gt;</a:t>
              </a:r>
            </a:p>
          </p:txBody>
        </p:sp>
        <p:sp>
          <p:nvSpPr>
            <p:cNvPr id="140" name="Textbox" hidden="1">
              <a:extLst>
                <a:ext uri="{FF2B5EF4-FFF2-40B4-BE49-F238E27FC236}">
                  <a16:creationId xmlns:a16="http://schemas.microsoft.com/office/drawing/2014/main" id="{2BECDC34-551C-4469-8214-32EF54DCFADD}"/>
                </a:ext>
              </a:extLst>
            </p:cNvPr>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800" b="1"/>
                <a:t>&lt;N&gt;</a:t>
              </a:r>
            </a:p>
          </p:txBody>
        </p:sp>
        <p:sp>
          <p:nvSpPr>
            <p:cNvPr id="141" name="Textbox" hidden="1">
              <a:extLst>
                <a:ext uri="{FF2B5EF4-FFF2-40B4-BE49-F238E27FC236}">
                  <a16:creationId xmlns:a16="http://schemas.microsoft.com/office/drawing/2014/main" id="{5410C8DF-1809-4F92-9F49-4AC74B1A5484}"/>
                </a:ext>
              </a:extLst>
            </p:cNvPr>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800" b="1"/>
                <a:t>&lt;P&gt;</a:t>
              </a:r>
            </a:p>
          </p:txBody>
        </p:sp>
        <p:sp>
          <p:nvSpPr>
            <p:cNvPr id="142" name="Textbox" hidden="1">
              <a:extLst>
                <a:ext uri="{FF2B5EF4-FFF2-40B4-BE49-F238E27FC236}">
                  <a16:creationId xmlns:a16="http://schemas.microsoft.com/office/drawing/2014/main" id="{6431383D-2892-4E73-8488-8D1B40D006E5}"/>
                </a:ext>
              </a:extLst>
            </p:cNvPr>
            <p:cNvSpPr txBox="1">
              <a:spLocks/>
            </p:cNvSpPr>
            <p:nvPr userDrawn="1"/>
          </p:nvSpPr>
          <p:spPr>
            <a:xfrm>
              <a:off x="6976061" y="2616963"/>
              <a:ext cx="1257061" cy="369332"/>
            </a:xfrm>
            <a:prstGeom prst="rect">
              <a:avLst/>
            </a:prstGeom>
            <a:grpFill/>
          </p:spPr>
          <p:txBody>
            <a:bodyPr wrap="none" rtlCol="0" anchor="ctr">
              <a:noAutofit/>
            </a:bodyPr>
            <a:lstStyle/>
            <a:p>
              <a:pPr algn="l"/>
              <a:r>
                <a:rPr lang="en-US" sz="1800" b="1"/>
                <a:t>&lt;TIMESLOT&gt;</a:t>
              </a:r>
            </a:p>
          </p:txBody>
        </p:sp>
        <p:sp>
          <p:nvSpPr>
            <p:cNvPr id="143" name="Textbox" hidden="1">
              <a:extLst>
                <a:ext uri="{FF2B5EF4-FFF2-40B4-BE49-F238E27FC236}">
                  <a16:creationId xmlns:a16="http://schemas.microsoft.com/office/drawing/2014/main" id="{B69DE84F-D505-4E24-9398-1FC53DCE647D}"/>
                </a:ext>
              </a:extLst>
            </p:cNvPr>
            <p:cNvSpPr txBox="1">
              <a:spLocks/>
            </p:cNvSpPr>
            <p:nvPr userDrawn="1"/>
          </p:nvSpPr>
          <p:spPr>
            <a:xfrm>
              <a:off x="5072510" y="2616963"/>
              <a:ext cx="1388067" cy="369332"/>
            </a:xfrm>
            <a:prstGeom prst="rect">
              <a:avLst/>
            </a:prstGeom>
            <a:grpFill/>
          </p:spPr>
          <p:txBody>
            <a:bodyPr wrap="none" rtlCol="0" anchor="ctr">
              <a:noAutofit/>
            </a:bodyPr>
            <a:lstStyle/>
            <a:p>
              <a:pPr algn="l"/>
              <a:r>
                <a:rPr lang="en-US" sz="1800" b="1"/>
                <a:t>&lt;RESPONSIBLE&gt;</a:t>
              </a:r>
            </a:p>
          </p:txBody>
        </p:sp>
        <p:sp>
          <p:nvSpPr>
            <p:cNvPr id="144" name="Textbox" hidden="1">
              <a:extLst>
                <a:ext uri="{FF2B5EF4-FFF2-40B4-BE49-F238E27FC236}">
                  <a16:creationId xmlns:a16="http://schemas.microsoft.com/office/drawing/2014/main" id="{D44178F6-90C8-4BE0-89E1-80FF5554FC4B}"/>
                </a:ext>
              </a:extLst>
            </p:cNvPr>
            <p:cNvSpPr txBox="1">
              <a:spLocks/>
            </p:cNvSpPr>
            <p:nvPr userDrawn="1"/>
          </p:nvSpPr>
          <p:spPr>
            <a:xfrm>
              <a:off x="8468205" y="2616963"/>
              <a:ext cx="684723" cy="369332"/>
            </a:xfrm>
            <a:prstGeom prst="rect">
              <a:avLst/>
            </a:prstGeom>
            <a:grpFill/>
          </p:spPr>
          <p:txBody>
            <a:bodyPr wrap="none" rtlCol="0" anchor="ctr">
              <a:noAutofit/>
            </a:bodyPr>
            <a:lstStyle/>
            <a:p>
              <a:pPr algn="l"/>
              <a:r>
                <a:rPr lang="en-US" sz="1800" b="1"/>
                <a:t>&lt;DURATION&gt;</a:t>
              </a:r>
            </a:p>
          </p:txBody>
        </p:sp>
      </p:grpSp>
      <p:grpSp>
        <p:nvGrpSpPr>
          <p:cNvPr id="145" name="SP Agenda Subsection" hidden="1">
            <a:extLst>
              <a:ext uri="{FF2B5EF4-FFF2-40B4-BE49-F238E27FC236}">
                <a16:creationId xmlns:a16="http://schemas.microsoft.com/office/drawing/2014/main" id="{8C75163C-59E1-444D-9DEA-A211F316EF35}"/>
              </a:ext>
            </a:extLst>
          </p:cNvPr>
          <p:cNvGrpSpPr>
            <a:grpSpLocks/>
          </p:cNvGrpSpPr>
          <p:nvPr userDrawn="1"/>
        </p:nvGrpSpPr>
        <p:grpSpPr>
          <a:xfrm>
            <a:off x="2437849" y="2427296"/>
            <a:ext cx="9163984" cy="369332"/>
            <a:chOff x="2265804" y="3155687"/>
            <a:chExt cx="8189134" cy="369332"/>
          </a:xfrm>
        </p:grpSpPr>
        <p:sp>
          <p:nvSpPr>
            <p:cNvPr id="146" name="Textbox" hidden="1">
              <a:extLst>
                <a:ext uri="{FF2B5EF4-FFF2-40B4-BE49-F238E27FC236}">
                  <a16:creationId xmlns:a16="http://schemas.microsoft.com/office/drawing/2014/main" id="{5435EDBE-4B46-479E-A3EE-8BE2AEAA56A9}"/>
                </a:ext>
              </a:extLst>
            </p:cNvPr>
            <p:cNvSpPr txBox="1">
              <a:spLocks/>
            </p:cNvSpPr>
            <p:nvPr userDrawn="1"/>
          </p:nvSpPr>
          <p:spPr>
            <a:xfrm>
              <a:off x="2744123" y="3155687"/>
              <a:ext cx="3366444" cy="369332"/>
            </a:xfrm>
            <a:prstGeom prst="rect">
              <a:avLst/>
            </a:prstGeom>
            <a:noFill/>
          </p:spPr>
          <p:txBody>
            <a:bodyPr wrap="square" rtlCol="0" anchor="ctr">
              <a:normAutofit/>
            </a:bodyPr>
            <a:lstStyle/>
            <a:p>
              <a:pPr marL="285750" indent="-285750" defTabSz="9334267">
                <a:buClrTx/>
                <a:buFont typeface="Arial" panose="020B0604020202020204" pitchFamily="34" charset="0"/>
                <a:buChar char="•"/>
                <a:tabLst>
                  <a:tab pos="9512062" algn="l"/>
                </a:tabLst>
              </a:pPr>
              <a:r>
                <a:rPr lang="en-US" sz="1600"/>
                <a:t>&lt;TEXT&gt;</a:t>
              </a:r>
            </a:p>
          </p:txBody>
        </p:sp>
        <p:sp>
          <p:nvSpPr>
            <p:cNvPr id="147" name="Textbox" hidden="1">
              <a:extLst>
                <a:ext uri="{FF2B5EF4-FFF2-40B4-BE49-F238E27FC236}">
                  <a16:creationId xmlns:a16="http://schemas.microsoft.com/office/drawing/2014/main" id="{250997A5-3479-4B8B-95FE-94C2315C044F}"/>
                </a:ext>
              </a:extLst>
            </p:cNvPr>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600"/>
                <a:t>&lt;N&gt;</a:t>
              </a:r>
            </a:p>
          </p:txBody>
        </p:sp>
        <p:sp>
          <p:nvSpPr>
            <p:cNvPr id="148" name="Textbox" hidden="1">
              <a:extLst>
                <a:ext uri="{FF2B5EF4-FFF2-40B4-BE49-F238E27FC236}">
                  <a16:creationId xmlns:a16="http://schemas.microsoft.com/office/drawing/2014/main" id="{107FC083-CF43-4321-BD28-41171A6B15B4}"/>
                </a:ext>
              </a:extLst>
            </p:cNvPr>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600"/>
                <a:t>&lt;P&gt;</a:t>
              </a:r>
            </a:p>
          </p:txBody>
        </p:sp>
        <p:sp>
          <p:nvSpPr>
            <p:cNvPr id="149" name="Textbox" hidden="1">
              <a:extLst>
                <a:ext uri="{FF2B5EF4-FFF2-40B4-BE49-F238E27FC236}">
                  <a16:creationId xmlns:a16="http://schemas.microsoft.com/office/drawing/2014/main" id="{231F4168-70DA-47DC-B87F-8463217646EA}"/>
                </a:ext>
              </a:extLst>
            </p:cNvPr>
            <p:cNvSpPr txBox="1">
              <a:spLocks/>
            </p:cNvSpPr>
            <p:nvPr userDrawn="1"/>
          </p:nvSpPr>
          <p:spPr>
            <a:xfrm>
              <a:off x="7026505" y="3155687"/>
              <a:ext cx="1257061" cy="369332"/>
            </a:xfrm>
            <a:prstGeom prst="rect">
              <a:avLst/>
            </a:prstGeom>
            <a:noFill/>
          </p:spPr>
          <p:txBody>
            <a:bodyPr wrap="none" rtlCol="0" anchor="ctr">
              <a:noAutofit/>
            </a:bodyPr>
            <a:lstStyle/>
            <a:p>
              <a:pPr algn="l"/>
              <a:r>
                <a:rPr lang="en-US" sz="1600"/>
                <a:t>&lt;TIMESLOT&gt;</a:t>
              </a:r>
            </a:p>
          </p:txBody>
        </p:sp>
        <p:sp>
          <p:nvSpPr>
            <p:cNvPr id="150" name="Textbox" hidden="1">
              <a:extLst>
                <a:ext uri="{FF2B5EF4-FFF2-40B4-BE49-F238E27FC236}">
                  <a16:creationId xmlns:a16="http://schemas.microsoft.com/office/drawing/2014/main" id="{17FB603F-741C-48A6-8DEA-F7491E96E984}"/>
                </a:ext>
              </a:extLst>
            </p:cNvPr>
            <p:cNvSpPr txBox="1">
              <a:spLocks/>
            </p:cNvSpPr>
            <p:nvPr userDrawn="1"/>
          </p:nvSpPr>
          <p:spPr>
            <a:xfrm>
              <a:off x="5124151" y="3155687"/>
              <a:ext cx="1388067" cy="369332"/>
            </a:xfrm>
            <a:prstGeom prst="rect">
              <a:avLst/>
            </a:prstGeom>
            <a:noFill/>
          </p:spPr>
          <p:txBody>
            <a:bodyPr wrap="none" rtlCol="0" anchor="ctr">
              <a:noAutofit/>
            </a:bodyPr>
            <a:lstStyle/>
            <a:p>
              <a:pPr algn="l"/>
              <a:r>
                <a:rPr lang="en-US" sz="1600"/>
                <a:t>&lt;RESPONSIBLE&gt;</a:t>
              </a:r>
            </a:p>
          </p:txBody>
        </p:sp>
        <p:sp>
          <p:nvSpPr>
            <p:cNvPr id="151" name="Textbox" hidden="1">
              <a:extLst>
                <a:ext uri="{FF2B5EF4-FFF2-40B4-BE49-F238E27FC236}">
                  <a16:creationId xmlns:a16="http://schemas.microsoft.com/office/drawing/2014/main" id="{F731F62F-12E6-4CED-B13E-9E9F2551B2B0}"/>
                </a:ext>
              </a:extLst>
            </p:cNvPr>
            <p:cNvSpPr txBox="1">
              <a:spLocks/>
            </p:cNvSpPr>
            <p:nvPr userDrawn="1"/>
          </p:nvSpPr>
          <p:spPr>
            <a:xfrm>
              <a:off x="8508554" y="3155687"/>
              <a:ext cx="684723" cy="369332"/>
            </a:xfrm>
            <a:prstGeom prst="rect">
              <a:avLst/>
            </a:prstGeom>
            <a:noFill/>
          </p:spPr>
          <p:txBody>
            <a:bodyPr wrap="none" rtlCol="0" anchor="ctr">
              <a:noAutofit/>
            </a:bodyPr>
            <a:lstStyle/>
            <a:p>
              <a:pPr algn="l"/>
              <a:r>
                <a:rPr lang="en-US" sz="1600"/>
                <a:t>&lt;DURATION&gt;</a:t>
              </a:r>
            </a:p>
          </p:txBody>
        </p:sp>
      </p:grpSp>
      <p:grpSp>
        <p:nvGrpSpPr>
          <p:cNvPr id="152" name="SP Agenda Subsection Highlight" hidden="1">
            <a:extLst>
              <a:ext uri="{FF2B5EF4-FFF2-40B4-BE49-F238E27FC236}">
                <a16:creationId xmlns:a16="http://schemas.microsoft.com/office/drawing/2014/main" id="{D7F81F7A-5B11-43C7-967D-8D403A43E417}"/>
              </a:ext>
            </a:extLst>
          </p:cNvPr>
          <p:cNvGrpSpPr>
            <a:grpSpLocks/>
          </p:cNvGrpSpPr>
          <p:nvPr userDrawn="1"/>
        </p:nvGrpSpPr>
        <p:grpSpPr>
          <a:xfrm>
            <a:off x="2437847" y="2783817"/>
            <a:ext cx="9163983" cy="369332"/>
            <a:chOff x="2265804" y="3694411"/>
            <a:chExt cx="8189134" cy="369332"/>
          </a:xfrm>
          <a:noFill/>
        </p:grpSpPr>
        <p:sp>
          <p:nvSpPr>
            <p:cNvPr id="153" name="Textbox" hidden="1">
              <a:extLst>
                <a:ext uri="{FF2B5EF4-FFF2-40B4-BE49-F238E27FC236}">
                  <a16:creationId xmlns:a16="http://schemas.microsoft.com/office/drawing/2014/main" id="{BF297698-0EFA-4C5B-B190-460E5A56A5DF}"/>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marL="285750" indent="-285750" defTabSz="9334267">
                <a:buClrTx/>
                <a:buFont typeface="Arial" panose="020B0604020202020204" pitchFamily="34" charset="0"/>
                <a:buChar char="•"/>
                <a:tabLst>
                  <a:tab pos="9512062" algn="l"/>
                </a:tabLst>
              </a:pPr>
              <a:r>
                <a:rPr lang="en-US" sz="1600" b="1"/>
                <a:t>&lt;TEXT&gt;</a:t>
              </a:r>
            </a:p>
          </p:txBody>
        </p:sp>
        <p:sp>
          <p:nvSpPr>
            <p:cNvPr id="154" name="Textbox" hidden="1">
              <a:extLst>
                <a:ext uri="{FF2B5EF4-FFF2-40B4-BE49-F238E27FC236}">
                  <a16:creationId xmlns:a16="http://schemas.microsoft.com/office/drawing/2014/main" id="{7E145D72-54FC-4BAA-8426-B9D43E99C8E6}"/>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600" b="1"/>
                <a:t>&lt;N&gt;</a:t>
              </a:r>
            </a:p>
          </p:txBody>
        </p:sp>
        <p:sp>
          <p:nvSpPr>
            <p:cNvPr id="155" name="Textbox" hidden="1">
              <a:extLst>
                <a:ext uri="{FF2B5EF4-FFF2-40B4-BE49-F238E27FC236}">
                  <a16:creationId xmlns:a16="http://schemas.microsoft.com/office/drawing/2014/main" id="{905200E7-7D6E-4141-93B5-341DFE3E1A24}"/>
                </a:ext>
              </a:extLst>
            </p:cNvPr>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600" b="1"/>
                <a:t>&lt;P&gt;</a:t>
              </a:r>
            </a:p>
          </p:txBody>
        </p:sp>
        <p:sp>
          <p:nvSpPr>
            <p:cNvPr id="156" name="Textbox" hidden="1">
              <a:extLst>
                <a:ext uri="{FF2B5EF4-FFF2-40B4-BE49-F238E27FC236}">
                  <a16:creationId xmlns:a16="http://schemas.microsoft.com/office/drawing/2014/main" id="{88E53779-D335-4E6B-B08E-61D09E0B4163}"/>
                </a:ext>
              </a:extLst>
            </p:cNvPr>
            <p:cNvSpPr txBox="1">
              <a:spLocks/>
            </p:cNvSpPr>
            <p:nvPr userDrawn="1"/>
          </p:nvSpPr>
          <p:spPr>
            <a:xfrm>
              <a:off x="7026504" y="3694411"/>
              <a:ext cx="1257061" cy="369332"/>
            </a:xfrm>
            <a:prstGeom prst="rect">
              <a:avLst/>
            </a:prstGeom>
            <a:grpFill/>
          </p:spPr>
          <p:txBody>
            <a:bodyPr wrap="none" rtlCol="0" anchor="ctr">
              <a:noAutofit/>
            </a:bodyPr>
            <a:lstStyle/>
            <a:p>
              <a:pPr algn="l"/>
              <a:r>
                <a:rPr lang="en-US" sz="1600" b="1"/>
                <a:t>&lt;TIMESLOT&gt;</a:t>
              </a:r>
            </a:p>
          </p:txBody>
        </p:sp>
        <p:sp>
          <p:nvSpPr>
            <p:cNvPr id="157" name="Textbox" hidden="1">
              <a:extLst>
                <a:ext uri="{FF2B5EF4-FFF2-40B4-BE49-F238E27FC236}">
                  <a16:creationId xmlns:a16="http://schemas.microsoft.com/office/drawing/2014/main" id="{5658D305-2858-403B-AE34-055F6D3B3D0C}"/>
                </a:ext>
              </a:extLst>
            </p:cNvPr>
            <p:cNvSpPr txBox="1">
              <a:spLocks/>
            </p:cNvSpPr>
            <p:nvPr userDrawn="1"/>
          </p:nvSpPr>
          <p:spPr>
            <a:xfrm>
              <a:off x="5134235" y="3694411"/>
              <a:ext cx="1388067" cy="369332"/>
            </a:xfrm>
            <a:prstGeom prst="rect">
              <a:avLst/>
            </a:prstGeom>
            <a:grpFill/>
          </p:spPr>
          <p:txBody>
            <a:bodyPr wrap="none" rtlCol="0" anchor="ctr">
              <a:noAutofit/>
            </a:bodyPr>
            <a:lstStyle/>
            <a:p>
              <a:pPr algn="l"/>
              <a:r>
                <a:rPr lang="en-US" sz="1600" b="1"/>
                <a:t>&lt;RESPONSIBLE&gt;</a:t>
              </a:r>
            </a:p>
          </p:txBody>
        </p:sp>
        <p:sp>
          <p:nvSpPr>
            <p:cNvPr id="158" name="Textbox" hidden="1">
              <a:extLst>
                <a:ext uri="{FF2B5EF4-FFF2-40B4-BE49-F238E27FC236}">
                  <a16:creationId xmlns:a16="http://schemas.microsoft.com/office/drawing/2014/main" id="{BB8F9753-FA9F-470A-922A-19B7C7E8EDFF}"/>
                </a:ext>
              </a:extLst>
            </p:cNvPr>
            <p:cNvSpPr txBox="1">
              <a:spLocks/>
            </p:cNvSpPr>
            <p:nvPr userDrawn="1"/>
          </p:nvSpPr>
          <p:spPr>
            <a:xfrm>
              <a:off x="8508551" y="3694411"/>
              <a:ext cx="684723" cy="369332"/>
            </a:xfrm>
            <a:prstGeom prst="rect">
              <a:avLst/>
            </a:prstGeom>
            <a:grpFill/>
          </p:spPr>
          <p:txBody>
            <a:bodyPr wrap="none" rtlCol="0" anchor="ctr">
              <a:noAutofit/>
            </a:bodyPr>
            <a:lstStyle/>
            <a:p>
              <a:pPr algn="l"/>
              <a:r>
                <a:rPr lang="en-US" sz="1600" b="1"/>
                <a:t>&lt;DURATION&gt;</a:t>
              </a:r>
            </a:p>
          </p:txBody>
        </p:sp>
      </p:grpSp>
    </p:spTree>
    <p:extLst>
      <p:ext uri="{BB962C8B-B14F-4D97-AF65-F5344CB8AC3E}">
        <p14:creationId xmlns:p14="http://schemas.microsoft.com/office/powerpoint/2010/main" val="204349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Divid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43959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Top Corners Rounded 5">
            <a:extLst>
              <a:ext uri="{FF2B5EF4-FFF2-40B4-BE49-F238E27FC236}">
                <a16:creationId xmlns:a16="http://schemas.microsoft.com/office/drawing/2014/main" id="{06A038E8-64AE-8880-6663-5B5585D30CCB}"/>
              </a:ext>
            </a:extLst>
          </p:cNvPr>
          <p:cNvSpPr/>
          <p:nvPr userDrawn="1"/>
        </p:nvSpPr>
        <p:spPr>
          <a:xfrm rot="5400000">
            <a:off x="2133600" y="-1543050"/>
            <a:ext cx="5676900" cy="9944100"/>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Freeform: Shape 9">
            <a:extLst>
              <a:ext uri="{FF2B5EF4-FFF2-40B4-BE49-F238E27FC236}">
                <a16:creationId xmlns:a16="http://schemas.microsoft.com/office/drawing/2014/main" id="{330374AA-A7E2-AECE-1458-73409259AA40}"/>
              </a:ext>
            </a:extLst>
          </p:cNvPr>
          <p:cNvSpPr/>
          <p:nvPr userDrawn="1"/>
        </p:nvSpPr>
        <p:spPr>
          <a:xfrm>
            <a:off x="2" y="589788"/>
            <a:ext cx="2853043" cy="5678424"/>
          </a:xfrm>
          <a:custGeom>
            <a:avLst/>
            <a:gdLst>
              <a:gd name="connsiteX0" fmla="*/ 0 w 2853043"/>
              <a:gd name="connsiteY0" fmla="*/ 0 h 5678424"/>
              <a:gd name="connsiteX1" fmla="*/ 13830 w 2853043"/>
              <a:gd name="connsiteY1" fmla="*/ 0 h 5678424"/>
              <a:gd name="connsiteX2" fmla="*/ 2853043 w 2853043"/>
              <a:gd name="connsiteY2" fmla="*/ 2839212 h 5678424"/>
              <a:gd name="connsiteX3" fmla="*/ 2853042 w 2853043"/>
              <a:gd name="connsiteY3" fmla="*/ 2839212 h 5678424"/>
              <a:gd name="connsiteX4" fmla="*/ 13829 w 2853043"/>
              <a:gd name="connsiteY4" fmla="*/ 5678424 h 5678424"/>
              <a:gd name="connsiteX5" fmla="*/ 0 w 2853043"/>
              <a:gd name="connsiteY5" fmla="*/ 5678424 h 567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3043" h="5678424">
                <a:moveTo>
                  <a:pt x="0" y="0"/>
                </a:moveTo>
                <a:lnTo>
                  <a:pt x="13830" y="0"/>
                </a:lnTo>
                <a:cubicBezTo>
                  <a:pt x="1581884" y="0"/>
                  <a:pt x="2853043" y="1271159"/>
                  <a:pt x="2853043" y="2839212"/>
                </a:cubicBezTo>
                <a:lnTo>
                  <a:pt x="2853042" y="2839212"/>
                </a:lnTo>
                <a:cubicBezTo>
                  <a:pt x="2853042" y="4407266"/>
                  <a:pt x="1581883" y="5678424"/>
                  <a:pt x="13829" y="5678424"/>
                </a:cubicBezTo>
                <a:lnTo>
                  <a:pt x="0" y="5678424"/>
                </a:lnTo>
                <a:close/>
              </a:path>
            </a:pathLst>
          </a:custGeom>
          <a:gradFill flip="none" rotWithShape="1">
            <a:gsLst>
              <a:gs pos="0">
                <a:srgbClr val="3E747E"/>
              </a:gs>
              <a:gs pos="98000">
                <a:srgbClr val="6CE5C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5" name="Graphic 4">
            <a:extLst>
              <a:ext uri="{FF2B5EF4-FFF2-40B4-BE49-F238E27FC236}">
                <a16:creationId xmlns:a16="http://schemas.microsoft.com/office/drawing/2014/main" id="{581C33A8-1F18-8162-5652-8392E5AF9164}"/>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9360095" y="5843933"/>
            <a:ext cx="2212298" cy="399963"/>
          </a:xfrm>
          <a:prstGeom prst="rect">
            <a:avLst/>
          </a:prstGeom>
        </p:spPr>
      </p:pic>
      <p:sp>
        <p:nvSpPr>
          <p:cNvPr id="14" name="Title 1">
            <a:extLst>
              <a:ext uri="{FF2B5EF4-FFF2-40B4-BE49-F238E27FC236}">
                <a16:creationId xmlns:a16="http://schemas.microsoft.com/office/drawing/2014/main" id="{4411A8A4-6024-50CD-FEB3-D5754242D804}"/>
              </a:ext>
            </a:extLst>
          </p:cNvPr>
          <p:cNvSpPr>
            <a:spLocks noGrp="1"/>
          </p:cNvSpPr>
          <p:nvPr>
            <p:ph type="title" hasCustomPrompt="1"/>
          </p:nvPr>
        </p:nvSpPr>
        <p:spPr bwMode="white">
          <a:xfrm>
            <a:off x="3354269" y="2400302"/>
            <a:ext cx="5446831" cy="2057398"/>
          </a:xfrm>
          <a:prstGeom prst="rect">
            <a:avLst/>
          </a:prstGeom>
        </p:spPr>
        <p:txBody>
          <a:bodyPr vert="horz" anchor="t" anchorCtr="0"/>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Tree>
    <p:extLst>
      <p:ext uri="{BB962C8B-B14F-4D97-AF65-F5344CB8AC3E}">
        <p14:creationId xmlns:p14="http://schemas.microsoft.com/office/powerpoint/2010/main" val="398082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026-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82581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2F88DAF-07DE-80FF-028B-5A5FF467DA01}"/>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8E4AD-69DF-58FE-0B96-906A5A61D577}"/>
              </a:ext>
            </a:extLst>
          </p:cNvPr>
          <p:cNvSpPr/>
          <p:nvPr userDrawn="1"/>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solidFill>
            <a:schemeClr val="bg1"/>
          </a:solidFill>
          <a:ln w="12700" cap="flat" cmpd="sng" algn="ctr">
            <a:noFill/>
            <a:prstDash val="solid"/>
            <a:miter lim="800000"/>
          </a:ln>
          <a:effectLst/>
        </p:spPr>
        <p:txBody>
          <a:bodyPr wrap="square" rtlCol="0" anchor="t" anchorCtr="0">
            <a:noAutofit/>
          </a:bodyPr>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a:t>
            </a:r>
            <a:br>
              <a:rPr lang="en-US" sz="800">
                <a:solidFill>
                  <a:schemeClr val="bg1">
                    <a:lumMod val="50000"/>
                  </a:schemeClr>
                </a:solidFill>
                <a:latin typeface="+mj-lt"/>
                <a:ea typeface="Arial" charset="0"/>
                <a:cs typeface="Arial" charset="0"/>
              </a:rPr>
            </a:br>
            <a:r>
              <a:rPr lang="en-US" sz="800">
                <a:solidFill>
                  <a:schemeClr val="bg1">
                    <a:lumMod val="50000"/>
                  </a:schemeClr>
                </a:solidFill>
                <a:latin typeface="+mj-lt"/>
                <a:ea typeface="Arial" charset="0"/>
                <a:cs typeface="Arial" charset="0"/>
              </a:rPr>
              <a:t>the United States, the European Union, and various other countries. </a:t>
            </a:r>
          </a:p>
        </p:txBody>
      </p:sp>
      <p:sp>
        <p:nvSpPr>
          <p:cNvPr id="38" name="Picture Placeholder 37">
            <a:extLst>
              <a:ext uri="{FF2B5EF4-FFF2-40B4-BE49-F238E27FC236}">
                <a16:creationId xmlns:a16="http://schemas.microsoft.com/office/drawing/2014/main" id="{1B0524C2-AB74-83EE-C93A-A95B62225BD0}"/>
              </a:ext>
            </a:extLst>
          </p:cNvPr>
          <p:cNvSpPr>
            <a:spLocks noGrp="1"/>
          </p:cNvSpPr>
          <p:nvPr>
            <p:ph type="pic" sz="quarter" idx="14" hasCustomPrompt="1"/>
          </p:nvPr>
        </p:nvSpPr>
        <p:spPr>
          <a:xfrm>
            <a:off x="3267412" y="0"/>
            <a:ext cx="6434847" cy="6858000"/>
          </a:xfrm>
          <a:custGeom>
            <a:avLst/>
            <a:gdLst>
              <a:gd name="connsiteX0" fmla="*/ 0 w 6434847"/>
              <a:gd name="connsiteY0" fmla="*/ 0 h 6858000"/>
              <a:gd name="connsiteX1" fmla="*/ 3005847 w 6434847"/>
              <a:gd name="connsiteY1" fmla="*/ 0 h 6858000"/>
              <a:gd name="connsiteX2" fmla="*/ 6434847 w 6434847"/>
              <a:gd name="connsiteY2" fmla="*/ 3429000 h 6858000"/>
              <a:gd name="connsiteX3" fmla="*/ 3005847 w 6434847"/>
              <a:gd name="connsiteY3" fmla="*/ 6858000 h 6858000"/>
              <a:gd name="connsiteX4" fmla="*/ 0 w 6434847"/>
              <a:gd name="connsiteY4" fmla="*/ 6858000 h 6858000"/>
              <a:gd name="connsiteX5" fmla="*/ 3429000 w 6434847"/>
              <a:gd name="connsiteY5" fmla="*/ 3429000 h 6858000"/>
              <a:gd name="connsiteX6" fmla="*/ 0 w 643484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4847" h="6858000">
                <a:moveTo>
                  <a:pt x="0" y="0"/>
                </a:moveTo>
                <a:lnTo>
                  <a:pt x="3005847" y="0"/>
                </a:lnTo>
                <a:cubicBezTo>
                  <a:pt x="4899631" y="0"/>
                  <a:pt x="6434847" y="1535216"/>
                  <a:pt x="6434847" y="3429000"/>
                </a:cubicBezTo>
                <a:cubicBezTo>
                  <a:pt x="6434847" y="5322784"/>
                  <a:pt x="4899631" y="6858000"/>
                  <a:pt x="3005847" y="6858000"/>
                </a:cubicBez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749040" anchor="ctr">
            <a:noAutofit/>
          </a:bodyPr>
          <a:lstStyle>
            <a:lvl1pPr marL="0" indent="0" algn="r">
              <a:buNone/>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9" name="Text Placeholder 13">
            <a:extLst>
              <a:ext uri="{FF2B5EF4-FFF2-40B4-BE49-F238E27FC236}">
                <a16:creationId xmlns:a16="http://schemas.microsoft.com/office/drawing/2014/main" id="{EC55EDFF-03EC-F7FE-A5CE-E9171F0FDEE1}"/>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399806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2026-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04067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Freeform: Shape 42">
            <a:extLst>
              <a:ext uri="{FF2B5EF4-FFF2-40B4-BE49-F238E27FC236}">
                <a16:creationId xmlns:a16="http://schemas.microsoft.com/office/drawing/2014/main" id="{C8F8E4AD-69DF-58FE-0B96-906A5A61D577}"/>
              </a:ext>
            </a:extLst>
          </p:cNvPr>
          <p:cNvSpPr/>
          <p:nvPr userDrawn="1"/>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gradFill>
            <a:gsLst>
              <a:gs pos="15000">
                <a:srgbClr val="140B42"/>
              </a:gs>
              <a:gs pos="80000">
                <a:srgbClr val="005587"/>
              </a:gs>
            </a:gsLst>
            <a:lin ang="2700000" scaled="0"/>
          </a:gradFill>
          <a:ln w="12700" cap="flat" cmpd="sng" algn="ctr">
            <a:noFill/>
            <a:prstDash val="solid"/>
            <a:miter lim="800000"/>
          </a:ln>
          <a:effectLst/>
        </p:spPr>
        <p:txBody>
          <a:bodyPr wrap="square" rtlCol="0" anchor="t" anchorCtr="0">
            <a:noAutofit/>
          </a:bodyPr>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0042"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a:t>
            </a:r>
            <a:br>
              <a:rPr lang="en-US" sz="800">
                <a:solidFill>
                  <a:srgbClr val="7FD1EF"/>
                </a:solidFill>
                <a:latin typeface="+mj-lt"/>
                <a:ea typeface="Arial" charset="0"/>
                <a:cs typeface="Arial" charset="0"/>
              </a:rPr>
            </a:br>
            <a:r>
              <a:rPr lang="en-US" sz="800">
                <a:solidFill>
                  <a:srgbClr val="7FD1EF"/>
                </a:solidFill>
                <a:latin typeface="+mj-lt"/>
                <a:ea typeface="Arial" charset="0"/>
                <a:cs typeface="Arial" charset="0"/>
              </a:rPr>
              <a:t>the United States, the European Union, and various other countries. </a:t>
            </a:r>
          </a:p>
        </p:txBody>
      </p:sp>
      <p:sp>
        <p:nvSpPr>
          <p:cNvPr id="29" name="Picture Placeholder 28">
            <a:extLst>
              <a:ext uri="{FF2B5EF4-FFF2-40B4-BE49-F238E27FC236}">
                <a16:creationId xmlns:a16="http://schemas.microsoft.com/office/drawing/2014/main" id="{ABDF996A-067F-C41E-7B0E-6CA1AB5BF3DB}"/>
              </a:ext>
            </a:extLst>
          </p:cNvPr>
          <p:cNvSpPr>
            <a:spLocks noGrp="1"/>
          </p:cNvSpPr>
          <p:nvPr>
            <p:ph type="pic" sz="quarter" idx="16" hasCustomPrompt="1"/>
          </p:nvPr>
        </p:nvSpPr>
        <p:spPr>
          <a:xfrm>
            <a:off x="3165812" y="0"/>
            <a:ext cx="9026188" cy="6858000"/>
          </a:xfrm>
          <a:custGeom>
            <a:avLst/>
            <a:gdLst>
              <a:gd name="connsiteX0" fmla="*/ 0 w 9026188"/>
              <a:gd name="connsiteY0" fmla="*/ 0 h 6858000"/>
              <a:gd name="connsiteX1" fmla="*/ 9026188 w 9026188"/>
              <a:gd name="connsiteY1" fmla="*/ 0 h 6858000"/>
              <a:gd name="connsiteX2" fmla="*/ 9026188 w 9026188"/>
              <a:gd name="connsiteY2" fmla="*/ 6858000 h 6858000"/>
              <a:gd name="connsiteX3" fmla="*/ 0 w 9026188"/>
              <a:gd name="connsiteY3" fmla="*/ 6858000 h 6858000"/>
              <a:gd name="connsiteX4" fmla="*/ 3429000 w 9026188"/>
              <a:gd name="connsiteY4" fmla="*/ 3429000 h 6858000"/>
              <a:gd name="connsiteX5" fmla="*/ 0 w 902618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188" h="6858000">
                <a:moveTo>
                  <a:pt x="0" y="0"/>
                </a:moveTo>
                <a:lnTo>
                  <a:pt x="9026188" y="0"/>
                </a:lnTo>
                <a:lnTo>
                  <a:pt x="9026188" y="6858000"/>
                </a:ln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14" name="Text Placeholder 13">
            <a:extLst>
              <a:ext uri="{FF2B5EF4-FFF2-40B4-BE49-F238E27FC236}">
                <a16:creationId xmlns:a16="http://schemas.microsoft.com/office/drawing/2014/main" id="{C88A32BA-45AE-C130-28F4-09992A9871F3}"/>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411633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2026-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82581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2F88DAF-07DE-80FF-028B-5A5FF467DA01}"/>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8E4AD-69DF-58FE-0B96-906A5A61D577}"/>
              </a:ext>
            </a:extLst>
          </p:cNvPr>
          <p:cNvSpPr/>
          <p:nvPr userDrawn="1"/>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solidFill>
            <a:schemeClr val="bg1"/>
          </a:solidFill>
          <a:ln w="12700" cap="flat" cmpd="sng" algn="ctr">
            <a:noFill/>
            <a:prstDash val="solid"/>
            <a:miter lim="800000"/>
          </a:ln>
          <a:effectLst/>
        </p:spPr>
        <p:txBody>
          <a:bodyPr wrap="square" rtlCol="0" anchor="t" anchorCtr="0">
            <a:noAutofit/>
          </a:bodyPr>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a:t>
            </a:r>
            <a:br>
              <a:rPr lang="en-US" sz="800">
                <a:solidFill>
                  <a:schemeClr val="bg1">
                    <a:lumMod val="50000"/>
                  </a:schemeClr>
                </a:solidFill>
                <a:latin typeface="+mj-lt"/>
                <a:ea typeface="Arial" charset="0"/>
                <a:cs typeface="Arial" charset="0"/>
              </a:rPr>
            </a:br>
            <a:r>
              <a:rPr lang="en-US" sz="800">
                <a:solidFill>
                  <a:schemeClr val="bg1">
                    <a:lumMod val="50000"/>
                  </a:schemeClr>
                </a:solidFill>
                <a:latin typeface="+mj-lt"/>
                <a:ea typeface="Arial" charset="0"/>
                <a:cs typeface="Arial" charset="0"/>
              </a:rPr>
              <a:t>the United States, the European Union, and various other countries. </a:t>
            </a:r>
          </a:p>
        </p:txBody>
      </p:sp>
      <p:sp>
        <p:nvSpPr>
          <p:cNvPr id="38" name="Picture Placeholder 37">
            <a:extLst>
              <a:ext uri="{FF2B5EF4-FFF2-40B4-BE49-F238E27FC236}">
                <a16:creationId xmlns:a16="http://schemas.microsoft.com/office/drawing/2014/main" id="{1B0524C2-AB74-83EE-C93A-A95B62225BD0}"/>
              </a:ext>
            </a:extLst>
          </p:cNvPr>
          <p:cNvSpPr>
            <a:spLocks noGrp="1"/>
          </p:cNvSpPr>
          <p:nvPr>
            <p:ph type="pic" sz="quarter" idx="14" hasCustomPrompt="1"/>
          </p:nvPr>
        </p:nvSpPr>
        <p:spPr>
          <a:xfrm>
            <a:off x="3267412" y="0"/>
            <a:ext cx="6434847" cy="6858000"/>
          </a:xfrm>
          <a:custGeom>
            <a:avLst/>
            <a:gdLst>
              <a:gd name="connsiteX0" fmla="*/ 0 w 6434847"/>
              <a:gd name="connsiteY0" fmla="*/ 0 h 6858000"/>
              <a:gd name="connsiteX1" fmla="*/ 3005847 w 6434847"/>
              <a:gd name="connsiteY1" fmla="*/ 0 h 6858000"/>
              <a:gd name="connsiteX2" fmla="*/ 6434847 w 6434847"/>
              <a:gd name="connsiteY2" fmla="*/ 3429000 h 6858000"/>
              <a:gd name="connsiteX3" fmla="*/ 3005847 w 6434847"/>
              <a:gd name="connsiteY3" fmla="*/ 6858000 h 6858000"/>
              <a:gd name="connsiteX4" fmla="*/ 0 w 6434847"/>
              <a:gd name="connsiteY4" fmla="*/ 6858000 h 6858000"/>
              <a:gd name="connsiteX5" fmla="*/ 3429000 w 6434847"/>
              <a:gd name="connsiteY5" fmla="*/ 3429000 h 6858000"/>
              <a:gd name="connsiteX6" fmla="*/ 0 w 643484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4847" h="6858000">
                <a:moveTo>
                  <a:pt x="0" y="0"/>
                </a:moveTo>
                <a:lnTo>
                  <a:pt x="3005847" y="0"/>
                </a:lnTo>
                <a:cubicBezTo>
                  <a:pt x="4899631" y="0"/>
                  <a:pt x="6434847" y="1535216"/>
                  <a:pt x="6434847" y="3429000"/>
                </a:cubicBezTo>
                <a:cubicBezTo>
                  <a:pt x="6434847" y="5322784"/>
                  <a:pt x="4899631" y="6858000"/>
                  <a:pt x="3005847" y="6858000"/>
                </a:cubicBez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749040" anchor="ctr">
            <a:noAutofit/>
          </a:bodyPr>
          <a:lstStyle>
            <a:lvl1pPr marL="0" indent="0" algn="r">
              <a:buNone/>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9" name="Text Placeholder 13">
            <a:extLst>
              <a:ext uri="{FF2B5EF4-FFF2-40B4-BE49-F238E27FC236}">
                <a16:creationId xmlns:a16="http://schemas.microsoft.com/office/drawing/2014/main" id="{EC55EDFF-03EC-F7FE-A5CE-E9171F0FDEE1}"/>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3951144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2026-03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643414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19149D81-FD4B-DC76-CAF0-EE426536CA3B}"/>
              </a:ext>
            </a:extLst>
          </p:cNvPr>
          <p:cNvSpPr>
            <a:spLocks noGrp="1"/>
          </p:cNvSpPr>
          <p:nvPr>
            <p:ph type="pic" sz="quarter" idx="16" hasCustomPrompt="1"/>
          </p:nvPr>
        </p:nvSpPr>
        <p:spPr>
          <a:xfrm>
            <a:off x="7198473" y="2"/>
            <a:ext cx="4993529" cy="6857999"/>
          </a:xfrm>
          <a:custGeom>
            <a:avLst/>
            <a:gdLst>
              <a:gd name="connsiteX0" fmla="*/ 1703159 w 4993529"/>
              <a:gd name="connsiteY0" fmla="*/ 0 h 6857999"/>
              <a:gd name="connsiteX1" fmla="*/ 4993529 w 4993529"/>
              <a:gd name="connsiteY1" fmla="*/ 0 h 6857999"/>
              <a:gd name="connsiteX2" fmla="*/ 4993529 w 4993529"/>
              <a:gd name="connsiteY2" fmla="*/ 6857999 h 6857999"/>
              <a:gd name="connsiteX3" fmla="*/ 1703166 w 4993529"/>
              <a:gd name="connsiteY3" fmla="*/ 6857999 h 6857999"/>
              <a:gd name="connsiteX4" fmla="*/ 1566432 w 4993529"/>
              <a:gd name="connsiteY4" fmla="*/ 6750547 h 6857999"/>
              <a:gd name="connsiteX5" fmla="*/ 0 w 4993529"/>
              <a:gd name="connsiteY5" fmla="*/ 3428996 h 6857999"/>
              <a:gd name="connsiteX6" fmla="*/ 1566433 w 4993529"/>
              <a:gd name="connsiteY6" fmla="*/ 10744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3529" h="6857999">
                <a:moveTo>
                  <a:pt x="1703159" y="0"/>
                </a:moveTo>
                <a:lnTo>
                  <a:pt x="4993529" y="0"/>
                </a:lnTo>
                <a:lnTo>
                  <a:pt x="4993529" y="6857999"/>
                </a:lnTo>
                <a:lnTo>
                  <a:pt x="1703166" y="6857999"/>
                </a:lnTo>
                <a:lnTo>
                  <a:pt x="1566432" y="6750547"/>
                </a:lnTo>
                <a:cubicBezTo>
                  <a:pt x="609773" y="5961041"/>
                  <a:pt x="0" y="4766229"/>
                  <a:pt x="0" y="3428996"/>
                </a:cubicBezTo>
                <a:cubicBezTo>
                  <a:pt x="1" y="2091763"/>
                  <a:pt x="609775" y="896951"/>
                  <a:pt x="1566433" y="107445"/>
                </a:cubicBezTo>
                <a:close/>
              </a:path>
            </a:pathLst>
          </a:custGeom>
          <a:blipFill>
            <a:blip r:embed="rId5"/>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8" y="3669831"/>
            <a:ext cx="5578912" cy="954942"/>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46909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1383229" y="83754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62" name="Graphic 61">
            <a:extLst>
              <a:ext uri="{FF2B5EF4-FFF2-40B4-BE49-F238E27FC236}">
                <a16:creationId xmlns:a16="http://schemas.microsoft.com/office/drawing/2014/main" id="{734FFF4D-C595-1C02-3284-439FA4259BB6}"/>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17" name="TextBox 16">
            <a:extLst>
              <a:ext uri="{FF2B5EF4-FFF2-40B4-BE49-F238E27FC236}">
                <a16:creationId xmlns:a16="http://schemas.microsoft.com/office/drawing/2014/main" id="{05D16DF4-1248-421F-6EC8-178149D3D334}"/>
              </a:ext>
            </a:extLst>
          </p:cNvPr>
          <p:cNvSpPr txBox="1"/>
          <p:nvPr userDrawn="1"/>
        </p:nvSpPr>
        <p:spPr bwMode="black">
          <a:xfrm>
            <a:off x="5602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18" name="Rectangle: Top Corners Rounded 17">
            <a:extLst>
              <a:ext uri="{FF2B5EF4-FFF2-40B4-BE49-F238E27FC236}">
                <a16:creationId xmlns:a16="http://schemas.microsoft.com/office/drawing/2014/main" id="{0A5D0DDA-43DE-B7ED-926F-B2A9412B7D7B}"/>
              </a:ext>
            </a:extLst>
          </p:cNvPr>
          <p:cNvSpPr/>
          <p:nvPr userDrawn="1"/>
        </p:nvSpPr>
        <p:spPr>
          <a:xfrm rot="5400000">
            <a:off x="361950" y="349250"/>
            <a:ext cx="551180" cy="127508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Text Placeholder 13">
            <a:extLst>
              <a:ext uri="{FF2B5EF4-FFF2-40B4-BE49-F238E27FC236}">
                <a16:creationId xmlns:a16="http://schemas.microsoft.com/office/drawing/2014/main" id="{840BC821-F126-C42A-9321-67F78D8191C2}"/>
              </a:ext>
            </a:extLst>
          </p:cNvPr>
          <p:cNvSpPr>
            <a:spLocks noGrp="1"/>
          </p:cNvSpPr>
          <p:nvPr>
            <p:ph type="body" sz="quarter" idx="17" hasCustomPrompt="1"/>
          </p:nvPr>
        </p:nvSpPr>
        <p:spPr>
          <a:xfrm>
            <a:off x="560268" y="4736677"/>
            <a:ext cx="5578912"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78808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2026-04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494448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ADE7A219-BFB8-A500-5B97-DA711CAAB05D}"/>
              </a:ext>
            </a:extLst>
          </p:cNvPr>
          <p:cNvSpPr/>
          <p:nvPr userDrawn="1"/>
        </p:nvSpPr>
        <p:spPr>
          <a:xfrm>
            <a:off x="-2" y="-1"/>
            <a:ext cx="121920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185957"/>
            <a:ext cx="5198505"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5683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5" name="Graphic 4">
            <a:extLst>
              <a:ext uri="{FF2B5EF4-FFF2-40B4-BE49-F238E27FC236}">
                <a16:creationId xmlns:a16="http://schemas.microsoft.com/office/drawing/2014/main" id="{353F45A5-691A-331A-0A5E-EF9DC3E5E9D0}"/>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10042" y="5757573"/>
            <a:ext cx="2212298" cy="399963"/>
          </a:xfrm>
          <a:prstGeom prst="rect">
            <a:avLst/>
          </a:prstGeom>
        </p:spPr>
      </p:pic>
      <p:sp>
        <p:nvSpPr>
          <p:cNvPr id="21" name="Rectangle: Top Corners Rounded 20">
            <a:extLst>
              <a:ext uri="{FF2B5EF4-FFF2-40B4-BE49-F238E27FC236}">
                <a16:creationId xmlns:a16="http://schemas.microsoft.com/office/drawing/2014/main" id="{990F88C9-134E-565F-6E26-6417D9962BB5}"/>
              </a:ext>
            </a:extLst>
          </p:cNvPr>
          <p:cNvSpPr/>
          <p:nvPr userDrawn="1"/>
        </p:nvSpPr>
        <p:spPr>
          <a:xfrm rot="5400000">
            <a:off x="1858678" y="1846115"/>
            <a:ext cx="1127091" cy="484445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3696104"/>
            <a:ext cx="4187369" cy="1139792"/>
          </a:xfrm>
          <a:prstGeom prst="rect">
            <a:avLst/>
          </a:prstGeom>
        </p:spPr>
        <p:txBody>
          <a:bodyPr anchor="ctr">
            <a:noAutofit/>
          </a:bodyPr>
          <a:lstStyle>
            <a:lvl1pPr marL="0" indent="0" algn="l">
              <a:lnSpc>
                <a:spcPct val="100000"/>
              </a:lnSpc>
              <a:spcBef>
                <a:spcPts val="0"/>
              </a:spcBef>
              <a:buNone/>
              <a:defRPr sz="2000" b="0" i="0">
                <a:solidFill>
                  <a:schemeClr val="tx2"/>
                </a:solidFill>
                <a:latin typeface="+mj-lt"/>
              </a:defRPr>
            </a:lvl1pPr>
          </a:lstStyle>
          <a:p>
            <a:pPr lvl="0"/>
            <a:r>
              <a:rPr lang="en-US"/>
              <a:t>Subheads are 20pt Noto Sans sentence case</a:t>
            </a:r>
          </a:p>
        </p:txBody>
      </p:sp>
      <p:sp>
        <p:nvSpPr>
          <p:cNvPr id="23" name="TextBox 22">
            <a:extLst>
              <a:ext uri="{FF2B5EF4-FFF2-40B4-BE49-F238E27FC236}">
                <a16:creationId xmlns:a16="http://schemas.microsoft.com/office/drawing/2014/main" id="{740A9D05-7CC8-8C49-7E62-59B4C4A868DE}"/>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sp>
        <p:nvSpPr>
          <p:cNvPr id="28" name="Freeform: Shape 27">
            <a:extLst>
              <a:ext uri="{FF2B5EF4-FFF2-40B4-BE49-F238E27FC236}">
                <a16:creationId xmlns:a16="http://schemas.microsoft.com/office/drawing/2014/main" id="{236EA6A8-471B-A5CE-D31B-50ED62AD5F2C}"/>
              </a:ext>
            </a:extLst>
          </p:cNvPr>
          <p:cNvSpPr/>
          <p:nvPr userDrawn="1"/>
        </p:nvSpPr>
        <p:spPr>
          <a:xfrm>
            <a:off x="11385549" y="2754630"/>
            <a:ext cx="806451" cy="1520190"/>
          </a:xfrm>
          <a:custGeom>
            <a:avLst/>
            <a:gdLst>
              <a:gd name="connsiteX0" fmla="*/ 760095 w 806451"/>
              <a:gd name="connsiteY0" fmla="*/ 0 h 1520190"/>
              <a:gd name="connsiteX1" fmla="*/ 806451 w 806451"/>
              <a:gd name="connsiteY1" fmla="*/ 0 h 1520190"/>
              <a:gd name="connsiteX2" fmla="*/ 806451 w 806451"/>
              <a:gd name="connsiteY2" fmla="*/ 1520190 h 1520190"/>
              <a:gd name="connsiteX3" fmla="*/ 760095 w 806451"/>
              <a:gd name="connsiteY3" fmla="*/ 1520190 h 1520190"/>
              <a:gd name="connsiteX4" fmla="*/ 0 w 806451"/>
              <a:gd name="connsiteY4" fmla="*/ 760095 h 1520190"/>
              <a:gd name="connsiteX5" fmla="*/ 760095 w 806451"/>
              <a:gd name="connsiteY5" fmla="*/ 0 h 152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451" h="1520190">
                <a:moveTo>
                  <a:pt x="760095" y="0"/>
                </a:moveTo>
                <a:lnTo>
                  <a:pt x="806451" y="0"/>
                </a:lnTo>
                <a:lnTo>
                  <a:pt x="806451" y="1520190"/>
                </a:lnTo>
                <a:lnTo>
                  <a:pt x="760095" y="1520190"/>
                </a:lnTo>
                <a:cubicBezTo>
                  <a:pt x="340306" y="1520190"/>
                  <a:pt x="0" y="1179884"/>
                  <a:pt x="0" y="760095"/>
                </a:cubicBezTo>
                <a:cubicBezTo>
                  <a:pt x="0" y="340306"/>
                  <a:pt x="340306" y="0"/>
                  <a:pt x="760095" y="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Oval 28">
            <a:extLst>
              <a:ext uri="{FF2B5EF4-FFF2-40B4-BE49-F238E27FC236}">
                <a16:creationId xmlns:a16="http://schemas.microsoft.com/office/drawing/2014/main" id="{9AB1090A-172E-249E-20D1-9ED6F9778154}"/>
              </a:ext>
            </a:extLst>
          </p:cNvPr>
          <p:cNvSpPr/>
          <p:nvPr userDrawn="1"/>
        </p:nvSpPr>
        <p:spPr>
          <a:xfrm>
            <a:off x="8154670" y="3101975"/>
            <a:ext cx="825500" cy="825500"/>
          </a:xfrm>
          <a:prstGeom prst="ellipse">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7" name="Rectangle: Rounded Corners 36">
            <a:extLst>
              <a:ext uri="{FF2B5EF4-FFF2-40B4-BE49-F238E27FC236}">
                <a16:creationId xmlns:a16="http://schemas.microsoft.com/office/drawing/2014/main" id="{E78834BD-6122-8897-155C-7D8AAA482567}"/>
              </a:ext>
            </a:extLst>
          </p:cNvPr>
          <p:cNvSpPr/>
          <p:nvPr userDrawn="1"/>
        </p:nvSpPr>
        <p:spPr>
          <a:xfrm>
            <a:off x="5938520" y="882316"/>
            <a:ext cx="2494280" cy="963930"/>
          </a:xfrm>
          <a:prstGeom prst="roundRect">
            <a:avLst>
              <a:gd name="adj" fmla="val 50000"/>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42" name="Freeform: Shape 41">
            <a:extLst>
              <a:ext uri="{FF2B5EF4-FFF2-40B4-BE49-F238E27FC236}">
                <a16:creationId xmlns:a16="http://schemas.microsoft.com/office/drawing/2014/main" id="{3536A388-F38A-423D-0271-552744C160CC}"/>
              </a:ext>
            </a:extLst>
          </p:cNvPr>
          <p:cNvSpPr/>
          <p:nvPr userDrawn="1"/>
        </p:nvSpPr>
        <p:spPr>
          <a:xfrm>
            <a:off x="10173970" y="5084778"/>
            <a:ext cx="2018031" cy="782320"/>
          </a:xfrm>
          <a:custGeom>
            <a:avLst/>
            <a:gdLst>
              <a:gd name="connsiteX0" fmla="*/ 391160 w 2018031"/>
              <a:gd name="connsiteY0" fmla="*/ 0 h 782320"/>
              <a:gd name="connsiteX1" fmla="*/ 2018031 w 2018031"/>
              <a:gd name="connsiteY1" fmla="*/ 0 h 782320"/>
              <a:gd name="connsiteX2" fmla="*/ 2018031 w 2018031"/>
              <a:gd name="connsiteY2" fmla="*/ 782320 h 782320"/>
              <a:gd name="connsiteX3" fmla="*/ 391160 w 2018031"/>
              <a:gd name="connsiteY3" fmla="*/ 782320 h 782320"/>
              <a:gd name="connsiteX4" fmla="*/ 0 w 2018031"/>
              <a:gd name="connsiteY4" fmla="*/ 391160 h 782320"/>
              <a:gd name="connsiteX5" fmla="*/ 391160 w 2018031"/>
              <a:gd name="connsiteY5" fmla="*/ 0 h 782320"/>
              <a:gd name="connsiteX0" fmla="*/ 2018031 w 2109471"/>
              <a:gd name="connsiteY0" fmla="*/ 782320 h 873760"/>
              <a:gd name="connsiteX1" fmla="*/ 391160 w 2109471"/>
              <a:gd name="connsiteY1" fmla="*/ 782320 h 873760"/>
              <a:gd name="connsiteX2" fmla="*/ 0 w 2109471"/>
              <a:gd name="connsiteY2" fmla="*/ 391160 h 873760"/>
              <a:gd name="connsiteX3" fmla="*/ 391160 w 2109471"/>
              <a:gd name="connsiteY3" fmla="*/ 0 h 873760"/>
              <a:gd name="connsiteX4" fmla="*/ 2018031 w 2109471"/>
              <a:gd name="connsiteY4" fmla="*/ 0 h 873760"/>
              <a:gd name="connsiteX5" fmla="*/ 2109471 w 2109471"/>
              <a:gd name="connsiteY5" fmla="*/ 873760 h 873760"/>
              <a:gd name="connsiteX0" fmla="*/ 2018031 w 2018031"/>
              <a:gd name="connsiteY0" fmla="*/ 782320 h 782320"/>
              <a:gd name="connsiteX1" fmla="*/ 391160 w 2018031"/>
              <a:gd name="connsiteY1" fmla="*/ 782320 h 782320"/>
              <a:gd name="connsiteX2" fmla="*/ 0 w 2018031"/>
              <a:gd name="connsiteY2" fmla="*/ 391160 h 782320"/>
              <a:gd name="connsiteX3" fmla="*/ 391160 w 2018031"/>
              <a:gd name="connsiteY3" fmla="*/ 0 h 782320"/>
              <a:gd name="connsiteX4" fmla="*/ 2018031 w 2018031"/>
              <a:gd name="connsiteY4" fmla="*/ 0 h 78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031" h="782320">
                <a:moveTo>
                  <a:pt x="2018031" y="782320"/>
                </a:moveTo>
                <a:lnTo>
                  <a:pt x="391160" y="782320"/>
                </a:lnTo>
                <a:cubicBezTo>
                  <a:pt x="175128" y="782320"/>
                  <a:pt x="0" y="607192"/>
                  <a:pt x="0" y="391160"/>
                </a:cubicBezTo>
                <a:cubicBezTo>
                  <a:pt x="0" y="175128"/>
                  <a:pt x="175128" y="0"/>
                  <a:pt x="391160" y="0"/>
                </a:cubicBezTo>
                <a:lnTo>
                  <a:pt x="2018031" y="0"/>
                </a:lnTo>
              </a:path>
            </a:pathLst>
          </a:cu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8" name="Picture Placeholder 57">
            <a:extLst>
              <a:ext uri="{FF2B5EF4-FFF2-40B4-BE49-F238E27FC236}">
                <a16:creationId xmlns:a16="http://schemas.microsoft.com/office/drawing/2014/main" id="{4B3972EC-C773-5A43-FB97-099CB4BCD367}"/>
              </a:ext>
            </a:extLst>
          </p:cNvPr>
          <p:cNvSpPr>
            <a:spLocks noGrp="1"/>
          </p:cNvSpPr>
          <p:nvPr>
            <p:ph type="pic" sz="quarter" idx="14" hasCustomPrompt="1"/>
          </p:nvPr>
        </p:nvSpPr>
        <p:spPr>
          <a:xfrm>
            <a:off x="6022975" y="4600908"/>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0" name="Picture Placeholder 59">
            <a:extLst>
              <a:ext uri="{FF2B5EF4-FFF2-40B4-BE49-F238E27FC236}">
                <a16:creationId xmlns:a16="http://schemas.microsoft.com/office/drawing/2014/main" id="{21C08761-BCFD-2804-56C5-147560B27512}"/>
              </a:ext>
            </a:extLst>
          </p:cNvPr>
          <p:cNvSpPr>
            <a:spLocks noGrp="1"/>
          </p:cNvSpPr>
          <p:nvPr>
            <p:ph type="pic" sz="quarter" idx="15" hasCustomPrompt="1"/>
          </p:nvPr>
        </p:nvSpPr>
        <p:spPr>
          <a:xfrm>
            <a:off x="9511025" y="2779604"/>
            <a:ext cx="1470242" cy="1470242"/>
          </a:xfrm>
          <a:prstGeom prst="ellipse">
            <a:avLst/>
          </a:prstGeom>
          <a:blipFill>
            <a:blip r:embed="rId7"/>
            <a:stretch>
              <a:fillRect/>
            </a:stretch>
          </a:blipFill>
        </p:spPr>
        <p:txBody>
          <a:bodyPr wrap="none"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b="1" kern="1200" dirty="0">
                <a:solidFill>
                  <a:srgbClr val="DA291C"/>
                </a:solidFill>
                <a:latin typeface="+mn-lt"/>
                <a:ea typeface="+mn-ea"/>
                <a:cs typeface="+mn-cs"/>
              </a:defRPr>
            </a:lvl1pPr>
          </a:lstStyle>
          <a:p>
            <a:r>
              <a:rPr lang="en-US"/>
              <a:t>Click to </a:t>
            </a:r>
            <a:br>
              <a:rPr lang="en-US"/>
            </a:br>
            <a:r>
              <a:rPr lang="en-US"/>
              <a:t>add image</a:t>
            </a:r>
          </a:p>
        </p:txBody>
      </p:sp>
      <p:sp>
        <p:nvSpPr>
          <p:cNvPr id="7" name="Picture Placeholder 6">
            <a:extLst>
              <a:ext uri="{FF2B5EF4-FFF2-40B4-BE49-F238E27FC236}">
                <a16:creationId xmlns:a16="http://schemas.microsoft.com/office/drawing/2014/main" id="{7A93C421-0BFF-D458-4C46-91C277AFC2F7}"/>
              </a:ext>
            </a:extLst>
          </p:cNvPr>
          <p:cNvSpPr>
            <a:spLocks noGrp="1"/>
          </p:cNvSpPr>
          <p:nvPr>
            <p:ph type="pic" sz="quarter" idx="16" hasCustomPrompt="1"/>
          </p:nvPr>
        </p:nvSpPr>
        <p:spPr>
          <a:xfrm>
            <a:off x="7569200" y="488950"/>
            <a:ext cx="3587750" cy="1750662"/>
          </a:xfrm>
          <a:custGeom>
            <a:avLst/>
            <a:gdLst>
              <a:gd name="connsiteX0" fmla="*/ 875331 w 3587750"/>
              <a:gd name="connsiteY0" fmla="*/ 0 h 1750662"/>
              <a:gd name="connsiteX1" fmla="*/ 2712419 w 3587750"/>
              <a:gd name="connsiteY1" fmla="*/ 0 h 1750662"/>
              <a:gd name="connsiteX2" fmla="*/ 3587750 w 3587750"/>
              <a:gd name="connsiteY2" fmla="*/ 875331 h 1750662"/>
              <a:gd name="connsiteX3" fmla="*/ 2712419 w 3587750"/>
              <a:gd name="connsiteY3" fmla="*/ 1750662 h 1750662"/>
              <a:gd name="connsiteX4" fmla="*/ 875331 w 3587750"/>
              <a:gd name="connsiteY4" fmla="*/ 1750662 h 1750662"/>
              <a:gd name="connsiteX5" fmla="*/ 0 w 3587750"/>
              <a:gd name="connsiteY5" fmla="*/ 875331 h 1750662"/>
              <a:gd name="connsiteX6" fmla="*/ 875331 w 3587750"/>
              <a:gd name="connsiteY6" fmla="*/ 0 h 175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7750" h="1750662">
                <a:moveTo>
                  <a:pt x="875331" y="0"/>
                </a:moveTo>
                <a:lnTo>
                  <a:pt x="2712419" y="0"/>
                </a:lnTo>
                <a:cubicBezTo>
                  <a:pt x="3195851" y="0"/>
                  <a:pt x="3587750" y="391899"/>
                  <a:pt x="3587750" y="875331"/>
                </a:cubicBezTo>
                <a:cubicBezTo>
                  <a:pt x="3587750" y="1358763"/>
                  <a:pt x="3195851" y="1750662"/>
                  <a:pt x="2712419" y="1750662"/>
                </a:cubicBezTo>
                <a:lnTo>
                  <a:pt x="875331" y="1750662"/>
                </a:lnTo>
                <a:cubicBezTo>
                  <a:pt x="391899" y="1750662"/>
                  <a:pt x="0" y="1358763"/>
                  <a:pt x="0" y="875331"/>
                </a:cubicBezTo>
                <a:cubicBezTo>
                  <a:pt x="0" y="391899"/>
                  <a:pt x="391899" y="0"/>
                  <a:pt x="875331" y="0"/>
                </a:cubicBezTo>
                <a:close/>
              </a:path>
            </a:pathLst>
          </a:custGeom>
          <a:blipFill>
            <a:blip r:embed="rId8"/>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2" name="Text Placeholder 13">
            <a:extLst>
              <a:ext uri="{FF2B5EF4-FFF2-40B4-BE49-F238E27FC236}">
                <a16:creationId xmlns:a16="http://schemas.microsoft.com/office/drawing/2014/main" id="{410DB0DD-3550-AA3A-3964-0928F4F14294}"/>
              </a:ext>
            </a:extLst>
          </p:cNvPr>
          <p:cNvSpPr>
            <a:spLocks noGrp="1"/>
          </p:cNvSpPr>
          <p:nvPr>
            <p:ph type="body" sz="quarter" idx="17" hasCustomPrompt="1"/>
          </p:nvPr>
        </p:nvSpPr>
        <p:spPr>
          <a:xfrm>
            <a:off x="560269" y="4908128"/>
            <a:ext cx="4187369"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331121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2026-05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140211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2EF3D7E1-E5A6-9F41-9CF8-AAAEB02D2F1C}"/>
              </a:ext>
            </a:extLst>
          </p:cNvPr>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2" name="Graphic 1">
            <a:extLst>
              <a:ext uri="{FF2B5EF4-FFF2-40B4-BE49-F238E27FC236}">
                <a16:creationId xmlns:a16="http://schemas.microsoft.com/office/drawing/2014/main" id="{DFB796EA-5FE4-C00B-C632-B6DD2037CA9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7" name="Text Placeholder 21">
            <a:extLst>
              <a:ext uri="{FF2B5EF4-FFF2-40B4-BE49-F238E27FC236}">
                <a16:creationId xmlns:a16="http://schemas.microsoft.com/office/drawing/2014/main" id="{12F89F06-2842-6C78-F8B9-DF481DE16163}"/>
              </a:ext>
            </a:extLst>
          </p:cNvPr>
          <p:cNvSpPr>
            <a:spLocks noGrp="1"/>
          </p:cNvSpPr>
          <p:nvPr>
            <p:ph type="body" sz="quarter" idx="11" hasCustomPrompt="1"/>
          </p:nvPr>
        </p:nvSpPr>
        <p:spPr>
          <a:xfrm>
            <a:off x="6948369" y="454542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8" name="Title 1">
            <a:extLst>
              <a:ext uri="{FF2B5EF4-FFF2-40B4-BE49-F238E27FC236}">
                <a16:creationId xmlns:a16="http://schemas.microsoft.com/office/drawing/2014/main" id="{C09011B2-930B-2726-A34F-9595F38F67E6}"/>
              </a:ext>
            </a:extLst>
          </p:cNvPr>
          <p:cNvSpPr>
            <a:spLocks noGrp="1"/>
          </p:cNvSpPr>
          <p:nvPr>
            <p:ph type="ctrTitle" hasCustomPrompt="1"/>
          </p:nvPr>
        </p:nvSpPr>
        <p:spPr>
          <a:xfrm>
            <a:off x="6948369" y="2283169"/>
            <a:ext cx="4849931"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9" name="Subtitle 2">
            <a:extLst>
              <a:ext uri="{FF2B5EF4-FFF2-40B4-BE49-F238E27FC236}">
                <a16:creationId xmlns:a16="http://schemas.microsoft.com/office/drawing/2014/main" id="{817DEC49-9F6E-FEDD-D9A7-746572D694B9}"/>
              </a:ext>
            </a:extLst>
          </p:cNvPr>
          <p:cNvSpPr>
            <a:spLocks noGrp="1"/>
          </p:cNvSpPr>
          <p:nvPr>
            <p:ph type="subTitle" idx="1" hasCustomPrompt="1"/>
          </p:nvPr>
        </p:nvSpPr>
        <p:spPr>
          <a:xfrm>
            <a:off x="6948369" y="174051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4" name="TextBox 13">
            <a:extLst>
              <a:ext uri="{FF2B5EF4-FFF2-40B4-BE49-F238E27FC236}">
                <a16:creationId xmlns:a16="http://schemas.microsoft.com/office/drawing/2014/main" id="{F44FBDBE-CB0C-FA03-27E9-222DD602C14A}"/>
              </a:ext>
            </a:extLst>
          </p:cNvPr>
          <p:cNvSpPr txBox="1"/>
          <p:nvPr userDrawn="1"/>
        </p:nvSpPr>
        <p:spPr bwMode="black">
          <a:xfrm>
            <a:off x="40754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grpSp>
        <p:nvGrpSpPr>
          <p:cNvPr id="4" name="Group 3">
            <a:extLst>
              <a:ext uri="{FF2B5EF4-FFF2-40B4-BE49-F238E27FC236}">
                <a16:creationId xmlns:a16="http://schemas.microsoft.com/office/drawing/2014/main" id="{B5787C3C-B50B-409B-D239-AC6FD72699C3}"/>
              </a:ext>
            </a:extLst>
          </p:cNvPr>
          <p:cNvGrpSpPr/>
          <p:nvPr userDrawn="1"/>
        </p:nvGrpSpPr>
        <p:grpSpPr>
          <a:xfrm>
            <a:off x="-5079" y="0"/>
            <a:ext cx="6333420" cy="6858000"/>
            <a:chOff x="16581" y="0"/>
            <a:chExt cx="6333420" cy="6858000"/>
          </a:xfrm>
        </p:grpSpPr>
        <p:sp>
          <p:nvSpPr>
            <p:cNvPr id="5" name="Rectangle: Top Corners Rounded 4">
              <a:extLst>
                <a:ext uri="{FF2B5EF4-FFF2-40B4-BE49-F238E27FC236}">
                  <a16:creationId xmlns:a16="http://schemas.microsoft.com/office/drawing/2014/main" id="{C25A6BEA-005B-9875-2AE7-6D57A7F0472B}"/>
                </a:ext>
              </a:extLst>
            </p:cNvPr>
            <p:cNvSpPr/>
            <p:nvPr userDrawn="1"/>
          </p:nvSpPr>
          <p:spPr>
            <a:xfrm rot="5400000">
              <a:off x="5116" y="2759744"/>
              <a:ext cx="4114800" cy="4081711"/>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1" err="1"/>
            </a:p>
          </p:txBody>
        </p:sp>
        <p:sp>
          <p:nvSpPr>
            <p:cNvPr id="6" name="Freeform: Shape 5">
              <a:extLst>
                <a:ext uri="{FF2B5EF4-FFF2-40B4-BE49-F238E27FC236}">
                  <a16:creationId xmlns:a16="http://schemas.microsoft.com/office/drawing/2014/main" id="{6DFBA484-25CD-1779-3A38-65ED15CCD6D6}"/>
                </a:ext>
              </a:extLst>
            </p:cNvPr>
            <p:cNvSpPr/>
            <p:nvPr userDrawn="1"/>
          </p:nvSpPr>
          <p:spPr>
            <a:xfrm>
              <a:off x="21660" y="0"/>
              <a:ext cx="6328341" cy="5552111"/>
            </a:xfrm>
            <a:custGeom>
              <a:avLst/>
              <a:gdLst>
                <a:gd name="connsiteX0" fmla="*/ 0 w 6328341"/>
                <a:gd name="connsiteY0" fmla="*/ 0 h 5552111"/>
                <a:gd name="connsiteX1" fmla="*/ 6328341 w 6328341"/>
                <a:gd name="connsiteY1" fmla="*/ 0 h 5552111"/>
                <a:gd name="connsiteX2" fmla="*/ 6328341 w 6328341"/>
                <a:gd name="connsiteY2" fmla="*/ 2377111 h 5552111"/>
                <a:gd name="connsiteX3" fmla="*/ 3153341 w 6328341"/>
                <a:gd name="connsiteY3" fmla="*/ 5552111 h 5552111"/>
                <a:gd name="connsiteX4" fmla="*/ 42846 w 6328341"/>
                <a:gd name="connsiteY4" fmla="*/ 3016984 h 5552111"/>
                <a:gd name="connsiteX5" fmla="*/ 0 w 6328341"/>
                <a:gd name="connsiteY5" fmla="*/ 2736246 h 555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8341" h="5552111">
                  <a:moveTo>
                    <a:pt x="0" y="0"/>
                  </a:moveTo>
                  <a:lnTo>
                    <a:pt x="6328341" y="0"/>
                  </a:lnTo>
                  <a:lnTo>
                    <a:pt x="6328341" y="2377111"/>
                  </a:lnTo>
                  <a:cubicBezTo>
                    <a:pt x="6328341" y="4130615"/>
                    <a:pt x="4906845" y="5552111"/>
                    <a:pt x="3153341" y="5552111"/>
                  </a:cubicBezTo>
                  <a:cubicBezTo>
                    <a:pt x="1619025" y="5552111"/>
                    <a:pt x="338903" y="4463778"/>
                    <a:pt x="42846" y="3016984"/>
                  </a:cubicBezTo>
                  <a:lnTo>
                    <a:pt x="0" y="2736246"/>
                  </a:lnTo>
                  <a:close/>
                </a:path>
              </a:pathLst>
            </a:custGeom>
            <a:gradFill>
              <a:gsLst>
                <a:gs pos="75000">
                  <a:srgbClr val="140A42"/>
                </a:gs>
                <a:gs pos="0">
                  <a:srgbClr val="00CCFF"/>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b="1" err="1"/>
            </a:p>
          </p:txBody>
        </p:sp>
        <p:sp>
          <p:nvSpPr>
            <p:cNvPr id="10" name="Freeform: Shape 9">
              <a:extLst>
                <a:ext uri="{FF2B5EF4-FFF2-40B4-BE49-F238E27FC236}">
                  <a16:creationId xmlns:a16="http://schemas.microsoft.com/office/drawing/2014/main" id="{DF9BA332-9382-C19F-66FE-99AB2FD12525}"/>
                </a:ext>
              </a:extLst>
            </p:cNvPr>
            <p:cNvSpPr/>
            <p:nvPr userDrawn="1"/>
          </p:nvSpPr>
          <p:spPr>
            <a:xfrm rot="5400000">
              <a:off x="652981" y="2106800"/>
              <a:ext cx="2808911" cy="4081711"/>
            </a:xfrm>
            <a:custGeom>
              <a:avLst/>
              <a:gdLst>
                <a:gd name="connsiteX0" fmla="*/ 0 w 2808911"/>
                <a:gd name="connsiteY0" fmla="*/ 4081711 h 4081711"/>
                <a:gd name="connsiteX1" fmla="*/ 0 w 2808911"/>
                <a:gd name="connsiteY1" fmla="*/ 2051686 h 4081711"/>
                <a:gd name="connsiteX2" fmla="*/ 2051686 w 2808911"/>
                <a:gd name="connsiteY2" fmla="*/ 0 h 4081711"/>
                <a:gd name="connsiteX3" fmla="*/ 2063115 w 2808911"/>
                <a:gd name="connsiteY3" fmla="*/ 0 h 4081711"/>
                <a:gd name="connsiteX4" fmla="*/ 2673224 w 2808911"/>
                <a:gd name="connsiteY4" fmla="*/ 92240 h 4081711"/>
                <a:gd name="connsiteX5" fmla="*/ 2699582 w 2808911"/>
                <a:gd name="connsiteY5" fmla="*/ 101887 h 4081711"/>
                <a:gd name="connsiteX6" fmla="*/ 2708954 w 2808911"/>
                <a:gd name="connsiteY6" fmla="*/ 134890 h 4081711"/>
                <a:gd name="connsiteX7" fmla="*/ 2808911 w 2808911"/>
                <a:gd name="connsiteY7" fmla="*/ 928372 h 4081711"/>
                <a:gd name="connsiteX8" fmla="*/ 117432 w 2808911"/>
                <a:gd name="connsiteY8" fmla="*/ 4066789 h 4081711"/>
                <a:gd name="connsiteX9" fmla="*/ 0 w 2808911"/>
                <a:gd name="connsiteY9" fmla="*/ 4081711 h 408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8911" h="4081711">
                  <a:moveTo>
                    <a:pt x="0" y="4081711"/>
                  </a:moveTo>
                  <a:lnTo>
                    <a:pt x="0" y="2051686"/>
                  </a:lnTo>
                  <a:cubicBezTo>
                    <a:pt x="0" y="918571"/>
                    <a:pt x="918572" y="-1"/>
                    <a:pt x="2051686" y="0"/>
                  </a:cubicBezTo>
                  <a:lnTo>
                    <a:pt x="2063115" y="0"/>
                  </a:lnTo>
                  <a:cubicBezTo>
                    <a:pt x="2275574" y="0"/>
                    <a:pt x="2480491" y="32293"/>
                    <a:pt x="2673224" y="92240"/>
                  </a:cubicBezTo>
                  <a:lnTo>
                    <a:pt x="2699582" y="101887"/>
                  </a:lnTo>
                  <a:lnTo>
                    <a:pt x="2708954" y="134890"/>
                  </a:lnTo>
                  <a:cubicBezTo>
                    <a:pt x="2774207" y="388507"/>
                    <a:pt x="2808911" y="654387"/>
                    <a:pt x="2808911" y="928372"/>
                  </a:cubicBezTo>
                  <a:cubicBezTo>
                    <a:pt x="2808911" y="2517485"/>
                    <a:pt x="1641452" y="3833923"/>
                    <a:pt x="117432" y="4066789"/>
                  </a:cubicBezTo>
                  <a:lnTo>
                    <a:pt x="0" y="408171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b="1" err="1"/>
            </a:p>
          </p:txBody>
        </p:sp>
      </p:grpSp>
      <p:sp>
        <p:nvSpPr>
          <p:cNvPr id="11" name="Text Placeholder 13">
            <a:extLst>
              <a:ext uri="{FF2B5EF4-FFF2-40B4-BE49-F238E27FC236}">
                <a16:creationId xmlns:a16="http://schemas.microsoft.com/office/drawing/2014/main" id="{64565F74-6607-D645-F5A7-0A5632621C55}"/>
              </a:ext>
            </a:extLst>
          </p:cNvPr>
          <p:cNvSpPr>
            <a:spLocks noGrp="1"/>
          </p:cNvSpPr>
          <p:nvPr>
            <p:ph type="body" sz="quarter" idx="17" hasCustomPrompt="1"/>
          </p:nvPr>
        </p:nvSpPr>
        <p:spPr>
          <a:xfrm>
            <a:off x="6948369" y="575394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400569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2026-06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5285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CCE057E2-8B7A-030D-538C-6C18EF64073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 y="241300"/>
            <a:ext cx="11868149" cy="6362699"/>
          </a:xfrm>
          <a:prstGeom prst="rect">
            <a:avLst/>
          </a:prstGeom>
        </p:spPr>
      </p:pic>
      <p:sp>
        <p:nvSpPr>
          <p:cNvPr id="20" name="Rectangle: Rounded Corners 19">
            <a:extLst>
              <a:ext uri="{FF2B5EF4-FFF2-40B4-BE49-F238E27FC236}">
                <a16:creationId xmlns:a16="http://schemas.microsoft.com/office/drawing/2014/main" id="{E3DF00FD-7F50-5F6A-0211-01F10C408F79}"/>
              </a:ext>
            </a:extLst>
          </p:cNvPr>
          <p:cNvSpPr/>
          <p:nvPr userDrawn="1"/>
        </p:nvSpPr>
        <p:spPr>
          <a:xfrm rot="2700000">
            <a:off x="9559085" y="-38969"/>
            <a:ext cx="1593806" cy="357200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2" name="Rectangle: Rounded Corners 21">
            <a:extLst>
              <a:ext uri="{FF2B5EF4-FFF2-40B4-BE49-F238E27FC236}">
                <a16:creationId xmlns:a16="http://schemas.microsoft.com/office/drawing/2014/main" id="{0E54E32E-29E1-0CE9-9EB3-4299AC5BA551}"/>
              </a:ext>
            </a:extLst>
          </p:cNvPr>
          <p:cNvSpPr/>
          <p:nvPr userDrawn="1"/>
        </p:nvSpPr>
        <p:spPr>
          <a:xfrm rot="2700000">
            <a:off x="9854559" y="1343244"/>
            <a:ext cx="592131" cy="3587612"/>
          </a:xfrm>
          <a:prstGeom prst="roundRect">
            <a:avLst>
              <a:gd name="adj" fmla="val 5000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4" name="Freeform: Shape 23">
            <a:extLst>
              <a:ext uri="{FF2B5EF4-FFF2-40B4-BE49-F238E27FC236}">
                <a16:creationId xmlns:a16="http://schemas.microsoft.com/office/drawing/2014/main" id="{33A17EB4-0511-A9D6-5B78-5B9A582D9D64}"/>
              </a:ext>
            </a:extLst>
          </p:cNvPr>
          <p:cNvSpPr/>
          <p:nvPr userDrawn="1"/>
        </p:nvSpPr>
        <p:spPr>
          <a:xfrm rot="2700000">
            <a:off x="8557688" y="693470"/>
            <a:ext cx="2580562" cy="3142418"/>
          </a:xfrm>
          <a:custGeom>
            <a:avLst/>
            <a:gdLst>
              <a:gd name="connsiteX0" fmla="*/ 0 w 2580562"/>
              <a:gd name="connsiteY0" fmla="*/ 944206 h 4086624"/>
              <a:gd name="connsiteX1" fmla="*/ 704269 w 2580562"/>
              <a:gd name="connsiteY1" fmla="*/ 239938 h 4086624"/>
              <a:gd name="connsiteX2" fmla="*/ 1862790 w 2580562"/>
              <a:gd name="connsiteY2" fmla="*/ 239938 h 4086624"/>
              <a:gd name="connsiteX3" fmla="*/ 2580562 w 2580562"/>
              <a:gd name="connsiteY3" fmla="*/ 957710 h 4086624"/>
              <a:gd name="connsiteX4" fmla="*/ 2580562 w 2580562"/>
              <a:gd name="connsiteY4" fmla="*/ 2796343 h 4086624"/>
              <a:gd name="connsiteX5" fmla="*/ 1290281 w 2580562"/>
              <a:gd name="connsiteY5" fmla="*/ 4086624 h 4086624"/>
              <a:gd name="connsiteX6" fmla="*/ 0 w 2580562"/>
              <a:gd name="connsiteY6" fmla="*/ 2796343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7" fmla="*/ 795709 w 2580562"/>
              <a:gd name="connsiteY7" fmla="*/ 331378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0" fmla="*/ 1862790 w 2580562"/>
              <a:gd name="connsiteY0" fmla="*/ 0 h 3846686"/>
              <a:gd name="connsiteX1" fmla="*/ 2580562 w 2580562"/>
              <a:gd name="connsiteY1" fmla="*/ 717772 h 3846686"/>
              <a:gd name="connsiteX2" fmla="*/ 2580562 w 2580562"/>
              <a:gd name="connsiteY2" fmla="*/ 2556405 h 3846686"/>
              <a:gd name="connsiteX3" fmla="*/ 1290281 w 2580562"/>
              <a:gd name="connsiteY3" fmla="*/ 3846686 h 3846686"/>
              <a:gd name="connsiteX4" fmla="*/ 0 w 2580562"/>
              <a:gd name="connsiteY4" fmla="*/ 2556405 h 3846686"/>
              <a:gd name="connsiteX5" fmla="*/ 0 w 2580562"/>
              <a:gd name="connsiteY5" fmla="*/ 704268 h 3846686"/>
              <a:gd name="connsiteX0" fmla="*/ 2580562 w 2580562"/>
              <a:gd name="connsiteY0" fmla="*/ 13504 h 3142418"/>
              <a:gd name="connsiteX1" fmla="*/ 2580562 w 2580562"/>
              <a:gd name="connsiteY1" fmla="*/ 1852137 h 3142418"/>
              <a:gd name="connsiteX2" fmla="*/ 1290281 w 2580562"/>
              <a:gd name="connsiteY2" fmla="*/ 3142418 h 3142418"/>
              <a:gd name="connsiteX3" fmla="*/ 0 w 2580562"/>
              <a:gd name="connsiteY3" fmla="*/ 1852137 h 3142418"/>
              <a:gd name="connsiteX4" fmla="*/ 0 w 2580562"/>
              <a:gd name="connsiteY4" fmla="*/ 0 h 3142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562" h="3142418">
                <a:moveTo>
                  <a:pt x="2580562" y="13504"/>
                </a:moveTo>
                <a:lnTo>
                  <a:pt x="2580562" y="1852137"/>
                </a:lnTo>
                <a:cubicBezTo>
                  <a:pt x="2580562" y="2564740"/>
                  <a:pt x="2002884" y="3142418"/>
                  <a:pt x="1290281" y="3142418"/>
                </a:cubicBezTo>
                <a:cubicBezTo>
                  <a:pt x="577678" y="3142418"/>
                  <a:pt x="0" y="2564740"/>
                  <a:pt x="0" y="1852137"/>
                </a:cubicBez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26" name="Graphic 25">
            <a:extLst>
              <a:ext uri="{FF2B5EF4-FFF2-40B4-BE49-F238E27FC236}">
                <a16:creationId xmlns:a16="http://schemas.microsoft.com/office/drawing/2014/main" id="{279552D8-93AA-1558-53CF-B3AA2441C9F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27" name="Text Placeholder 21">
            <a:extLst>
              <a:ext uri="{FF2B5EF4-FFF2-40B4-BE49-F238E27FC236}">
                <a16:creationId xmlns:a16="http://schemas.microsoft.com/office/drawing/2014/main" id="{2DB327D4-53F8-A02D-FD4B-DE3CE5FC3F4D}"/>
              </a:ext>
            </a:extLst>
          </p:cNvPr>
          <p:cNvSpPr>
            <a:spLocks noGrp="1"/>
          </p:cNvSpPr>
          <p:nvPr>
            <p:ph type="body" sz="quarter" idx="11" hasCustomPrompt="1"/>
          </p:nvPr>
        </p:nvSpPr>
        <p:spPr>
          <a:xfrm>
            <a:off x="560269" y="4513255"/>
            <a:ext cx="6716020"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28" name="Title 1">
            <a:extLst>
              <a:ext uri="{FF2B5EF4-FFF2-40B4-BE49-F238E27FC236}">
                <a16:creationId xmlns:a16="http://schemas.microsoft.com/office/drawing/2014/main" id="{1D4F7CBF-B263-6DFD-1E56-2BCBA31644B6}"/>
              </a:ext>
            </a:extLst>
          </p:cNvPr>
          <p:cNvSpPr>
            <a:spLocks noGrp="1"/>
          </p:cNvSpPr>
          <p:nvPr>
            <p:ph type="ctrTitle" hasCustomPrompt="1"/>
          </p:nvPr>
        </p:nvSpPr>
        <p:spPr>
          <a:xfrm>
            <a:off x="560269" y="2292059"/>
            <a:ext cx="6716020"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29" name="Subtitle 2">
            <a:extLst>
              <a:ext uri="{FF2B5EF4-FFF2-40B4-BE49-F238E27FC236}">
                <a16:creationId xmlns:a16="http://schemas.microsoft.com/office/drawing/2014/main" id="{E612B469-E30C-E96F-0490-057826786242}"/>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30" name="TextBox 29">
            <a:extLst>
              <a:ext uri="{FF2B5EF4-FFF2-40B4-BE49-F238E27FC236}">
                <a16:creationId xmlns:a16="http://schemas.microsoft.com/office/drawing/2014/main" id="{EF596005-FB39-2120-DA4B-99A6851C070A}"/>
              </a:ext>
            </a:extLst>
          </p:cNvPr>
          <p:cNvSpPr txBox="1"/>
          <p:nvPr userDrawn="1"/>
        </p:nvSpPr>
        <p:spPr bwMode="black">
          <a:xfrm>
            <a:off x="560269" y="66215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42" name="Picture Placeholder 41">
            <a:extLst>
              <a:ext uri="{FF2B5EF4-FFF2-40B4-BE49-F238E27FC236}">
                <a16:creationId xmlns:a16="http://schemas.microsoft.com/office/drawing/2014/main" id="{178ED566-AC4C-DB1A-FBA8-411D294AA9FD}"/>
              </a:ext>
            </a:extLst>
          </p:cNvPr>
          <p:cNvSpPr>
            <a:spLocks noGrp="1"/>
          </p:cNvSpPr>
          <p:nvPr>
            <p:ph type="pic" sz="quarter" idx="14" hasCustomPrompt="1"/>
          </p:nvPr>
        </p:nvSpPr>
        <p:spPr>
          <a:xfrm>
            <a:off x="8667751" y="3414409"/>
            <a:ext cx="3194049" cy="3189591"/>
          </a:xfrm>
          <a:prstGeom prst="roundRect">
            <a:avLst>
              <a:gd name="adj" fmla="val 24829"/>
            </a:avLst>
          </a:pr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Text Placeholder 13">
            <a:extLst>
              <a:ext uri="{FF2B5EF4-FFF2-40B4-BE49-F238E27FC236}">
                <a16:creationId xmlns:a16="http://schemas.microsoft.com/office/drawing/2014/main" id="{4871D7E5-7016-D225-9AA1-16FDB1DA9B1E}"/>
              </a:ext>
            </a:extLst>
          </p:cNvPr>
          <p:cNvSpPr>
            <a:spLocks noGrp="1"/>
          </p:cNvSpPr>
          <p:nvPr>
            <p:ph type="body" sz="quarter" idx="17" hasCustomPrompt="1"/>
          </p:nvPr>
        </p:nvSpPr>
        <p:spPr>
          <a:xfrm>
            <a:off x="560268" y="5680710"/>
            <a:ext cx="6716020"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67311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07831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739BB318-2FA2-9BC0-C500-B054B13E410C}"/>
              </a:ext>
            </a:extLst>
          </p:cNvPr>
          <p:cNvSpPr/>
          <p:nvPr userDrawn="1"/>
        </p:nvSpPr>
        <p:spPr>
          <a:xfrm>
            <a:off x="-1"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5" name="Graphic 14">
            <a:extLst>
              <a:ext uri="{FF2B5EF4-FFF2-40B4-BE49-F238E27FC236}">
                <a16:creationId xmlns:a16="http://schemas.microsoft.com/office/drawing/2014/main" id="{8257E79C-F908-FC57-48EB-74840AB78064}"/>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996138" y="1574801"/>
            <a:ext cx="1566472" cy="5029200"/>
          </a:xfrm>
          <a:prstGeom prst="rect">
            <a:avLst/>
          </a:prstGeom>
        </p:spPr>
      </p:pic>
      <p:sp>
        <p:nvSpPr>
          <p:cNvPr id="39" name="Freeform: Shape 38">
            <a:extLst>
              <a:ext uri="{FF2B5EF4-FFF2-40B4-BE49-F238E27FC236}">
                <a16:creationId xmlns:a16="http://schemas.microsoft.com/office/drawing/2014/main" id="{EA460FB5-1D71-63A8-83DD-7C183AC8C704}"/>
              </a:ext>
            </a:extLst>
          </p:cNvPr>
          <p:cNvSpPr>
            <a:spLocks/>
          </p:cNvSpPr>
          <p:nvPr userDrawn="1"/>
        </p:nvSpPr>
        <p:spPr>
          <a:xfrm>
            <a:off x="6115326" y="6091026"/>
            <a:ext cx="1562353" cy="751899"/>
          </a:xfrm>
          <a:custGeom>
            <a:avLst/>
            <a:gdLst>
              <a:gd name="connsiteX0" fmla="*/ 781177 w 1562353"/>
              <a:gd name="connsiteY0" fmla="*/ 0 h 751899"/>
              <a:gd name="connsiteX1" fmla="*/ 1549698 w 1562353"/>
              <a:gd name="connsiteY1" fmla="*/ 626363 h 751899"/>
              <a:gd name="connsiteX2" fmla="*/ 1562353 w 1562353"/>
              <a:gd name="connsiteY2" fmla="*/ 751899 h 751899"/>
              <a:gd name="connsiteX3" fmla="*/ 0 w 1562353"/>
              <a:gd name="connsiteY3" fmla="*/ 751899 h 751899"/>
              <a:gd name="connsiteX4" fmla="*/ 12655 w 1562353"/>
              <a:gd name="connsiteY4" fmla="*/ 626363 h 751899"/>
              <a:gd name="connsiteX5" fmla="*/ 781177 w 1562353"/>
              <a:gd name="connsiteY5" fmla="*/ 0 h 75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2353" h="751899">
                <a:moveTo>
                  <a:pt x="781177" y="0"/>
                </a:moveTo>
                <a:cubicBezTo>
                  <a:pt x="1160266" y="0"/>
                  <a:pt x="1476550" y="268899"/>
                  <a:pt x="1549698" y="626363"/>
                </a:cubicBezTo>
                <a:lnTo>
                  <a:pt x="1562353" y="751899"/>
                </a:lnTo>
                <a:lnTo>
                  <a:pt x="0" y="751899"/>
                </a:lnTo>
                <a:lnTo>
                  <a:pt x="12655" y="626363"/>
                </a:lnTo>
                <a:cubicBezTo>
                  <a:pt x="85803" y="268899"/>
                  <a:pt x="402087" y="0"/>
                  <a:pt x="781177" y="0"/>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0" name="Freeform: Shape 39">
            <a:extLst>
              <a:ext uri="{FF2B5EF4-FFF2-40B4-BE49-F238E27FC236}">
                <a16:creationId xmlns:a16="http://schemas.microsoft.com/office/drawing/2014/main" id="{F2AAAAF4-7481-56CC-28C1-4AD28C235C0D}"/>
              </a:ext>
            </a:extLst>
          </p:cNvPr>
          <p:cNvSpPr/>
          <p:nvPr userDrawn="1"/>
        </p:nvSpPr>
        <p:spPr>
          <a:xfrm>
            <a:off x="9914020" y="4855317"/>
            <a:ext cx="1574088" cy="1987609"/>
          </a:xfrm>
          <a:custGeom>
            <a:avLst/>
            <a:gdLst>
              <a:gd name="connsiteX0" fmla="*/ 1557049 w 1574088"/>
              <a:gd name="connsiteY0" fmla="*/ 0 h 1987609"/>
              <a:gd name="connsiteX1" fmla="*/ 1574088 w 1574088"/>
              <a:gd name="connsiteY1" fmla="*/ 1718 h 1987609"/>
              <a:gd name="connsiteX2" fmla="*/ 1574088 w 1574088"/>
              <a:gd name="connsiteY2" fmla="*/ 1987609 h 1987609"/>
              <a:gd name="connsiteX3" fmla="*/ 0 w 1574088"/>
              <a:gd name="connsiteY3" fmla="*/ 1987609 h 1987609"/>
              <a:gd name="connsiteX4" fmla="*/ 0 w 1574088"/>
              <a:gd name="connsiteY4" fmla="*/ 1557049 h 1987609"/>
              <a:gd name="connsiteX5" fmla="*/ 1557049 w 1574088"/>
              <a:gd name="connsiteY5" fmla="*/ 0 h 1987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088" h="1987609">
                <a:moveTo>
                  <a:pt x="1557049" y="0"/>
                </a:moveTo>
                <a:lnTo>
                  <a:pt x="1574088" y="1718"/>
                </a:lnTo>
                <a:lnTo>
                  <a:pt x="1574088" y="1987609"/>
                </a:lnTo>
                <a:lnTo>
                  <a:pt x="0" y="1987609"/>
                </a:lnTo>
                <a:lnTo>
                  <a:pt x="0" y="1557049"/>
                </a:lnTo>
                <a:cubicBezTo>
                  <a:pt x="0" y="697115"/>
                  <a:pt x="697115" y="0"/>
                  <a:pt x="1557049" y="0"/>
                </a:cubicBezTo>
                <a:close/>
              </a:path>
            </a:pathLst>
          </a:custGeom>
          <a:gradFill>
            <a:gsLst>
              <a:gs pos="0">
                <a:srgbClr val="6EEAC4"/>
              </a:gs>
              <a:gs pos="4000">
                <a:srgbClr val="69DFBD"/>
              </a:gs>
              <a:gs pos="39000">
                <a:srgbClr val="458588"/>
              </a:gs>
              <a:gs pos="68000">
                <a:srgbClr val="2A4360"/>
              </a:gs>
              <a:gs pos="89000">
                <a:srgbClr val="191A48"/>
              </a:gs>
              <a:gs pos="100000">
                <a:srgbClr val="130B3F"/>
              </a:gs>
            </a:gsLst>
            <a:lin ang="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3" name="Freeform: Shape 32">
            <a:extLst>
              <a:ext uri="{FF2B5EF4-FFF2-40B4-BE49-F238E27FC236}">
                <a16:creationId xmlns:a16="http://schemas.microsoft.com/office/drawing/2014/main" id="{913F0253-1103-0501-0DDE-FBAF667D32CE}"/>
              </a:ext>
            </a:extLst>
          </p:cNvPr>
          <p:cNvSpPr/>
          <p:nvPr userDrawn="1"/>
        </p:nvSpPr>
        <p:spPr>
          <a:xfrm>
            <a:off x="11821584" y="743158"/>
            <a:ext cx="375516" cy="1813796"/>
          </a:xfrm>
          <a:custGeom>
            <a:avLst/>
            <a:gdLst>
              <a:gd name="connsiteX0" fmla="*/ 375516 w 375516"/>
              <a:gd name="connsiteY0" fmla="*/ 0 h 1813796"/>
              <a:gd name="connsiteX1" fmla="*/ 375516 w 375516"/>
              <a:gd name="connsiteY1" fmla="*/ 1813796 h 1813796"/>
              <a:gd name="connsiteX2" fmla="*/ 287640 w 375516"/>
              <a:gd name="connsiteY2" fmla="*/ 1786518 h 1813796"/>
              <a:gd name="connsiteX3" fmla="*/ 0 w 375516"/>
              <a:gd name="connsiteY3" fmla="*/ 1352570 h 1813796"/>
              <a:gd name="connsiteX4" fmla="*/ 0 w 375516"/>
              <a:gd name="connsiteY4" fmla="*/ 461226 h 1813796"/>
              <a:gd name="connsiteX5" fmla="*/ 287640 w 375516"/>
              <a:gd name="connsiteY5" fmla="*/ 27278 h 181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516" h="1813796">
                <a:moveTo>
                  <a:pt x="375516" y="0"/>
                </a:moveTo>
                <a:lnTo>
                  <a:pt x="375516" y="1813796"/>
                </a:lnTo>
                <a:lnTo>
                  <a:pt x="287640" y="1786518"/>
                </a:lnTo>
                <a:cubicBezTo>
                  <a:pt x="118606" y="1715023"/>
                  <a:pt x="0" y="1547648"/>
                  <a:pt x="0" y="1352570"/>
                </a:cubicBezTo>
                <a:lnTo>
                  <a:pt x="0" y="461226"/>
                </a:lnTo>
                <a:cubicBezTo>
                  <a:pt x="0" y="266149"/>
                  <a:pt x="118606" y="98774"/>
                  <a:pt x="287640" y="27278"/>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1" name="Freeform: Shape 30">
            <a:extLst>
              <a:ext uri="{FF2B5EF4-FFF2-40B4-BE49-F238E27FC236}">
                <a16:creationId xmlns:a16="http://schemas.microsoft.com/office/drawing/2014/main" id="{47676A29-7E8F-1D6A-EC1B-460D31DC64E0}"/>
              </a:ext>
            </a:extLst>
          </p:cNvPr>
          <p:cNvSpPr/>
          <p:nvPr userDrawn="1"/>
        </p:nvSpPr>
        <p:spPr>
          <a:xfrm>
            <a:off x="11834966" y="2890625"/>
            <a:ext cx="362135" cy="3952299"/>
          </a:xfrm>
          <a:custGeom>
            <a:avLst/>
            <a:gdLst>
              <a:gd name="connsiteX0" fmla="*/ 362135 w 362135"/>
              <a:gd name="connsiteY0" fmla="*/ 0 h 3952299"/>
              <a:gd name="connsiteX1" fmla="*/ 362135 w 362135"/>
              <a:gd name="connsiteY1" fmla="*/ 3952299 h 3952299"/>
              <a:gd name="connsiteX2" fmla="*/ 345157 w 362135"/>
              <a:gd name="connsiteY2" fmla="*/ 3947029 h 3952299"/>
              <a:gd name="connsiteX3" fmla="*/ 0 w 362135"/>
              <a:gd name="connsiteY3" fmla="*/ 3426307 h 3952299"/>
              <a:gd name="connsiteX4" fmla="*/ 0 w 362135"/>
              <a:gd name="connsiteY4" fmla="*/ 525991 h 3952299"/>
              <a:gd name="connsiteX5" fmla="*/ 345157 w 362135"/>
              <a:gd name="connsiteY5" fmla="*/ 5270 h 39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135" h="3952299">
                <a:moveTo>
                  <a:pt x="362135" y="0"/>
                </a:moveTo>
                <a:lnTo>
                  <a:pt x="362135" y="3952299"/>
                </a:lnTo>
                <a:lnTo>
                  <a:pt x="345157" y="3947029"/>
                </a:lnTo>
                <a:cubicBezTo>
                  <a:pt x="142323" y="3861237"/>
                  <a:pt x="0" y="3660393"/>
                  <a:pt x="0" y="3426307"/>
                </a:cubicBezTo>
                <a:lnTo>
                  <a:pt x="0" y="525991"/>
                </a:lnTo>
                <a:cubicBezTo>
                  <a:pt x="0" y="291906"/>
                  <a:pt x="142323" y="91062"/>
                  <a:pt x="345157" y="527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68" name="Graphic 67">
            <a:extLst>
              <a:ext uri="{FF2B5EF4-FFF2-40B4-BE49-F238E27FC236}">
                <a16:creationId xmlns:a16="http://schemas.microsoft.com/office/drawing/2014/main" id="{A9941B5D-B587-2CD8-1E2F-5B1501282D47}"/>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73" name="TextBox 72">
            <a:extLst>
              <a:ext uri="{FF2B5EF4-FFF2-40B4-BE49-F238E27FC236}">
                <a16:creationId xmlns:a16="http://schemas.microsoft.com/office/drawing/2014/main" id="{A3F0ED94-D4EA-C9DE-D42F-D4FB64467424}"/>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a:t>
            </a:r>
            <a:br>
              <a:rPr lang="en-US" sz="800">
                <a:solidFill>
                  <a:srgbClr val="7FD1EF"/>
                </a:solidFill>
                <a:latin typeface="+mj-lt"/>
                <a:ea typeface="Arial" charset="0"/>
                <a:cs typeface="Arial" charset="0"/>
              </a:rPr>
            </a:br>
            <a:r>
              <a:rPr lang="en-US" sz="800">
                <a:solidFill>
                  <a:srgbClr val="7FD1EF"/>
                </a:solidFill>
                <a:latin typeface="+mj-lt"/>
                <a:ea typeface="Arial" charset="0"/>
                <a:cs typeface="Arial" charset="0"/>
              </a:rPr>
              <a:t>the United States, the European Union, and various other countries. </a:t>
            </a:r>
          </a:p>
        </p:txBody>
      </p:sp>
      <p:sp>
        <p:nvSpPr>
          <p:cNvPr id="12" name="Picture Placeholder 11">
            <a:extLst>
              <a:ext uri="{FF2B5EF4-FFF2-40B4-BE49-F238E27FC236}">
                <a16:creationId xmlns:a16="http://schemas.microsoft.com/office/drawing/2014/main" id="{C4F16AE3-C94B-2D66-8339-457C0CFF0360}"/>
              </a:ext>
            </a:extLst>
          </p:cNvPr>
          <p:cNvSpPr>
            <a:spLocks noGrp="1"/>
          </p:cNvSpPr>
          <p:nvPr>
            <p:ph type="pic" sz="quarter" idx="14" hasCustomPrompt="1"/>
          </p:nvPr>
        </p:nvSpPr>
        <p:spPr>
          <a:xfrm>
            <a:off x="6098391" y="6350"/>
            <a:ext cx="1579288" cy="2314574"/>
          </a:xfrm>
          <a:custGeom>
            <a:avLst/>
            <a:gdLst>
              <a:gd name="connsiteX0" fmla="*/ 0 w 1579288"/>
              <a:gd name="connsiteY0" fmla="*/ 0 h 2314574"/>
              <a:gd name="connsiteX1" fmla="*/ 1579288 w 1579288"/>
              <a:gd name="connsiteY1" fmla="*/ 0 h 2314574"/>
              <a:gd name="connsiteX2" fmla="*/ 1579288 w 1579288"/>
              <a:gd name="connsiteY2" fmla="*/ 1524930 h 2314574"/>
              <a:gd name="connsiteX3" fmla="*/ 789644 w 1579288"/>
              <a:gd name="connsiteY3" fmla="*/ 2314574 h 2314574"/>
              <a:gd name="connsiteX4" fmla="*/ 0 w 1579288"/>
              <a:gd name="connsiteY4" fmla="*/ 1524930 h 2314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9288" h="2314574">
                <a:moveTo>
                  <a:pt x="0" y="0"/>
                </a:moveTo>
                <a:lnTo>
                  <a:pt x="1579288" y="0"/>
                </a:lnTo>
                <a:lnTo>
                  <a:pt x="1579288" y="1524930"/>
                </a:lnTo>
                <a:cubicBezTo>
                  <a:pt x="1579288" y="1961038"/>
                  <a:pt x="1225752" y="2314574"/>
                  <a:pt x="789644" y="2314574"/>
                </a:cubicBezTo>
                <a:cubicBezTo>
                  <a:pt x="353536" y="2314574"/>
                  <a:pt x="0" y="1961038"/>
                  <a:pt x="0" y="1524930"/>
                </a:cubicBezTo>
                <a:close/>
              </a:path>
            </a:pathLst>
          </a:cu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13" name="Picture Placeholder 12">
            <a:extLst>
              <a:ext uri="{FF2B5EF4-FFF2-40B4-BE49-F238E27FC236}">
                <a16:creationId xmlns:a16="http://schemas.microsoft.com/office/drawing/2014/main" id="{439A5091-7454-13CA-923E-0745779CED1A}"/>
              </a:ext>
            </a:extLst>
          </p:cNvPr>
          <p:cNvSpPr>
            <a:spLocks noGrp="1"/>
          </p:cNvSpPr>
          <p:nvPr>
            <p:ph type="pic" sz="quarter" idx="15" hasCustomPrompt="1"/>
          </p:nvPr>
        </p:nvSpPr>
        <p:spPr>
          <a:xfrm>
            <a:off x="6098391" y="2454442"/>
            <a:ext cx="1579288" cy="3489158"/>
          </a:xfrm>
          <a:custGeom>
            <a:avLst/>
            <a:gdLst>
              <a:gd name="connsiteX0" fmla="*/ 789644 w 1579288"/>
              <a:gd name="connsiteY0" fmla="*/ 0 h 3489158"/>
              <a:gd name="connsiteX1" fmla="*/ 1579288 w 1579288"/>
              <a:gd name="connsiteY1" fmla="*/ 789644 h 3489158"/>
              <a:gd name="connsiteX2" fmla="*/ 1579288 w 1579288"/>
              <a:gd name="connsiteY2" fmla="*/ 2699514 h 3489158"/>
              <a:gd name="connsiteX3" fmla="*/ 789644 w 1579288"/>
              <a:gd name="connsiteY3" fmla="*/ 3489158 h 3489158"/>
              <a:gd name="connsiteX4" fmla="*/ 0 w 1579288"/>
              <a:gd name="connsiteY4" fmla="*/ 2699514 h 3489158"/>
              <a:gd name="connsiteX5" fmla="*/ 0 w 1579288"/>
              <a:gd name="connsiteY5" fmla="*/ 789644 h 3489158"/>
              <a:gd name="connsiteX6" fmla="*/ 789644 w 1579288"/>
              <a:gd name="connsiteY6" fmla="*/ 0 h 348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9288" h="3489158">
                <a:moveTo>
                  <a:pt x="789644" y="0"/>
                </a:moveTo>
                <a:cubicBezTo>
                  <a:pt x="1225752" y="0"/>
                  <a:pt x="1579288" y="353536"/>
                  <a:pt x="1579288" y="789644"/>
                </a:cubicBezTo>
                <a:lnTo>
                  <a:pt x="1579288" y="2699514"/>
                </a:lnTo>
                <a:cubicBezTo>
                  <a:pt x="1579288" y="3135622"/>
                  <a:pt x="1225752" y="3489158"/>
                  <a:pt x="789644" y="3489158"/>
                </a:cubicBezTo>
                <a:cubicBezTo>
                  <a:pt x="353536" y="3489158"/>
                  <a:pt x="0" y="3135622"/>
                  <a:pt x="0" y="2699514"/>
                </a:cubicBezTo>
                <a:lnTo>
                  <a:pt x="0" y="789644"/>
                </a:lnTo>
                <a:cubicBezTo>
                  <a:pt x="0" y="353536"/>
                  <a:pt x="353536" y="0"/>
                  <a:pt x="789644"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8" name="Text Placeholder 21">
            <a:extLst>
              <a:ext uri="{FF2B5EF4-FFF2-40B4-BE49-F238E27FC236}">
                <a16:creationId xmlns:a16="http://schemas.microsoft.com/office/drawing/2014/main" id="{BF50C530-E22F-4FAC-5759-3DBBAD403F37}"/>
              </a:ext>
            </a:extLst>
          </p:cNvPr>
          <p:cNvSpPr>
            <a:spLocks noGrp="1"/>
          </p:cNvSpPr>
          <p:nvPr>
            <p:ph type="body" sz="quarter" idx="11" hasCustomPrompt="1"/>
          </p:nvPr>
        </p:nvSpPr>
        <p:spPr>
          <a:xfrm>
            <a:off x="560270" y="4513255"/>
            <a:ext cx="516934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a:t>
            </a:r>
            <a:br>
              <a:rPr lang="en-US"/>
            </a:br>
            <a:r>
              <a:rPr lang="en-US"/>
              <a:t>sentence case</a:t>
            </a:r>
          </a:p>
        </p:txBody>
      </p:sp>
      <p:sp>
        <p:nvSpPr>
          <p:cNvPr id="9" name="Title 1">
            <a:extLst>
              <a:ext uri="{FF2B5EF4-FFF2-40B4-BE49-F238E27FC236}">
                <a16:creationId xmlns:a16="http://schemas.microsoft.com/office/drawing/2014/main" id="{001CB714-76EF-FC5F-FA21-AAC2687A7804}"/>
              </a:ext>
            </a:extLst>
          </p:cNvPr>
          <p:cNvSpPr>
            <a:spLocks noGrp="1"/>
          </p:cNvSpPr>
          <p:nvPr>
            <p:ph type="ctrTitle" hasCustomPrompt="1"/>
          </p:nvPr>
        </p:nvSpPr>
        <p:spPr>
          <a:xfrm>
            <a:off x="560270" y="2292059"/>
            <a:ext cx="516934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0" name="Subtitle 2">
            <a:extLst>
              <a:ext uri="{FF2B5EF4-FFF2-40B4-BE49-F238E27FC236}">
                <a16:creationId xmlns:a16="http://schemas.microsoft.com/office/drawing/2014/main" id="{3AA1AF35-E214-5937-C222-35F7C8B61318}"/>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1" name="Text Placeholder 13">
            <a:extLst>
              <a:ext uri="{FF2B5EF4-FFF2-40B4-BE49-F238E27FC236}">
                <a16:creationId xmlns:a16="http://schemas.microsoft.com/office/drawing/2014/main" id="{BBDCA1FD-A8D4-1358-1CE3-87CF2BAF9D4D}"/>
              </a:ext>
            </a:extLst>
          </p:cNvPr>
          <p:cNvSpPr>
            <a:spLocks noGrp="1"/>
          </p:cNvSpPr>
          <p:nvPr>
            <p:ph type="body" sz="quarter" idx="17" hasCustomPrompt="1"/>
          </p:nvPr>
        </p:nvSpPr>
        <p:spPr>
          <a:xfrm>
            <a:off x="560269" y="5680710"/>
            <a:ext cx="516934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52" name="Graphic 51">
            <a:extLst>
              <a:ext uri="{FF2B5EF4-FFF2-40B4-BE49-F238E27FC236}">
                <a16:creationId xmlns:a16="http://schemas.microsoft.com/office/drawing/2014/main" id="{7CDFB77E-A09E-BDE9-B164-A894EB8370D1}"/>
              </a:ext>
            </a:extLst>
          </p:cNvPr>
          <p:cNvPicPr>
            <a:picLocks noChangeAspect="1"/>
          </p:cNvPicPr>
          <p:nvPr userDrawn="1"/>
        </p:nvPicPr>
        <p:blipFill>
          <a:blip>
            <a:extLst>
              <a:ext uri="{96DAC541-7B7A-43D3-8B79-37D633B846F1}">
                <asvg:svgBlip xmlns:asvg="http://schemas.microsoft.com/office/drawing/2016/SVG/main" r:embed="rId9"/>
              </a:ext>
            </a:extLst>
          </a:blip>
          <a:srcRect t="22893"/>
          <a:stretch>
            <a:fillRect/>
          </a:stretch>
        </p:blipFill>
        <p:spPr>
          <a:xfrm>
            <a:off x="7997572" y="0"/>
            <a:ext cx="1578228" cy="1574836"/>
          </a:xfrm>
          <a:custGeom>
            <a:avLst/>
            <a:gdLst>
              <a:gd name="connsiteX0" fmla="*/ 0 w 1578228"/>
              <a:gd name="connsiteY0" fmla="*/ 0 h 1574836"/>
              <a:gd name="connsiteX1" fmla="*/ 1578228 w 1578228"/>
              <a:gd name="connsiteY1" fmla="*/ 0 h 1574836"/>
              <a:gd name="connsiteX2" fmla="*/ 1578228 w 1578228"/>
              <a:gd name="connsiteY2" fmla="*/ 1574836 h 1574836"/>
              <a:gd name="connsiteX3" fmla="*/ 0 w 1578228"/>
              <a:gd name="connsiteY3" fmla="*/ 1574836 h 1574836"/>
            </a:gdLst>
            <a:ahLst/>
            <a:cxnLst>
              <a:cxn ang="0">
                <a:pos x="connsiteX0" y="connsiteY0"/>
              </a:cxn>
              <a:cxn ang="0">
                <a:pos x="connsiteX1" y="connsiteY1"/>
              </a:cxn>
              <a:cxn ang="0">
                <a:pos x="connsiteX2" y="connsiteY2"/>
              </a:cxn>
              <a:cxn ang="0">
                <a:pos x="connsiteX3" y="connsiteY3"/>
              </a:cxn>
            </a:cxnLst>
            <a:rect l="l" t="t" r="r" b="b"/>
            <a:pathLst>
              <a:path w="1578228" h="1574836">
                <a:moveTo>
                  <a:pt x="0" y="0"/>
                </a:moveTo>
                <a:lnTo>
                  <a:pt x="1578228" y="0"/>
                </a:lnTo>
                <a:lnTo>
                  <a:pt x="1578228" y="1574836"/>
                </a:lnTo>
                <a:lnTo>
                  <a:pt x="0" y="1574836"/>
                </a:lnTo>
                <a:close/>
              </a:path>
            </a:pathLst>
          </a:custGeom>
        </p:spPr>
      </p:pic>
      <p:sp>
        <p:nvSpPr>
          <p:cNvPr id="6" name="Picture Placeholder 16">
            <a:extLst>
              <a:ext uri="{FF2B5EF4-FFF2-40B4-BE49-F238E27FC236}">
                <a16:creationId xmlns:a16="http://schemas.microsoft.com/office/drawing/2014/main" id="{11F2F281-CD61-3144-F723-3FD15751644D}"/>
              </a:ext>
            </a:extLst>
          </p:cNvPr>
          <p:cNvSpPr>
            <a:spLocks noGrp="1"/>
          </p:cNvSpPr>
          <p:nvPr>
            <p:ph type="pic" sz="quarter" idx="18" hasCustomPrompt="1"/>
          </p:nvPr>
        </p:nvSpPr>
        <p:spPr>
          <a:xfrm>
            <a:off x="9914020" y="0"/>
            <a:ext cx="1574799" cy="4616449"/>
          </a:xfrm>
          <a:custGeom>
            <a:avLst/>
            <a:gdLst>
              <a:gd name="connsiteX0" fmla="*/ 776817 w 1574799"/>
              <a:gd name="connsiteY0" fmla="*/ 0 h 4616449"/>
              <a:gd name="connsiteX1" fmla="*/ 797982 w 1574799"/>
              <a:gd name="connsiteY1" fmla="*/ 0 h 4616449"/>
              <a:gd name="connsiteX2" fmla="*/ 1574799 w 1574799"/>
              <a:gd name="connsiteY2" fmla="*/ 776817 h 4616449"/>
              <a:gd name="connsiteX3" fmla="*/ 1574799 w 1574799"/>
              <a:gd name="connsiteY3" fmla="*/ 3839632 h 4616449"/>
              <a:gd name="connsiteX4" fmla="*/ 797982 w 1574799"/>
              <a:gd name="connsiteY4" fmla="*/ 4616449 h 4616449"/>
              <a:gd name="connsiteX5" fmla="*/ 776817 w 1574799"/>
              <a:gd name="connsiteY5" fmla="*/ 4616449 h 4616449"/>
              <a:gd name="connsiteX6" fmla="*/ 0 w 1574799"/>
              <a:gd name="connsiteY6" fmla="*/ 3839632 h 4616449"/>
              <a:gd name="connsiteX7" fmla="*/ 0 w 1574799"/>
              <a:gd name="connsiteY7" fmla="*/ 776817 h 4616449"/>
              <a:gd name="connsiteX8" fmla="*/ 776817 w 1574799"/>
              <a:gd name="connsiteY8" fmla="*/ 0 h 461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799" h="4616449">
                <a:moveTo>
                  <a:pt x="776817" y="0"/>
                </a:moveTo>
                <a:lnTo>
                  <a:pt x="797982" y="0"/>
                </a:lnTo>
                <a:cubicBezTo>
                  <a:pt x="1227006" y="0"/>
                  <a:pt x="1574799" y="347793"/>
                  <a:pt x="1574799" y="776817"/>
                </a:cubicBezTo>
                <a:lnTo>
                  <a:pt x="1574799" y="3839632"/>
                </a:lnTo>
                <a:cubicBezTo>
                  <a:pt x="1574799" y="4268656"/>
                  <a:pt x="1227006" y="4616449"/>
                  <a:pt x="797982" y="4616449"/>
                </a:cubicBezTo>
                <a:lnTo>
                  <a:pt x="776817" y="4616449"/>
                </a:lnTo>
                <a:cubicBezTo>
                  <a:pt x="347793" y="4616449"/>
                  <a:pt x="0" y="4268656"/>
                  <a:pt x="0" y="3839632"/>
                </a:cubicBezTo>
                <a:lnTo>
                  <a:pt x="0" y="776817"/>
                </a:lnTo>
                <a:cubicBezTo>
                  <a:pt x="0" y="347793"/>
                  <a:pt x="347793" y="0"/>
                  <a:pt x="776817" y="0"/>
                </a:cubicBezTo>
                <a:close/>
              </a:path>
            </a:pathLst>
          </a:custGeom>
          <a:blipFill>
            <a:blip r:embed="rId10"/>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389322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2026-08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605589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DA3FDF07-2EE4-1BD3-7BBF-76F0E37FCF2D}"/>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1" name="Freeform: Shape 30">
            <a:extLst>
              <a:ext uri="{FF2B5EF4-FFF2-40B4-BE49-F238E27FC236}">
                <a16:creationId xmlns:a16="http://schemas.microsoft.com/office/drawing/2014/main" id="{4594B7A1-4047-AFA3-498E-DD5DFA54DCB6}"/>
              </a:ext>
            </a:extLst>
          </p:cNvPr>
          <p:cNvSpPr/>
          <p:nvPr userDrawn="1"/>
        </p:nvSpPr>
        <p:spPr>
          <a:xfrm flipH="1">
            <a:off x="6258210" y="-1"/>
            <a:ext cx="5943600" cy="3791372"/>
          </a:xfrm>
          <a:custGeom>
            <a:avLst/>
            <a:gdLst>
              <a:gd name="connsiteX0" fmla="*/ 4047914 w 5943600"/>
              <a:gd name="connsiteY0" fmla="*/ 0 h 3791372"/>
              <a:gd name="connsiteX1" fmla="*/ 0 w 5943600"/>
              <a:gd name="connsiteY1" fmla="*/ 0 h 3791372"/>
              <a:gd name="connsiteX2" fmla="*/ 0 w 5943600"/>
              <a:gd name="connsiteY2" fmla="*/ 3791371 h 3791372"/>
              <a:gd name="connsiteX3" fmla="*/ 4047913 w 5943600"/>
              <a:gd name="connsiteY3" fmla="*/ 3791372 h 3791372"/>
              <a:gd name="connsiteX4" fmla="*/ 5943599 w 5943600"/>
              <a:gd name="connsiteY4" fmla="*/ 1895686 h 3791372"/>
              <a:gd name="connsiteX5" fmla="*/ 5943600 w 5943600"/>
              <a:gd name="connsiteY5" fmla="*/ 1895686 h 3791372"/>
              <a:gd name="connsiteX6" fmla="*/ 4047914 w 5943600"/>
              <a:gd name="connsiteY6" fmla="*/ 0 h 379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3600" h="3791372">
                <a:moveTo>
                  <a:pt x="4047914" y="0"/>
                </a:moveTo>
                <a:lnTo>
                  <a:pt x="0" y="0"/>
                </a:lnTo>
                <a:lnTo>
                  <a:pt x="0" y="3791371"/>
                </a:lnTo>
                <a:lnTo>
                  <a:pt x="4047913" y="3791372"/>
                </a:lnTo>
                <a:cubicBezTo>
                  <a:pt x="5094871" y="3791372"/>
                  <a:pt x="5943599" y="2942644"/>
                  <a:pt x="5943599" y="1895686"/>
                </a:cubicBezTo>
                <a:lnTo>
                  <a:pt x="5943600" y="1895686"/>
                </a:lnTo>
                <a:cubicBezTo>
                  <a:pt x="5943600" y="848728"/>
                  <a:pt x="5094872" y="0"/>
                  <a:pt x="4047914" y="0"/>
                </a:cubicBezTo>
                <a:close/>
              </a:path>
            </a:pathLst>
          </a:custGeom>
          <a:gradFill>
            <a:gsLst>
              <a:gs pos="75000">
                <a:srgbClr val="140A42"/>
              </a:gs>
              <a:gs pos="0">
                <a:srgbClr val="0DEFC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33" name="Graphic 32">
            <a:extLst>
              <a:ext uri="{FF2B5EF4-FFF2-40B4-BE49-F238E27FC236}">
                <a16:creationId xmlns:a16="http://schemas.microsoft.com/office/drawing/2014/main" id="{D98071B0-0BAC-CCBF-C8F1-4A3F454908D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652788" y="3098800"/>
            <a:ext cx="8979180" cy="3765875"/>
          </a:xfrm>
          <a:prstGeom prst="rect">
            <a:avLst/>
          </a:prstGeom>
        </p:spPr>
      </p:pic>
      <p:pic>
        <p:nvPicPr>
          <p:cNvPr id="25" name="Graphic 24">
            <a:extLst>
              <a:ext uri="{FF2B5EF4-FFF2-40B4-BE49-F238E27FC236}">
                <a16:creationId xmlns:a16="http://schemas.microsoft.com/office/drawing/2014/main" id="{81C40449-60F0-140A-3AD1-82ADF3046D44}"/>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36" name="TextBox 35">
            <a:extLst>
              <a:ext uri="{FF2B5EF4-FFF2-40B4-BE49-F238E27FC236}">
                <a16:creationId xmlns:a16="http://schemas.microsoft.com/office/drawing/2014/main" id="{87DE9C2D-C400-713C-8A35-AA4AC7DED97F}"/>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sp>
        <p:nvSpPr>
          <p:cNvPr id="2" name="Text Placeholder 21">
            <a:extLst>
              <a:ext uri="{FF2B5EF4-FFF2-40B4-BE49-F238E27FC236}">
                <a16:creationId xmlns:a16="http://schemas.microsoft.com/office/drawing/2014/main" id="{860022E3-44E7-94B3-673D-7A83DC626D61}"/>
              </a:ext>
            </a:extLst>
          </p:cNvPr>
          <p:cNvSpPr>
            <a:spLocks noGrp="1"/>
          </p:cNvSpPr>
          <p:nvPr>
            <p:ph type="body" sz="quarter" idx="11" hasCustomPrompt="1"/>
          </p:nvPr>
        </p:nvSpPr>
        <p:spPr>
          <a:xfrm>
            <a:off x="560269" y="370087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4" name="Title 1">
            <a:extLst>
              <a:ext uri="{FF2B5EF4-FFF2-40B4-BE49-F238E27FC236}">
                <a16:creationId xmlns:a16="http://schemas.microsoft.com/office/drawing/2014/main" id="{B8700D2F-0738-919B-C35D-CB0DEA2A88A0}"/>
              </a:ext>
            </a:extLst>
          </p:cNvPr>
          <p:cNvSpPr>
            <a:spLocks noGrp="1"/>
          </p:cNvSpPr>
          <p:nvPr>
            <p:ph type="ctrTitle" hasCustomPrompt="1"/>
          </p:nvPr>
        </p:nvSpPr>
        <p:spPr>
          <a:xfrm>
            <a:off x="560269" y="1439889"/>
            <a:ext cx="484993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5" name="Subtitle 2">
            <a:extLst>
              <a:ext uri="{FF2B5EF4-FFF2-40B4-BE49-F238E27FC236}">
                <a16:creationId xmlns:a16="http://schemas.microsoft.com/office/drawing/2014/main" id="{C3A1FE95-0855-D501-FF26-012CD590C28C}"/>
              </a:ext>
            </a:extLst>
          </p:cNvPr>
          <p:cNvSpPr>
            <a:spLocks noGrp="1"/>
          </p:cNvSpPr>
          <p:nvPr>
            <p:ph type="subTitle" idx="1" hasCustomPrompt="1"/>
          </p:nvPr>
        </p:nvSpPr>
        <p:spPr>
          <a:xfrm>
            <a:off x="560269" y="4540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6" name="Text Placeholder 13">
            <a:extLst>
              <a:ext uri="{FF2B5EF4-FFF2-40B4-BE49-F238E27FC236}">
                <a16:creationId xmlns:a16="http://schemas.microsoft.com/office/drawing/2014/main" id="{2D8CDC11-4E82-CC71-FA89-59B33D5F4A95}"/>
              </a:ext>
            </a:extLst>
          </p:cNvPr>
          <p:cNvSpPr>
            <a:spLocks noGrp="1"/>
          </p:cNvSpPr>
          <p:nvPr>
            <p:ph type="body" sz="quarter" idx="17" hasCustomPrompt="1"/>
          </p:nvPr>
        </p:nvSpPr>
        <p:spPr>
          <a:xfrm>
            <a:off x="560269" y="490812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302930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2026-09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51896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2562DA74-18F7-19C5-53FC-AD93FC6B5807}"/>
              </a:ext>
            </a:extLst>
          </p:cNvPr>
          <p:cNvSpPr/>
          <p:nvPr userDrawn="1"/>
        </p:nvSpPr>
        <p:spPr>
          <a:xfrm>
            <a:off x="648119" y="2375037"/>
            <a:ext cx="1730943" cy="3819542"/>
          </a:xfrm>
          <a:prstGeom prst="roundRect">
            <a:avLst>
              <a:gd name="adj" fmla="val 49328"/>
            </a:avLst>
          </a:prstGeom>
          <a:gradFill>
            <a:gsLst>
              <a:gs pos="0">
                <a:srgbClr val="6EEAC4"/>
              </a:gs>
              <a:gs pos="4000">
                <a:srgbClr val="69DFBD"/>
              </a:gs>
              <a:gs pos="39000">
                <a:srgbClr val="458588"/>
              </a:gs>
              <a:gs pos="68000">
                <a:srgbClr val="2A4360"/>
              </a:gs>
              <a:gs pos="89000">
                <a:srgbClr val="191A48"/>
              </a:gs>
              <a:gs pos="100000">
                <a:srgbClr val="130B3F"/>
              </a:gs>
            </a:gsLst>
            <a:lin ang="1620000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Subtitle 2">
            <a:extLst>
              <a:ext uri="{FF2B5EF4-FFF2-40B4-BE49-F238E27FC236}">
                <a16:creationId xmlns:a16="http://schemas.microsoft.com/office/drawing/2014/main" id="{4F08590D-7AB4-C9BE-B902-DC26BCDC65AD}"/>
              </a:ext>
            </a:extLst>
          </p:cNvPr>
          <p:cNvSpPr>
            <a:spLocks noGrp="1"/>
          </p:cNvSpPr>
          <p:nvPr>
            <p:ph type="subTitle" idx="1" hasCustomPrompt="1"/>
          </p:nvPr>
        </p:nvSpPr>
        <p:spPr>
          <a:xfrm>
            <a:off x="560269" y="2000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5" name="Picture Placeholder 4">
            <a:extLst>
              <a:ext uri="{FF2B5EF4-FFF2-40B4-BE49-F238E27FC236}">
                <a16:creationId xmlns:a16="http://schemas.microsoft.com/office/drawing/2014/main" id="{FB62F432-FEE6-8978-5F40-FEC041C6C4B4}"/>
              </a:ext>
            </a:extLst>
          </p:cNvPr>
          <p:cNvSpPr>
            <a:spLocks noGrp="1"/>
          </p:cNvSpPr>
          <p:nvPr>
            <p:ph type="pic" sz="quarter" idx="15" hasCustomPrompt="1"/>
          </p:nvPr>
        </p:nvSpPr>
        <p:spPr>
          <a:xfrm>
            <a:off x="648119" y="622721"/>
            <a:ext cx="1728216" cy="1728216"/>
          </a:xfrm>
          <a:prstGeom prst="ellipse">
            <a:avLst/>
          </a:prstGeom>
          <a:blipFill>
            <a:blip r:embed="rId5"/>
            <a:stretch>
              <a:fillRect/>
            </a:stretch>
          </a:blipFill>
          <a:ln>
            <a:no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Rectangle: Rounded Corners 5">
            <a:extLst>
              <a:ext uri="{FF2B5EF4-FFF2-40B4-BE49-F238E27FC236}">
                <a16:creationId xmlns:a16="http://schemas.microsoft.com/office/drawing/2014/main" id="{9E9020F3-8CAD-064C-515D-02A876808C1B}"/>
              </a:ext>
            </a:extLst>
          </p:cNvPr>
          <p:cNvSpPr/>
          <p:nvPr userDrawn="1"/>
        </p:nvSpPr>
        <p:spPr>
          <a:xfrm>
            <a:off x="2379546" y="623569"/>
            <a:ext cx="1730943" cy="3819542"/>
          </a:xfrm>
          <a:prstGeom prst="roundRect">
            <a:avLst>
              <a:gd name="adj" fmla="val 49328"/>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Oval 8">
            <a:extLst>
              <a:ext uri="{FF2B5EF4-FFF2-40B4-BE49-F238E27FC236}">
                <a16:creationId xmlns:a16="http://schemas.microsoft.com/office/drawing/2014/main" id="{07E83114-165C-1322-953A-6186533660A7}"/>
              </a:ext>
            </a:extLst>
          </p:cNvPr>
          <p:cNvSpPr>
            <a:spLocks/>
          </p:cNvSpPr>
          <p:nvPr userDrawn="1"/>
        </p:nvSpPr>
        <p:spPr>
          <a:xfrm>
            <a:off x="648119" y="4478373"/>
            <a:ext cx="1728216" cy="1728216"/>
          </a:xfrm>
          <a:prstGeom prst="ellipse">
            <a:avLst/>
          </a:pr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1" name="Picture Placeholder 20">
            <a:extLst>
              <a:ext uri="{FF2B5EF4-FFF2-40B4-BE49-F238E27FC236}">
                <a16:creationId xmlns:a16="http://schemas.microsoft.com/office/drawing/2014/main" id="{CDF14F0E-00FB-45E7-BA8A-D52C93844BE8}"/>
              </a:ext>
            </a:extLst>
          </p:cNvPr>
          <p:cNvSpPr>
            <a:spLocks noGrp="1"/>
          </p:cNvSpPr>
          <p:nvPr>
            <p:ph type="pic" sz="quarter" idx="14" hasCustomPrompt="1"/>
          </p:nvPr>
        </p:nvSpPr>
        <p:spPr>
          <a:xfrm>
            <a:off x="2384626" y="4456529"/>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22" name="Text Placeholder 21">
            <a:extLst>
              <a:ext uri="{FF2B5EF4-FFF2-40B4-BE49-F238E27FC236}">
                <a16:creationId xmlns:a16="http://schemas.microsoft.com/office/drawing/2014/main" id="{11BE6C84-E2C6-DDB5-A020-1D90363B2454}"/>
              </a:ext>
            </a:extLst>
          </p:cNvPr>
          <p:cNvSpPr>
            <a:spLocks noGrp="1"/>
          </p:cNvSpPr>
          <p:nvPr>
            <p:ph type="body" sz="quarter" idx="11" hasCustomPrompt="1"/>
          </p:nvPr>
        </p:nvSpPr>
        <p:spPr>
          <a:xfrm>
            <a:off x="6324599" y="4556224"/>
            <a:ext cx="5247793"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a:t>
            </a:r>
            <a:br>
              <a:rPr lang="en-US"/>
            </a:br>
            <a:r>
              <a:rPr lang="en-US"/>
              <a:t>sentence case</a:t>
            </a:r>
          </a:p>
        </p:txBody>
      </p:sp>
      <p:sp>
        <p:nvSpPr>
          <p:cNvPr id="23" name="Title 1">
            <a:extLst>
              <a:ext uri="{FF2B5EF4-FFF2-40B4-BE49-F238E27FC236}">
                <a16:creationId xmlns:a16="http://schemas.microsoft.com/office/drawing/2014/main" id="{487CCCF8-1C79-7D58-EE48-AF6A9196C7B9}"/>
              </a:ext>
            </a:extLst>
          </p:cNvPr>
          <p:cNvSpPr>
            <a:spLocks noGrp="1"/>
          </p:cNvSpPr>
          <p:nvPr>
            <p:ph type="ctrTitle" hasCustomPrompt="1"/>
          </p:nvPr>
        </p:nvSpPr>
        <p:spPr>
          <a:xfrm>
            <a:off x="6324599" y="2304759"/>
            <a:ext cx="524779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25" name="TextBox 24">
            <a:extLst>
              <a:ext uri="{FF2B5EF4-FFF2-40B4-BE49-F238E27FC236}">
                <a16:creationId xmlns:a16="http://schemas.microsoft.com/office/drawing/2014/main" id="{85CBFB29-7615-D0CB-3A29-CF41540B999E}"/>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pic>
        <p:nvPicPr>
          <p:cNvPr id="30" name="Graphic 29">
            <a:extLst>
              <a:ext uri="{FF2B5EF4-FFF2-40B4-BE49-F238E27FC236}">
                <a16:creationId xmlns:a16="http://schemas.microsoft.com/office/drawing/2014/main" id="{230B9294-49C2-9A41-4093-3BF610123F60}"/>
              </a:ext>
            </a:extLst>
          </p:cNvPr>
          <p:cNvPicPr>
            <a:picLocks/>
          </p:cNvPicPr>
          <p:nvPr userDrawn="1"/>
        </p:nvPicPr>
        <p:blipFill>
          <a:blip>
            <a:extLst>
              <a:ext uri="{96DAC541-7B7A-43D3-8B79-37D633B846F1}">
                <asvg:svgBlip xmlns:asvg="http://schemas.microsoft.com/office/drawing/2016/SVG/main" r:embed="rId7"/>
              </a:ext>
            </a:extLst>
          </a:blip>
          <a:stretch>
            <a:fillRect/>
          </a:stretch>
        </p:blipFill>
        <p:spPr>
          <a:xfrm>
            <a:off x="9360095" y="611533"/>
            <a:ext cx="2212298" cy="399963"/>
          </a:xfrm>
          <a:prstGeom prst="rect">
            <a:avLst/>
          </a:prstGeom>
        </p:spPr>
      </p:pic>
      <p:sp>
        <p:nvSpPr>
          <p:cNvPr id="11" name="Picture Placeholder 10">
            <a:extLst>
              <a:ext uri="{FF2B5EF4-FFF2-40B4-BE49-F238E27FC236}">
                <a16:creationId xmlns:a16="http://schemas.microsoft.com/office/drawing/2014/main" id="{C5E08318-F3D9-A07C-F68B-384AFC7798EA}"/>
              </a:ext>
            </a:extLst>
          </p:cNvPr>
          <p:cNvSpPr>
            <a:spLocks noGrp="1"/>
          </p:cNvSpPr>
          <p:nvPr>
            <p:ph type="pic" sz="quarter" idx="16" hasCustomPrompt="1"/>
          </p:nvPr>
        </p:nvSpPr>
        <p:spPr>
          <a:xfrm>
            <a:off x="5869518" y="623569"/>
            <a:ext cx="2933699" cy="1431514"/>
          </a:xfrm>
          <a:custGeom>
            <a:avLst/>
            <a:gdLst>
              <a:gd name="connsiteX0" fmla="*/ 715757 w 2933699"/>
              <a:gd name="connsiteY0" fmla="*/ 0 h 1431514"/>
              <a:gd name="connsiteX1" fmla="*/ 2217942 w 2933699"/>
              <a:gd name="connsiteY1" fmla="*/ 0 h 1431514"/>
              <a:gd name="connsiteX2" fmla="*/ 2933699 w 2933699"/>
              <a:gd name="connsiteY2" fmla="*/ 715757 h 1431514"/>
              <a:gd name="connsiteX3" fmla="*/ 2217942 w 2933699"/>
              <a:gd name="connsiteY3" fmla="*/ 1431514 h 1431514"/>
              <a:gd name="connsiteX4" fmla="*/ 715757 w 2933699"/>
              <a:gd name="connsiteY4" fmla="*/ 1431514 h 1431514"/>
              <a:gd name="connsiteX5" fmla="*/ 0 w 2933699"/>
              <a:gd name="connsiteY5" fmla="*/ 715757 h 1431514"/>
              <a:gd name="connsiteX6" fmla="*/ 715757 w 2933699"/>
              <a:gd name="connsiteY6" fmla="*/ 0 h 143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699" h="1431514">
                <a:moveTo>
                  <a:pt x="715757" y="0"/>
                </a:moveTo>
                <a:lnTo>
                  <a:pt x="2217942" y="0"/>
                </a:lnTo>
                <a:cubicBezTo>
                  <a:pt x="2613244" y="0"/>
                  <a:pt x="2933699" y="320455"/>
                  <a:pt x="2933699" y="715757"/>
                </a:cubicBezTo>
                <a:cubicBezTo>
                  <a:pt x="2933699" y="1111059"/>
                  <a:pt x="2613244" y="1431514"/>
                  <a:pt x="2217942" y="1431514"/>
                </a:cubicBezTo>
                <a:lnTo>
                  <a:pt x="715757" y="1431514"/>
                </a:lnTo>
                <a:cubicBezTo>
                  <a:pt x="320456" y="1431514"/>
                  <a:pt x="0" y="1111059"/>
                  <a:pt x="0" y="715757"/>
                </a:cubicBezTo>
                <a:cubicBezTo>
                  <a:pt x="0" y="320455"/>
                  <a:pt x="320456" y="0"/>
                  <a:pt x="715757"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4" name="Text Placeholder 13">
            <a:extLst>
              <a:ext uri="{FF2B5EF4-FFF2-40B4-BE49-F238E27FC236}">
                <a16:creationId xmlns:a16="http://schemas.microsoft.com/office/drawing/2014/main" id="{94211D75-A79E-56DC-E881-52C0CC027566}"/>
              </a:ext>
            </a:extLst>
          </p:cNvPr>
          <p:cNvSpPr>
            <a:spLocks noGrp="1"/>
          </p:cNvSpPr>
          <p:nvPr>
            <p:ph type="body" sz="quarter" idx="17" hasCustomPrompt="1"/>
          </p:nvPr>
        </p:nvSpPr>
        <p:spPr>
          <a:xfrm>
            <a:off x="6324598" y="5753948"/>
            <a:ext cx="5247793" cy="385767"/>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12" name="Graphic 11">
            <a:extLst>
              <a:ext uri="{FF2B5EF4-FFF2-40B4-BE49-F238E27FC236}">
                <a16:creationId xmlns:a16="http://schemas.microsoft.com/office/drawing/2014/main" id="{1CF48BE1-E766-5FA2-D411-8460923A9A1B}"/>
              </a:ext>
            </a:extLst>
          </p:cNvPr>
          <p:cNvPicPr>
            <a:picLocks noChangeAspect="1"/>
          </p:cNvPicPr>
          <p:nvPr userDrawn="1"/>
        </p:nvPicPr>
        <p:blipFill>
          <a:blip>
            <a:extLst>
              <a:ext uri="{96DAC541-7B7A-43D3-8B79-37D633B846F1}">
                <asvg:svgBlip xmlns:asvg="http://schemas.microsoft.com/office/drawing/2016/SVG/main" r:embed="rId9"/>
              </a:ext>
            </a:extLst>
          </a:blip>
          <a:stretch>
            <a:fillRect/>
          </a:stretch>
        </p:blipFill>
        <p:spPr>
          <a:xfrm>
            <a:off x="4110117" y="2770343"/>
            <a:ext cx="1684470" cy="1684470"/>
          </a:xfrm>
          <a:prstGeom prst="rect">
            <a:avLst/>
          </a:prstGeom>
        </p:spPr>
      </p:pic>
      <p:pic>
        <p:nvPicPr>
          <p:cNvPr id="24" name="Graphic 23">
            <a:extLst>
              <a:ext uri="{FF2B5EF4-FFF2-40B4-BE49-F238E27FC236}">
                <a16:creationId xmlns:a16="http://schemas.microsoft.com/office/drawing/2014/main" id="{1E6FE9EC-397D-B942-0236-819BCED1063D}"/>
              </a:ext>
            </a:extLst>
          </p:cNvPr>
          <p:cNvPicPr>
            <a:picLocks noChangeAspect="1"/>
          </p:cNvPicPr>
          <p:nvPr userDrawn="1"/>
        </p:nvPicPr>
        <p:blipFill>
          <a:blip>
            <a:extLst>
              <a:ext uri="{96DAC541-7B7A-43D3-8B79-37D633B846F1}">
                <asvg:svgBlip xmlns:asvg="http://schemas.microsoft.com/office/drawing/2016/SVG/main" r:embed="rId10"/>
              </a:ext>
            </a:extLst>
          </a:blip>
          <a:stretch>
            <a:fillRect/>
          </a:stretch>
        </p:blipFill>
        <p:spPr>
          <a:xfrm>
            <a:off x="4110117" y="623569"/>
            <a:ext cx="1757680" cy="2274646"/>
          </a:xfrm>
          <a:prstGeom prst="rect">
            <a:avLst/>
          </a:prstGeom>
        </p:spPr>
      </p:pic>
    </p:spTree>
    <p:extLst>
      <p:ext uri="{BB962C8B-B14F-4D97-AF65-F5344CB8AC3E}">
        <p14:creationId xmlns:p14="http://schemas.microsoft.com/office/powerpoint/2010/main" val="342425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Co-Brand 2026-10 - IQVIA">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43B117B-9DAD-CC97-C2A8-66F44CA68FD8}"/>
              </a:ext>
            </a:extLst>
          </p:cNvPr>
          <p:cNvGraphicFramePr>
            <a:graphicFrameLocks noChangeAspect="1"/>
          </p:cNvGraphicFramePr>
          <p:nvPr userDrawn="1">
            <p:custDataLst>
              <p:tags r:id="rId1"/>
            </p:custDataLst>
            <p:extLst>
              <p:ext uri="{D42A27DB-BD31-4B8C-83A1-F6EECF244321}">
                <p14:modId xmlns:p14="http://schemas.microsoft.com/office/powerpoint/2010/main" val="237742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C43B117B-9DAD-CC97-C2A8-66F44CA68F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000" b="0" i="1">
                <a:solidFill>
                  <a:schemeClr val="accent2"/>
                </a:solidFill>
                <a:latin typeface="+mj-lt"/>
              </a:defRPr>
            </a:lvl1pPr>
          </a:lstStyle>
          <a:p>
            <a:pPr lvl="0"/>
            <a:r>
              <a:rPr lang="en-US"/>
              <a:t>Subheads are 20pt Noto Sans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40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4pt Noto Sans</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rIns="45720">
            <a:noAutofit/>
          </a:bodyPr>
          <a:lstStyle>
            <a:lvl1pPr marL="0" indent="0" algn="l">
              <a:lnSpc>
                <a:spcPct val="100000"/>
              </a:lnSpc>
              <a:spcBef>
                <a:spcPts val="600"/>
              </a:spcBef>
              <a:buNone/>
              <a:defRPr sz="1000" b="0" i="0">
                <a:solidFill>
                  <a:schemeClr val="bg1"/>
                </a:solidFill>
                <a:latin typeface="+mj-lt"/>
              </a:defRPr>
            </a:lvl1pPr>
          </a:lstStyle>
          <a:p>
            <a:pPr lvl="0"/>
            <a:r>
              <a:rPr lang="en-US"/>
              <a:t>Co-brand and bid defense only: You may replace this box with a sponsor logo. Ensure the logo is on a white or transparent background and you have usage permission.</a:t>
            </a:r>
          </a:p>
          <a:p>
            <a:pPr lvl="0"/>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userDrawn="1"/>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latin typeface="+mj-lt"/>
            </a:endParaRPr>
          </a:p>
        </p:txBody>
      </p:sp>
      <p:sp>
        <p:nvSpPr>
          <p:cNvPr id="6" name="Freeform: Shape 5">
            <a:extLst>
              <a:ext uri="{FF2B5EF4-FFF2-40B4-BE49-F238E27FC236}">
                <a16:creationId xmlns:a16="http://schemas.microsoft.com/office/drawing/2014/main" id="{7FC2DBB2-A181-4E29-6CCA-A8F30AC33C44}"/>
              </a:ext>
            </a:extLst>
          </p:cNvPr>
          <p:cNvSpPr/>
          <p:nvPr userDrawn="1"/>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latin typeface="+mj-lt"/>
            </a:endParaRPr>
          </a:p>
        </p:txBody>
      </p:sp>
      <p:sp>
        <p:nvSpPr>
          <p:cNvPr id="7" name="Freeform: Shape 6">
            <a:extLst>
              <a:ext uri="{FF2B5EF4-FFF2-40B4-BE49-F238E27FC236}">
                <a16:creationId xmlns:a16="http://schemas.microsoft.com/office/drawing/2014/main" id="{AFC722F8-9A5C-19E5-0242-1E41CA5B41E8}"/>
              </a:ext>
            </a:extLst>
          </p:cNvPr>
          <p:cNvSpPr/>
          <p:nvPr userDrawn="1"/>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latin typeface="+mj-lt"/>
            </a:endParaRPr>
          </a:p>
        </p:txBody>
      </p:sp>
      <p:sp>
        <p:nvSpPr>
          <p:cNvPr id="8" name="Freeform: Shape 7">
            <a:extLst>
              <a:ext uri="{FF2B5EF4-FFF2-40B4-BE49-F238E27FC236}">
                <a16:creationId xmlns:a16="http://schemas.microsoft.com/office/drawing/2014/main" id="{461D5A5C-10B5-236E-C5A3-320C49CAC101}"/>
              </a:ext>
            </a:extLst>
          </p:cNvPr>
          <p:cNvSpPr/>
          <p:nvPr userDrawn="1"/>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latin typeface="+mj-lt"/>
            </a:endParaRPr>
          </a:p>
        </p:txBody>
      </p:sp>
      <p:sp>
        <p:nvSpPr>
          <p:cNvPr id="10" name="Freeform: Shape 9">
            <a:extLst>
              <a:ext uri="{FF2B5EF4-FFF2-40B4-BE49-F238E27FC236}">
                <a16:creationId xmlns:a16="http://schemas.microsoft.com/office/drawing/2014/main" id="{F380E180-0B33-1124-60B3-4CE23784FB15}"/>
              </a:ext>
            </a:extLst>
          </p:cNvPr>
          <p:cNvSpPr/>
          <p:nvPr userDrawn="1"/>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latin typeface="+mj-lt"/>
            </a:endParaRPr>
          </a:p>
        </p:txBody>
      </p:sp>
    </p:spTree>
    <p:extLst>
      <p:ext uri="{BB962C8B-B14F-4D97-AF65-F5344CB8AC3E}">
        <p14:creationId xmlns:p14="http://schemas.microsoft.com/office/powerpoint/2010/main" val="3745489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026-03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643414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19149D81-FD4B-DC76-CAF0-EE426536CA3B}"/>
              </a:ext>
            </a:extLst>
          </p:cNvPr>
          <p:cNvSpPr>
            <a:spLocks noGrp="1"/>
          </p:cNvSpPr>
          <p:nvPr>
            <p:ph type="pic" sz="quarter" idx="16" hasCustomPrompt="1"/>
          </p:nvPr>
        </p:nvSpPr>
        <p:spPr>
          <a:xfrm>
            <a:off x="7198473" y="2"/>
            <a:ext cx="4993529" cy="6857999"/>
          </a:xfrm>
          <a:custGeom>
            <a:avLst/>
            <a:gdLst>
              <a:gd name="connsiteX0" fmla="*/ 1703159 w 4993529"/>
              <a:gd name="connsiteY0" fmla="*/ 0 h 6857999"/>
              <a:gd name="connsiteX1" fmla="*/ 4993529 w 4993529"/>
              <a:gd name="connsiteY1" fmla="*/ 0 h 6857999"/>
              <a:gd name="connsiteX2" fmla="*/ 4993529 w 4993529"/>
              <a:gd name="connsiteY2" fmla="*/ 6857999 h 6857999"/>
              <a:gd name="connsiteX3" fmla="*/ 1703166 w 4993529"/>
              <a:gd name="connsiteY3" fmla="*/ 6857999 h 6857999"/>
              <a:gd name="connsiteX4" fmla="*/ 1566432 w 4993529"/>
              <a:gd name="connsiteY4" fmla="*/ 6750547 h 6857999"/>
              <a:gd name="connsiteX5" fmla="*/ 0 w 4993529"/>
              <a:gd name="connsiteY5" fmla="*/ 3428996 h 6857999"/>
              <a:gd name="connsiteX6" fmla="*/ 1566433 w 4993529"/>
              <a:gd name="connsiteY6" fmla="*/ 10744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3529" h="6857999">
                <a:moveTo>
                  <a:pt x="1703159" y="0"/>
                </a:moveTo>
                <a:lnTo>
                  <a:pt x="4993529" y="0"/>
                </a:lnTo>
                <a:lnTo>
                  <a:pt x="4993529" y="6857999"/>
                </a:lnTo>
                <a:lnTo>
                  <a:pt x="1703166" y="6857999"/>
                </a:lnTo>
                <a:lnTo>
                  <a:pt x="1566432" y="6750547"/>
                </a:lnTo>
                <a:cubicBezTo>
                  <a:pt x="609773" y="5961041"/>
                  <a:pt x="0" y="4766229"/>
                  <a:pt x="0" y="3428996"/>
                </a:cubicBezTo>
                <a:cubicBezTo>
                  <a:pt x="1" y="2091763"/>
                  <a:pt x="609775" y="896951"/>
                  <a:pt x="1566433" y="107445"/>
                </a:cubicBezTo>
                <a:close/>
              </a:path>
            </a:pathLst>
          </a:custGeom>
          <a:blipFill>
            <a:blip r:embed="rId5"/>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8" y="3669831"/>
            <a:ext cx="5578912" cy="954942"/>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46909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1383229" y="83754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62" name="Graphic 61">
            <a:extLst>
              <a:ext uri="{FF2B5EF4-FFF2-40B4-BE49-F238E27FC236}">
                <a16:creationId xmlns:a16="http://schemas.microsoft.com/office/drawing/2014/main" id="{734FFF4D-C595-1C02-3284-439FA4259BB6}"/>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17" name="TextBox 16">
            <a:extLst>
              <a:ext uri="{FF2B5EF4-FFF2-40B4-BE49-F238E27FC236}">
                <a16:creationId xmlns:a16="http://schemas.microsoft.com/office/drawing/2014/main" id="{05D16DF4-1248-421F-6EC8-178149D3D334}"/>
              </a:ext>
            </a:extLst>
          </p:cNvPr>
          <p:cNvSpPr txBox="1"/>
          <p:nvPr userDrawn="1"/>
        </p:nvSpPr>
        <p:spPr bwMode="black">
          <a:xfrm>
            <a:off x="5602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18" name="Rectangle: Top Corners Rounded 17">
            <a:extLst>
              <a:ext uri="{FF2B5EF4-FFF2-40B4-BE49-F238E27FC236}">
                <a16:creationId xmlns:a16="http://schemas.microsoft.com/office/drawing/2014/main" id="{0A5D0DDA-43DE-B7ED-926F-B2A9412B7D7B}"/>
              </a:ext>
            </a:extLst>
          </p:cNvPr>
          <p:cNvSpPr/>
          <p:nvPr userDrawn="1"/>
        </p:nvSpPr>
        <p:spPr>
          <a:xfrm rot="5400000">
            <a:off x="361950" y="349250"/>
            <a:ext cx="551180" cy="127508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Text Placeholder 13">
            <a:extLst>
              <a:ext uri="{FF2B5EF4-FFF2-40B4-BE49-F238E27FC236}">
                <a16:creationId xmlns:a16="http://schemas.microsoft.com/office/drawing/2014/main" id="{840BC821-F126-C42A-9321-67F78D8191C2}"/>
              </a:ext>
            </a:extLst>
          </p:cNvPr>
          <p:cNvSpPr>
            <a:spLocks noGrp="1"/>
          </p:cNvSpPr>
          <p:nvPr>
            <p:ph type="body" sz="quarter" idx="17" hasCustomPrompt="1"/>
          </p:nvPr>
        </p:nvSpPr>
        <p:spPr>
          <a:xfrm>
            <a:off x="560268" y="4736677"/>
            <a:ext cx="5578912"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89363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A8A15E-1053-38DD-AC1D-5EA46364C078}"/>
              </a:ext>
            </a:extLst>
          </p:cNvPr>
          <p:cNvGraphicFramePr>
            <a:graphicFrameLocks noChangeAspect="1"/>
          </p:cNvGraphicFramePr>
          <p:nvPr userDrawn="1">
            <p:custDataLst>
              <p:tags r:id="rId1"/>
            </p:custDataLst>
            <p:extLst>
              <p:ext uri="{D42A27DB-BD31-4B8C-83A1-F6EECF244321}">
                <p14:modId xmlns:p14="http://schemas.microsoft.com/office/powerpoint/2010/main" val="109620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05A8A15E-1053-38DD-AC1D-5EA46364C0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885522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56B5BD-D0BB-AFCA-634D-8774ECD5E040}"/>
              </a:ext>
            </a:extLst>
          </p:cNvPr>
          <p:cNvGraphicFramePr>
            <a:graphicFrameLocks noChangeAspect="1"/>
          </p:cNvGraphicFramePr>
          <p:nvPr userDrawn="1">
            <p:custDataLst>
              <p:tags r:id="rId1"/>
            </p:custDataLst>
            <p:extLst>
              <p:ext uri="{D42A27DB-BD31-4B8C-83A1-F6EECF244321}">
                <p14:modId xmlns:p14="http://schemas.microsoft.com/office/powerpoint/2010/main" val="259286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1556B5BD-D0BB-AFCA-634D-8774ECD5E0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151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27927AA-6E3C-3281-2AB0-473A1A133008}"/>
              </a:ext>
            </a:extLst>
          </p:cNvPr>
          <p:cNvGraphicFramePr>
            <a:graphicFrameLocks noChangeAspect="1"/>
          </p:cNvGraphicFramePr>
          <p:nvPr userDrawn="1">
            <p:custDataLst>
              <p:tags r:id="rId1"/>
            </p:custDataLst>
            <p:extLst>
              <p:ext uri="{D42A27DB-BD31-4B8C-83A1-F6EECF244321}">
                <p14:modId xmlns:p14="http://schemas.microsoft.com/office/powerpoint/2010/main" val="159847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827927AA-6E3C-3281-2AB0-473A1A1330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082396"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spTree>
    <p:extLst>
      <p:ext uri="{BB962C8B-B14F-4D97-AF65-F5344CB8AC3E}">
        <p14:creationId xmlns:p14="http://schemas.microsoft.com/office/powerpoint/2010/main" val="1844764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8F84D9-5BB2-7598-FDD4-DE7D2E900F66}"/>
              </a:ext>
            </a:extLst>
          </p:cNvPr>
          <p:cNvGraphicFramePr>
            <a:graphicFrameLocks noChangeAspect="1"/>
          </p:cNvGraphicFramePr>
          <p:nvPr userDrawn="1">
            <p:custDataLst>
              <p:tags r:id="rId1"/>
            </p:custDataLst>
            <p:extLst>
              <p:ext uri="{D42A27DB-BD31-4B8C-83A1-F6EECF244321}">
                <p14:modId xmlns:p14="http://schemas.microsoft.com/office/powerpoint/2010/main" val="431698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B8F84D9-5BB2-7598-FDD4-DE7D2E900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tx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tx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0977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A0FCE1-040D-C5C9-0D6C-D0BC2BC5EE7A}"/>
              </a:ext>
            </a:extLst>
          </p:cNvPr>
          <p:cNvGraphicFramePr>
            <a:graphicFrameLocks noChangeAspect="1"/>
          </p:cNvGraphicFramePr>
          <p:nvPr userDrawn="1">
            <p:custDataLst>
              <p:tags r:id="rId1"/>
            </p:custDataLst>
            <p:extLst>
              <p:ext uri="{D42A27DB-BD31-4B8C-83A1-F6EECF244321}">
                <p14:modId xmlns:p14="http://schemas.microsoft.com/office/powerpoint/2010/main" val="218165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FA0FCE1-040D-C5C9-0D6C-D0BC2BC5EE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10874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F4ACCC-7F14-F438-ACE2-3F9BADE4A0E8}"/>
              </a:ext>
            </a:extLst>
          </p:cNvPr>
          <p:cNvGraphicFramePr>
            <a:graphicFrameLocks noChangeAspect="1"/>
          </p:cNvGraphicFramePr>
          <p:nvPr userDrawn="1">
            <p:custDataLst>
              <p:tags r:id="rId1"/>
            </p:custDataLst>
            <p:extLst>
              <p:ext uri="{D42A27DB-BD31-4B8C-83A1-F6EECF244321}">
                <p14:modId xmlns:p14="http://schemas.microsoft.com/office/powerpoint/2010/main" val="207565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35F4ACCC-7F14-F438-ACE2-3F9BADE4A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a:defRPr sz="2800" b="1">
                <a:solidFill>
                  <a:schemeClr val="tx1"/>
                </a:solidFill>
                <a:latin typeface="+mj-lt"/>
              </a:defRPr>
            </a:lvl1pPr>
          </a:lstStyle>
          <a:p>
            <a:r>
              <a:rPr lang="en-US"/>
              <a:t>Headlines are 28pt Noto Sans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8268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F36D22-2A16-B58B-E2E7-CC2E4CF2DC3C}"/>
              </a:ext>
            </a:extLst>
          </p:cNvPr>
          <p:cNvGraphicFramePr>
            <a:graphicFrameLocks noChangeAspect="1"/>
          </p:cNvGraphicFramePr>
          <p:nvPr userDrawn="1">
            <p:custDataLst>
              <p:tags r:id="rId1"/>
            </p:custDataLst>
            <p:extLst>
              <p:ext uri="{D42A27DB-BD31-4B8C-83A1-F6EECF244321}">
                <p14:modId xmlns:p14="http://schemas.microsoft.com/office/powerpoint/2010/main" val="53233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A7F36D22-2A16-B58B-E2E7-CC2E4CF2DC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28237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itle 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F4ACCC-7F14-F438-ACE2-3F9BADE4A0E8}"/>
              </a:ext>
            </a:extLst>
          </p:cNvPr>
          <p:cNvGraphicFramePr>
            <a:graphicFrameLocks noChangeAspect="1"/>
          </p:cNvGraphicFramePr>
          <p:nvPr userDrawn="1">
            <p:custDataLst>
              <p:tags r:id="rId1"/>
            </p:custDataLst>
            <p:extLst>
              <p:ext uri="{D42A27DB-BD31-4B8C-83A1-F6EECF244321}">
                <p14:modId xmlns:p14="http://schemas.microsoft.com/office/powerpoint/2010/main" val="207565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35F4ACCC-7F14-F438-ACE2-3F9BADE4A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a:defRPr sz="2800" b="1">
                <a:solidFill>
                  <a:schemeClr val="tx1"/>
                </a:solidFill>
                <a:latin typeface="+mj-lt"/>
              </a:defRPr>
            </a:lvl1pPr>
          </a:lstStyle>
          <a:p>
            <a:r>
              <a:rPr lang="en-US"/>
              <a:t>Headlines are 28pt Noto Sans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325061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itle and Subhead_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F36D22-2A16-B58B-E2E7-CC2E4CF2DC3C}"/>
              </a:ext>
            </a:extLst>
          </p:cNvPr>
          <p:cNvGraphicFramePr>
            <a:graphicFrameLocks noChangeAspect="1"/>
          </p:cNvGraphicFramePr>
          <p:nvPr userDrawn="1">
            <p:custDataLst>
              <p:tags r:id="rId1"/>
            </p:custDataLst>
            <p:extLst>
              <p:ext uri="{D42A27DB-BD31-4B8C-83A1-F6EECF244321}">
                <p14:modId xmlns:p14="http://schemas.microsoft.com/office/powerpoint/2010/main" val="53233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A7F36D22-2A16-B58B-E2E7-CC2E4CF2DC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57172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hree Column - Institute">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0579D1C8-71F5-9F45-A309-3AAD2E1E2624}"/>
              </a:ext>
            </a:extLst>
          </p:cNvPr>
          <p:cNvSpPr>
            <a:spLocks noGrp="1"/>
          </p:cNvSpPr>
          <p:nvPr>
            <p:ph idx="19" hasCustomPrompt="1"/>
          </p:nvPr>
        </p:nvSpPr>
        <p:spPr>
          <a:xfrm>
            <a:off x="384694" y="1702627"/>
            <a:ext cx="3621024" cy="4434840"/>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Content Placeholder 2">
            <a:extLst>
              <a:ext uri="{FF2B5EF4-FFF2-40B4-BE49-F238E27FC236}">
                <a16:creationId xmlns:a16="http://schemas.microsoft.com/office/drawing/2014/main" id="{17AC32BE-FA3E-F74D-AD67-966C3EA125CF}"/>
              </a:ext>
            </a:extLst>
          </p:cNvPr>
          <p:cNvSpPr>
            <a:spLocks noGrp="1"/>
          </p:cNvSpPr>
          <p:nvPr>
            <p:ph idx="20" hasCustomPrompt="1"/>
          </p:nvPr>
        </p:nvSpPr>
        <p:spPr>
          <a:xfrm>
            <a:off x="8102230" y="1702627"/>
            <a:ext cx="3621024" cy="4434840"/>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F638715D-1773-994B-BBC3-CE8CA35E863A}"/>
              </a:ext>
            </a:extLst>
          </p:cNvPr>
          <p:cNvSpPr>
            <a:spLocks noGrp="1"/>
          </p:cNvSpPr>
          <p:nvPr>
            <p:ph idx="21" hasCustomPrompt="1"/>
          </p:nvPr>
        </p:nvSpPr>
        <p:spPr>
          <a:xfrm>
            <a:off x="4243462" y="1702627"/>
            <a:ext cx="3621024" cy="4434840"/>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bg1">
                    <a:lumMod val="50000"/>
                  </a:schemeClr>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16" name="Footer Placeholder 6"/>
          <p:cNvSpPr>
            <a:spLocks noGrp="1"/>
          </p:cNvSpPr>
          <p:nvPr>
            <p:ph type="ftr" sz="quarter" idx="10"/>
          </p:nvPr>
        </p:nvSpPr>
        <p:spPr>
          <a:xfrm>
            <a:off x="384693" y="6387858"/>
            <a:ext cx="9290304" cy="338087"/>
          </a:xfrm>
        </p:spPr>
        <p:txBody>
          <a:bodyPr/>
          <a:lstStyle/>
          <a:p>
            <a:endParaRPr lang="en-US"/>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a:solidFill>
                <a:schemeClr val="tx1"/>
              </a:solidFill>
            </a:endParaRPr>
          </a:p>
        </p:txBody>
      </p:sp>
      <p:sp>
        <p:nvSpPr>
          <p:cNvPr id="11" name="Date Placeholder 2">
            <a:extLst>
              <a:ext uri="{FF2B5EF4-FFF2-40B4-BE49-F238E27FC236}">
                <a16:creationId xmlns:a16="http://schemas.microsoft.com/office/drawing/2014/main" id="{C7415E2C-8D3C-C944-9265-0DBEAB69BEED}"/>
              </a:ext>
            </a:extLst>
          </p:cNvPr>
          <p:cNvSpPr>
            <a:spLocks noGrp="1"/>
          </p:cNvSpPr>
          <p:nvPr>
            <p:ph type="dt" sz="half" idx="2"/>
          </p:nvPr>
        </p:nvSpPr>
        <p:spPr>
          <a:xfrm>
            <a:off x="384694" y="6176008"/>
            <a:ext cx="9290304" cy="182880"/>
          </a:xfrm>
          <a:prstGeom prst="rect">
            <a:avLst/>
          </a:prstGeom>
        </p:spPr>
        <p:txBody>
          <a:bodyPr vert="horz" lIns="91440" tIns="45720" rIns="91440" bIns="45720" rtlCol="0" anchor="ctr"/>
          <a:lstStyle>
            <a:lvl1pPr algn="l">
              <a:defRPr sz="1000">
                <a:solidFill>
                  <a:srgbClr val="959CA0"/>
                </a:solidFill>
              </a:defRPr>
            </a:lvl1pPr>
          </a:lstStyle>
          <a:p>
            <a:r>
              <a:rPr lang="en-US"/>
              <a:t>Source: XXXXX, Mth Year</a:t>
            </a:r>
          </a:p>
        </p:txBody>
      </p:sp>
      <p:pic>
        <p:nvPicPr>
          <p:cNvPr id="2" name="Picture 1" descr="A black background with text&#10;&#10;AI-generated content may be incorrect.">
            <a:extLst>
              <a:ext uri="{FF2B5EF4-FFF2-40B4-BE49-F238E27FC236}">
                <a16:creationId xmlns:a16="http://schemas.microsoft.com/office/drawing/2014/main" id="{8013BCAF-7DD3-2A5B-8921-6760AC0AB59A}"/>
              </a:ext>
            </a:extLst>
          </p:cNvPr>
          <p:cNvPicPr>
            <a:picLocks noChangeAspect="1"/>
          </p:cNvPicPr>
          <p:nvPr userDrawn="1"/>
        </p:nvPicPr>
        <p:blipFill>
          <a:blip r:embed="rId2"/>
          <a:srcRect l="10973" t="20501" r="10500" b="20166"/>
          <a:stretch/>
        </p:blipFill>
        <p:spPr>
          <a:xfrm>
            <a:off x="10248900" y="6316662"/>
            <a:ext cx="1158875" cy="477837"/>
          </a:xfrm>
          <a:prstGeom prst="rect">
            <a:avLst/>
          </a:prstGeom>
        </p:spPr>
      </p:pic>
    </p:spTree>
    <p:extLst>
      <p:ext uri="{BB962C8B-B14F-4D97-AF65-F5344CB8AC3E}">
        <p14:creationId xmlns:p14="http://schemas.microsoft.com/office/powerpoint/2010/main" val="3650208073"/>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026-04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494448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ADE7A219-BFB8-A500-5B97-DA711CAAB05D}"/>
              </a:ext>
            </a:extLst>
          </p:cNvPr>
          <p:cNvSpPr/>
          <p:nvPr userDrawn="1"/>
        </p:nvSpPr>
        <p:spPr>
          <a:xfrm>
            <a:off x="-2" y="-1"/>
            <a:ext cx="121920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185957"/>
            <a:ext cx="5198505"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5683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5" name="Graphic 4">
            <a:extLst>
              <a:ext uri="{FF2B5EF4-FFF2-40B4-BE49-F238E27FC236}">
                <a16:creationId xmlns:a16="http://schemas.microsoft.com/office/drawing/2014/main" id="{353F45A5-691A-331A-0A5E-EF9DC3E5E9D0}"/>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10042" y="5757573"/>
            <a:ext cx="2212298" cy="399963"/>
          </a:xfrm>
          <a:prstGeom prst="rect">
            <a:avLst/>
          </a:prstGeom>
        </p:spPr>
      </p:pic>
      <p:sp>
        <p:nvSpPr>
          <p:cNvPr id="21" name="Rectangle: Top Corners Rounded 20">
            <a:extLst>
              <a:ext uri="{FF2B5EF4-FFF2-40B4-BE49-F238E27FC236}">
                <a16:creationId xmlns:a16="http://schemas.microsoft.com/office/drawing/2014/main" id="{990F88C9-134E-565F-6E26-6417D9962BB5}"/>
              </a:ext>
            </a:extLst>
          </p:cNvPr>
          <p:cNvSpPr/>
          <p:nvPr userDrawn="1"/>
        </p:nvSpPr>
        <p:spPr>
          <a:xfrm rot="5400000">
            <a:off x="1858678" y="1846115"/>
            <a:ext cx="1127091" cy="484445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3696104"/>
            <a:ext cx="4187369" cy="1139792"/>
          </a:xfrm>
          <a:prstGeom prst="rect">
            <a:avLst/>
          </a:prstGeom>
        </p:spPr>
        <p:txBody>
          <a:bodyPr anchor="ctr">
            <a:noAutofit/>
          </a:bodyPr>
          <a:lstStyle>
            <a:lvl1pPr marL="0" indent="0" algn="l">
              <a:lnSpc>
                <a:spcPct val="100000"/>
              </a:lnSpc>
              <a:spcBef>
                <a:spcPts val="0"/>
              </a:spcBef>
              <a:buNone/>
              <a:defRPr sz="2000" b="0" i="0">
                <a:solidFill>
                  <a:schemeClr val="tx2"/>
                </a:solidFill>
                <a:latin typeface="+mj-lt"/>
              </a:defRPr>
            </a:lvl1pPr>
          </a:lstStyle>
          <a:p>
            <a:pPr lvl="0"/>
            <a:r>
              <a:rPr lang="en-US"/>
              <a:t>Subheads are 20pt Noto Sans sentence case</a:t>
            </a:r>
          </a:p>
        </p:txBody>
      </p:sp>
      <p:sp>
        <p:nvSpPr>
          <p:cNvPr id="23" name="TextBox 22">
            <a:extLst>
              <a:ext uri="{FF2B5EF4-FFF2-40B4-BE49-F238E27FC236}">
                <a16:creationId xmlns:a16="http://schemas.microsoft.com/office/drawing/2014/main" id="{740A9D05-7CC8-8C49-7E62-59B4C4A868DE}"/>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sp>
        <p:nvSpPr>
          <p:cNvPr id="28" name="Freeform: Shape 27">
            <a:extLst>
              <a:ext uri="{FF2B5EF4-FFF2-40B4-BE49-F238E27FC236}">
                <a16:creationId xmlns:a16="http://schemas.microsoft.com/office/drawing/2014/main" id="{236EA6A8-471B-A5CE-D31B-50ED62AD5F2C}"/>
              </a:ext>
            </a:extLst>
          </p:cNvPr>
          <p:cNvSpPr/>
          <p:nvPr userDrawn="1"/>
        </p:nvSpPr>
        <p:spPr>
          <a:xfrm>
            <a:off x="11385549" y="2754630"/>
            <a:ext cx="806451" cy="1520190"/>
          </a:xfrm>
          <a:custGeom>
            <a:avLst/>
            <a:gdLst>
              <a:gd name="connsiteX0" fmla="*/ 760095 w 806451"/>
              <a:gd name="connsiteY0" fmla="*/ 0 h 1520190"/>
              <a:gd name="connsiteX1" fmla="*/ 806451 w 806451"/>
              <a:gd name="connsiteY1" fmla="*/ 0 h 1520190"/>
              <a:gd name="connsiteX2" fmla="*/ 806451 w 806451"/>
              <a:gd name="connsiteY2" fmla="*/ 1520190 h 1520190"/>
              <a:gd name="connsiteX3" fmla="*/ 760095 w 806451"/>
              <a:gd name="connsiteY3" fmla="*/ 1520190 h 1520190"/>
              <a:gd name="connsiteX4" fmla="*/ 0 w 806451"/>
              <a:gd name="connsiteY4" fmla="*/ 760095 h 1520190"/>
              <a:gd name="connsiteX5" fmla="*/ 760095 w 806451"/>
              <a:gd name="connsiteY5" fmla="*/ 0 h 152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451" h="1520190">
                <a:moveTo>
                  <a:pt x="760095" y="0"/>
                </a:moveTo>
                <a:lnTo>
                  <a:pt x="806451" y="0"/>
                </a:lnTo>
                <a:lnTo>
                  <a:pt x="806451" y="1520190"/>
                </a:lnTo>
                <a:lnTo>
                  <a:pt x="760095" y="1520190"/>
                </a:lnTo>
                <a:cubicBezTo>
                  <a:pt x="340306" y="1520190"/>
                  <a:pt x="0" y="1179884"/>
                  <a:pt x="0" y="760095"/>
                </a:cubicBezTo>
                <a:cubicBezTo>
                  <a:pt x="0" y="340306"/>
                  <a:pt x="340306" y="0"/>
                  <a:pt x="760095" y="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Oval 28">
            <a:extLst>
              <a:ext uri="{FF2B5EF4-FFF2-40B4-BE49-F238E27FC236}">
                <a16:creationId xmlns:a16="http://schemas.microsoft.com/office/drawing/2014/main" id="{9AB1090A-172E-249E-20D1-9ED6F9778154}"/>
              </a:ext>
            </a:extLst>
          </p:cNvPr>
          <p:cNvSpPr/>
          <p:nvPr userDrawn="1"/>
        </p:nvSpPr>
        <p:spPr>
          <a:xfrm>
            <a:off x="8154670" y="3101975"/>
            <a:ext cx="825500" cy="825500"/>
          </a:xfrm>
          <a:prstGeom prst="ellipse">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7" name="Rectangle: Rounded Corners 36">
            <a:extLst>
              <a:ext uri="{FF2B5EF4-FFF2-40B4-BE49-F238E27FC236}">
                <a16:creationId xmlns:a16="http://schemas.microsoft.com/office/drawing/2014/main" id="{E78834BD-6122-8897-155C-7D8AAA482567}"/>
              </a:ext>
            </a:extLst>
          </p:cNvPr>
          <p:cNvSpPr/>
          <p:nvPr userDrawn="1"/>
        </p:nvSpPr>
        <p:spPr>
          <a:xfrm>
            <a:off x="5938520" y="882316"/>
            <a:ext cx="2494280" cy="963930"/>
          </a:xfrm>
          <a:prstGeom prst="roundRect">
            <a:avLst>
              <a:gd name="adj" fmla="val 50000"/>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42" name="Freeform: Shape 41">
            <a:extLst>
              <a:ext uri="{FF2B5EF4-FFF2-40B4-BE49-F238E27FC236}">
                <a16:creationId xmlns:a16="http://schemas.microsoft.com/office/drawing/2014/main" id="{3536A388-F38A-423D-0271-552744C160CC}"/>
              </a:ext>
            </a:extLst>
          </p:cNvPr>
          <p:cNvSpPr/>
          <p:nvPr userDrawn="1"/>
        </p:nvSpPr>
        <p:spPr>
          <a:xfrm>
            <a:off x="10173970" y="5084778"/>
            <a:ext cx="2018031" cy="782320"/>
          </a:xfrm>
          <a:custGeom>
            <a:avLst/>
            <a:gdLst>
              <a:gd name="connsiteX0" fmla="*/ 391160 w 2018031"/>
              <a:gd name="connsiteY0" fmla="*/ 0 h 782320"/>
              <a:gd name="connsiteX1" fmla="*/ 2018031 w 2018031"/>
              <a:gd name="connsiteY1" fmla="*/ 0 h 782320"/>
              <a:gd name="connsiteX2" fmla="*/ 2018031 w 2018031"/>
              <a:gd name="connsiteY2" fmla="*/ 782320 h 782320"/>
              <a:gd name="connsiteX3" fmla="*/ 391160 w 2018031"/>
              <a:gd name="connsiteY3" fmla="*/ 782320 h 782320"/>
              <a:gd name="connsiteX4" fmla="*/ 0 w 2018031"/>
              <a:gd name="connsiteY4" fmla="*/ 391160 h 782320"/>
              <a:gd name="connsiteX5" fmla="*/ 391160 w 2018031"/>
              <a:gd name="connsiteY5" fmla="*/ 0 h 782320"/>
              <a:gd name="connsiteX0" fmla="*/ 2018031 w 2109471"/>
              <a:gd name="connsiteY0" fmla="*/ 782320 h 873760"/>
              <a:gd name="connsiteX1" fmla="*/ 391160 w 2109471"/>
              <a:gd name="connsiteY1" fmla="*/ 782320 h 873760"/>
              <a:gd name="connsiteX2" fmla="*/ 0 w 2109471"/>
              <a:gd name="connsiteY2" fmla="*/ 391160 h 873760"/>
              <a:gd name="connsiteX3" fmla="*/ 391160 w 2109471"/>
              <a:gd name="connsiteY3" fmla="*/ 0 h 873760"/>
              <a:gd name="connsiteX4" fmla="*/ 2018031 w 2109471"/>
              <a:gd name="connsiteY4" fmla="*/ 0 h 873760"/>
              <a:gd name="connsiteX5" fmla="*/ 2109471 w 2109471"/>
              <a:gd name="connsiteY5" fmla="*/ 873760 h 873760"/>
              <a:gd name="connsiteX0" fmla="*/ 2018031 w 2018031"/>
              <a:gd name="connsiteY0" fmla="*/ 782320 h 782320"/>
              <a:gd name="connsiteX1" fmla="*/ 391160 w 2018031"/>
              <a:gd name="connsiteY1" fmla="*/ 782320 h 782320"/>
              <a:gd name="connsiteX2" fmla="*/ 0 w 2018031"/>
              <a:gd name="connsiteY2" fmla="*/ 391160 h 782320"/>
              <a:gd name="connsiteX3" fmla="*/ 391160 w 2018031"/>
              <a:gd name="connsiteY3" fmla="*/ 0 h 782320"/>
              <a:gd name="connsiteX4" fmla="*/ 2018031 w 2018031"/>
              <a:gd name="connsiteY4" fmla="*/ 0 h 78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031" h="782320">
                <a:moveTo>
                  <a:pt x="2018031" y="782320"/>
                </a:moveTo>
                <a:lnTo>
                  <a:pt x="391160" y="782320"/>
                </a:lnTo>
                <a:cubicBezTo>
                  <a:pt x="175128" y="782320"/>
                  <a:pt x="0" y="607192"/>
                  <a:pt x="0" y="391160"/>
                </a:cubicBezTo>
                <a:cubicBezTo>
                  <a:pt x="0" y="175128"/>
                  <a:pt x="175128" y="0"/>
                  <a:pt x="391160" y="0"/>
                </a:cubicBezTo>
                <a:lnTo>
                  <a:pt x="2018031" y="0"/>
                </a:lnTo>
              </a:path>
            </a:pathLst>
          </a:cu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8" name="Picture Placeholder 57">
            <a:extLst>
              <a:ext uri="{FF2B5EF4-FFF2-40B4-BE49-F238E27FC236}">
                <a16:creationId xmlns:a16="http://schemas.microsoft.com/office/drawing/2014/main" id="{4B3972EC-C773-5A43-FB97-099CB4BCD367}"/>
              </a:ext>
            </a:extLst>
          </p:cNvPr>
          <p:cNvSpPr>
            <a:spLocks noGrp="1"/>
          </p:cNvSpPr>
          <p:nvPr>
            <p:ph type="pic" sz="quarter" idx="14" hasCustomPrompt="1"/>
          </p:nvPr>
        </p:nvSpPr>
        <p:spPr>
          <a:xfrm>
            <a:off x="6022975" y="4600908"/>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0" name="Picture Placeholder 59">
            <a:extLst>
              <a:ext uri="{FF2B5EF4-FFF2-40B4-BE49-F238E27FC236}">
                <a16:creationId xmlns:a16="http://schemas.microsoft.com/office/drawing/2014/main" id="{21C08761-BCFD-2804-56C5-147560B27512}"/>
              </a:ext>
            </a:extLst>
          </p:cNvPr>
          <p:cNvSpPr>
            <a:spLocks noGrp="1"/>
          </p:cNvSpPr>
          <p:nvPr>
            <p:ph type="pic" sz="quarter" idx="15" hasCustomPrompt="1"/>
          </p:nvPr>
        </p:nvSpPr>
        <p:spPr>
          <a:xfrm>
            <a:off x="9511025" y="2779604"/>
            <a:ext cx="1470242" cy="1470242"/>
          </a:xfrm>
          <a:prstGeom prst="ellipse">
            <a:avLst/>
          </a:prstGeom>
          <a:blipFill>
            <a:blip r:embed="rId7"/>
            <a:stretch>
              <a:fillRect/>
            </a:stretch>
          </a:blipFill>
        </p:spPr>
        <p:txBody>
          <a:bodyPr wrap="none"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b="1" kern="1200" dirty="0">
                <a:solidFill>
                  <a:srgbClr val="DA291C"/>
                </a:solidFill>
                <a:latin typeface="+mn-lt"/>
                <a:ea typeface="+mn-ea"/>
                <a:cs typeface="+mn-cs"/>
              </a:defRPr>
            </a:lvl1pPr>
          </a:lstStyle>
          <a:p>
            <a:r>
              <a:rPr lang="en-US"/>
              <a:t>Click to </a:t>
            </a:r>
            <a:br>
              <a:rPr lang="en-US"/>
            </a:br>
            <a:r>
              <a:rPr lang="en-US"/>
              <a:t>add image</a:t>
            </a:r>
          </a:p>
        </p:txBody>
      </p:sp>
      <p:sp>
        <p:nvSpPr>
          <p:cNvPr id="7" name="Picture Placeholder 6">
            <a:extLst>
              <a:ext uri="{FF2B5EF4-FFF2-40B4-BE49-F238E27FC236}">
                <a16:creationId xmlns:a16="http://schemas.microsoft.com/office/drawing/2014/main" id="{7A93C421-0BFF-D458-4C46-91C277AFC2F7}"/>
              </a:ext>
            </a:extLst>
          </p:cNvPr>
          <p:cNvSpPr>
            <a:spLocks noGrp="1"/>
          </p:cNvSpPr>
          <p:nvPr>
            <p:ph type="pic" sz="quarter" idx="16" hasCustomPrompt="1"/>
          </p:nvPr>
        </p:nvSpPr>
        <p:spPr>
          <a:xfrm>
            <a:off x="7569200" y="488950"/>
            <a:ext cx="3587750" cy="1750662"/>
          </a:xfrm>
          <a:custGeom>
            <a:avLst/>
            <a:gdLst>
              <a:gd name="connsiteX0" fmla="*/ 875331 w 3587750"/>
              <a:gd name="connsiteY0" fmla="*/ 0 h 1750662"/>
              <a:gd name="connsiteX1" fmla="*/ 2712419 w 3587750"/>
              <a:gd name="connsiteY1" fmla="*/ 0 h 1750662"/>
              <a:gd name="connsiteX2" fmla="*/ 3587750 w 3587750"/>
              <a:gd name="connsiteY2" fmla="*/ 875331 h 1750662"/>
              <a:gd name="connsiteX3" fmla="*/ 2712419 w 3587750"/>
              <a:gd name="connsiteY3" fmla="*/ 1750662 h 1750662"/>
              <a:gd name="connsiteX4" fmla="*/ 875331 w 3587750"/>
              <a:gd name="connsiteY4" fmla="*/ 1750662 h 1750662"/>
              <a:gd name="connsiteX5" fmla="*/ 0 w 3587750"/>
              <a:gd name="connsiteY5" fmla="*/ 875331 h 1750662"/>
              <a:gd name="connsiteX6" fmla="*/ 875331 w 3587750"/>
              <a:gd name="connsiteY6" fmla="*/ 0 h 175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7750" h="1750662">
                <a:moveTo>
                  <a:pt x="875331" y="0"/>
                </a:moveTo>
                <a:lnTo>
                  <a:pt x="2712419" y="0"/>
                </a:lnTo>
                <a:cubicBezTo>
                  <a:pt x="3195851" y="0"/>
                  <a:pt x="3587750" y="391899"/>
                  <a:pt x="3587750" y="875331"/>
                </a:cubicBezTo>
                <a:cubicBezTo>
                  <a:pt x="3587750" y="1358763"/>
                  <a:pt x="3195851" y="1750662"/>
                  <a:pt x="2712419" y="1750662"/>
                </a:cubicBezTo>
                <a:lnTo>
                  <a:pt x="875331" y="1750662"/>
                </a:lnTo>
                <a:cubicBezTo>
                  <a:pt x="391899" y="1750662"/>
                  <a:pt x="0" y="1358763"/>
                  <a:pt x="0" y="875331"/>
                </a:cubicBezTo>
                <a:cubicBezTo>
                  <a:pt x="0" y="391899"/>
                  <a:pt x="391899" y="0"/>
                  <a:pt x="875331" y="0"/>
                </a:cubicBezTo>
                <a:close/>
              </a:path>
            </a:pathLst>
          </a:custGeom>
          <a:blipFill>
            <a:blip r:embed="rId8"/>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2" name="Text Placeholder 13">
            <a:extLst>
              <a:ext uri="{FF2B5EF4-FFF2-40B4-BE49-F238E27FC236}">
                <a16:creationId xmlns:a16="http://schemas.microsoft.com/office/drawing/2014/main" id="{410DB0DD-3550-AA3A-3964-0928F4F14294}"/>
              </a:ext>
            </a:extLst>
          </p:cNvPr>
          <p:cNvSpPr>
            <a:spLocks noGrp="1"/>
          </p:cNvSpPr>
          <p:nvPr>
            <p:ph type="body" sz="quarter" idx="17" hasCustomPrompt="1"/>
          </p:nvPr>
        </p:nvSpPr>
        <p:spPr>
          <a:xfrm>
            <a:off x="560269" y="4908128"/>
            <a:ext cx="4187369"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25463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Title and Content_Subhead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56B5BD-D0BB-AFCA-634D-8774ECD5E040}"/>
              </a:ext>
            </a:extLst>
          </p:cNvPr>
          <p:cNvGraphicFramePr>
            <a:graphicFrameLocks noChangeAspect="1"/>
          </p:cNvGraphicFramePr>
          <p:nvPr userDrawn="1">
            <p:custDataLst>
              <p:tags r:id="rId1"/>
            </p:custDataLst>
            <p:extLst>
              <p:ext uri="{D42A27DB-BD31-4B8C-83A1-F6EECF244321}">
                <p14:modId xmlns:p14="http://schemas.microsoft.com/office/powerpoint/2010/main" val="259286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1556B5BD-D0BB-AFCA-634D-8774ECD5E0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06092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_Two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A0FCE1-040D-C5C9-0D6C-D0BC2BC5EE7A}"/>
              </a:ext>
            </a:extLst>
          </p:cNvPr>
          <p:cNvGraphicFramePr>
            <a:graphicFrameLocks noChangeAspect="1"/>
          </p:cNvGraphicFramePr>
          <p:nvPr userDrawn="1">
            <p:custDataLst>
              <p:tags r:id="rId1"/>
            </p:custDataLst>
            <p:extLst>
              <p:ext uri="{D42A27DB-BD31-4B8C-83A1-F6EECF244321}">
                <p14:modId xmlns:p14="http://schemas.microsoft.com/office/powerpoint/2010/main" val="218165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FA0FCE1-040D-C5C9-0D6C-D0BC2BC5EE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8030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Two Column_NoSubhead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F0D803-AE05-DFA0-7C50-E5A7C3AE89EC}"/>
              </a:ext>
            </a:extLst>
          </p:cNvPr>
          <p:cNvGraphicFramePr>
            <a:graphicFrameLocks noChangeAspect="1"/>
          </p:cNvGraphicFramePr>
          <p:nvPr userDrawn="1">
            <p:custDataLst>
              <p:tags r:id="rId1"/>
            </p:custDataLst>
            <p:extLst>
              <p:ext uri="{D42A27DB-BD31-4B8C-83A1-F6EECF244321}">
                <p14:modId xmlns:p14="http://schemas.microsoft.com/office/powerpoint/2010/main" val="87590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D6F0D803-AE05-DFA0-7C50-E5A7C3AE89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519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_Three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EBE655-8CD4-3111-DF6A-4F3DB7213B75}"/>
              </a:ext>
            </a:extLst>
          </p:cNvPr>
          <p:cNvGraphicFramePr>
            <a:graphicFrameLocks noChangeAspect="1"/>
          </p:cNvGraphicFramePr>
          <p:nvPr userDrawn="1">
            <p:custDataLst>
              <p:tags r:id="rId1"/>
            </p:custDataLst>
            <p:extLst>
              <p:ext uri="{D42A27DB-BD31-4B8C-83A1-F6EECF244321}">
                <p14:modId xmlns:p14="http://schemas.microsoft.com/office/powerpoint/2010/main" val="134594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DEBE655-8CD4-3111-DF6A-4F3DB7213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latin typeface="+mj-lt"/>
              </a:rPr>
              <a:t>‹#›</a:t>
            </a:fld>
            <a:endParaRPr lang="en-US" sz="800" b="0">
              <a:solidFill>
                <a:srgbClr val="959CA0"/>
              </a:solidFill>
              <a:latin typeface="+mj-lt"/>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86799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2026-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04067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Freeform: Shape 42">
            <a:extLst>
              <a:ext uri="{FF2B5EF4-FFF2-40B4-BE49-F238E27FC236}">
                <a16:creationId xmlns:a16="http://schemas.microsoft.com/office/drawing/2014/main" id="{C8F8E4AD-69DF-58FE-0B96-906A5A61D577}"/>
              </a:ext>
            </a:extLst>
          </p:cNvPr>
          <p:cNvSpPr/>
          <p:nvPr userDrawn="1"/>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gradFill>
            <a:gsLst>
              <a:gs pos="15000">
                <a:srgbClr val="140B42"/>
              </a:gs>
              <a:gs pos="80000">
                <a:srgbClr val="005587"/>
              </a:gs>
            </a:gsLst>
            <a:lin ang="2700000" scaled="0"/>
          </a:gradFill>
          <a:ln w="12700" cap="flat" cmpd="sng" algn="ctr">
            <a:noFill/>
            <a:prstDash val="solid"/>
            <a:miter lim="800000"/>
          </a:ln>
          <a:effectLst/>
        </p:spPr>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0042"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a:t>
            </a:r>
            <a:b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b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the United States, the European Union, and various other countries. </a:t>
            </a:r>
          </a:p>
        </p:txBody>
      </p:sp>
      <p:sp>
        <p:nvSpPr>
          <p:cNvPr id="29" name="Picture Placeholder 28">
            <a:extLst>
              <a:ext uri="{FF2B5EF4-FFF2-40B4-BE49-F238E27FC236}">
                <a16:creationId xmlns:a16="http://schemas.microsoft.com/office/drawing/2014/main" id="{ABDF996A-067F-C41E-7B0E-6CA1AB5BF3DB}"/>
              </a:ext>
            </a:extLst>
          </p:cNvPr>
          <p:cNvSpPr>
            <a:spLocks noGrp="1"/>
          </p:cNvSpPr>
          <p:nvPr>
            <p:ph type="pic" sz="quarter" idx="16" hasCustomPrompt="1"/>
          </p:nvPr>
        </p:nvSpPr>
        <p:spPr>
          <a:xfrm>
            <a:off x="3165812" y="0"/>
            <a:ext cx="9026188" cy="6858000"/>
          </a:xfrm>
          <a:custGeom>
            <a:avLst/>
            <a:gdLst>
              <a:gd name="connsiteX0" fmla="*/ 0 w 9026188"/>
              <a:gd name="connsiteY0" fmla="*/ 0 h 6858000"/>
              <a:gd name="connsiteX1" fmla="*/ 9026188 w 9026188"/>
              <a:gd name="connsiteY1" fmla="*/ 0 h 6858000"/>
              <a:gd name="connsiteX2" fmla="*/ 9026188 w 9026188"/>
              <a:gd name="connsiteY2" fmla="*/ 6858000 h 6858000"/>
              <a:gd name="connsiteX3" fmla="*/ 0 w 9026188"/>
              <a:gd name="connsiteY3" fmla="*/ 6858000 h 6858000"/>
              <a:gd name="connsiteX4" fmla="*/ 3429000 w 9026188"/>
              <a:gd name="connsiteY4" fmla="*/ 3429000 h 6858000"/>
              <a:gd name="connsiteX5" fmla="*/ 0 w 902618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188" h="6858000">
                <a:moveTo>
                  <a:pt x="0" y="0"/>
                </a:moveTo>
                <a:lnTo>
                  <a:pt x="9026188" y="0"/>
                </a:lnTo>
                <a:lnTo>
                  <a:pt x="9026188" y="6858000"/>
                </a:ln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14" name="Text Placeholder 13">
            <a:extLst>
              <a:ext uri="{FF2B5EF4-FFF2-40B4-BE49-F238E27FC236}">
                <a16:creationId xmlns:a16="http://schemas.microsoft.com/office/drawing/2014/main" id="{C88A32BA-45AE-C130-28F4-09992A9871F3}"/>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8457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2026-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82581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2F88DAF-07DE-80FF-028B-5A5FF467DA01}"/>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8E4AD-69DF-58FE-0B96-906A5A61D577}"/>
              </a:ext>
            </a:extLst>
          </p:cNvPr>
          <p:cNvSpPr/>
          <p:nvPr userDrawn="1"/>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solidFill>
            <a:schemeClr val="bg1"/>
          </a:solidFill>
          <a:ln w="12700" cap="flat" cmpd="sng" algn="ctr">
            <a:noFill/>
            <a:prstDash val="solid"/>
            <a:miter lim="800000"/>
          </a:ln>
          <a:effectLst/>
        </p:spPr>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a:t>
            </a:r>
            <a:b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b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the United States, the European Union, and various other countries. </a:t>
            </a:r>
          </a:p>
        </p:txBody>
      </p:sp>
      <p:sp>
        <p:nvSpPr>
          <p:cNvPr id="38" name="Picture Placeholder 37">
            <a:extLst>
              <a:ext uri="{FF2B5EF4-FFF2-40B4-BE49-F238E27FC236}">
                <a16:creationId xmlns:a16="http://schemas.microsoft.com/office/drawing/2014/main" id="{1B0524C2-AB74-83EE-C93A-A95B62225BD0}"/>
              </a:ext>
            </a:extLst>
          </p:cNvPr>
          <p:cNvSpPr>
            <a:spLocks noGrp="1"/>
          </p:cNvSpPr>
          <p:nvPr>
            <p:ph type="pic" sz="quarter" idx="14" hasCustomPrompt="1"/>
          </p:nvPr>
        </p:nvSpPr>
        <p:spPr>
          <a:xfrm>
            <a:off x="3267412" y="0"/>
            <a:ext cx="6434847" cy="6858000"/>
          </a:xfrm>
          <a:custGeom>
            <a:avLst/>
            <a:gdLst>
              <a:gd name="connsiteX0" fmla="*/ 0 w 6434847"/>
              <a:gd name="connsiteY0" fmla="*/ 0 h 6858000"/>
              <a:gd name="connsiteX1" fmla="*/ 3005847 w 6434847"/>
              <a:gd name="connsiteY1" fmla="*/ 0 h 6858000"/>
              <a:gd name="connsiteX2" fmla="*/ 6434847 w 6434847"/>
              <a:gd name="connsiteY2" fmla="*/ 3429000 h 6858000"/>
              <a:gd name="connsiteX3" fmla="*/ 3005847 w 6434847"/>
              <a:gd name="connsiteY3" fmla="*/ 6858000 h 6858000"/>
              <a:gd name="connsiteX4" fmla="*/ 0 w 6434847"/>
              <a:gd name="connsiteY4" fmla="*/ 6858000 h 6858000"/>
              <a:gd name="connsiteX5" fmla="*/ 3429000 w 6434847"/>
              <a:gd name="connsiteY5" fmla="*/ 3429000 h 6858000"/>
              <a:gd name="connsiteX6" fmla="*/ 0 w 643484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4847" h="6858000">
                <a:moveTo>
                  <a:pt x="0" y="0"/>
                </a:moveTo>
                <a:lnTo>
                  <a:pt x="3005847" y="0"/>
                </a:lnTo>
                <a:cubicBezTo>
                  <a:pt x="4899631" y="0"/>
                  <a:pt x="6434847" y="1535216"/>
                  <a:pt x="6434847" y="3429000"/>
                </a:cubicBezTo>
                <a:cubicBezTo>
                  <a:pt x="6434847" y="5322784"/>
                  <a:pt x="4899631" y="6858000"/>
                  <a:pt x="3005847" y="6858000"/>
                </a:cubicBez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749040" anchor="ctr">
            <a:noAutofit/>
          </a:bodyPr>
          <a:lstStyle>
            <a:lvl1pPr marL="0" indent="0" algn="r">
              <a:buNone/>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9" name="Text Placeholder 13">
            <a:extLst>
              <a:ext uri="{FF2B5EF4-FFF2-40B4-BE49-F238E27FC236}">
                <a16:creationId xmlns:a16="http://schemas.microsoft.com/office/drawing/2014/main" id="{EC55EDFF-03EC-F7FE-A5CE-E9171F0FDEE1}"/>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6216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 2026-03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643414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19149D81-FD4B-DC76-CAF0-EE426536CA3B}"/>
              </a:ext>
            </a:extLst>
          </p:cNvPr>
          <p:cNvSpPr>
            <a:spLocks noGrp="1"/>
          </p:cNvSpPr>
          <p:nvPr>
            <p:ph type="pic" sz="quarter" idx="16" hasCustomPrompt="1"/>
          </p:nvPr>
        </p:nvSpPr>
        <p:spPr>
          <a:xfrm>
            <a:off x="7198473" y="2"/>
            <a:ext cx="4993529" cy="6857999"/>
          </a:xfrm>
          <a:custGeom>
            <a:avLst/>
            <a:gdLst>
              <a:gd name="connsiteX0" fmla="*/ 1703159 w 4993529"/>
              <a:gd name="connsiteY0" fmla="*/ 0 h 6857999"/>
              <a:gd name="connsiteX1" fmla="*/ 4993529 w 4993529"/>
              <a:gd name="connsiteY1" fmla="*/ 0 h 6857999"/>
              <a:gd name="connsiteX2" fmla="*/ 4993529 w 4993529"/>
              <a:gd name="connsiteY2" fmla="*/ 6857999 h 6857999"/>
              <a:gd name="connsiteX3" fmla="*/ 1703166 w 4993529"/>
              <a:gd name="connsiteY3" fmla="*/ 6857999 h 6857999"/>
              <a:gd name="connsiteX4" fmla="*/ 1566432 w 4993529"/>
              <a:gd name="connsiteY4" fmla="*/ 6750547 h 6857999"/>
              <a:gd name="connsiteX5" fmla="*/ 0 w 4993529"/>
              <a:gd name="connsiteY5" fmla="*/ 3428996 h 6857999"/>
              <a:gd name="connsiteX6" fmla="*/ 1566433 w 4993529"/>
              <a:gd name="connsiteY6" fmla="*/ 10744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3529" h="6857999">
                <a:moveTo>
                  <a:pt x="1703159" y="0"/>
                </a:moveTo>
                <a:lnTo>
                  <a:pt x="4993529" y="0"/>
                </a:lnTo>
                <a:lnTo>
                  <a:pt x="4993529" y="6857999"/>
                </a:lnTo>
                <a:lnTo>
                  <a:pt x="1703166" y="6857999"/>
                </a:lnTo>
                <a:lnTo>
                  <a:pt x="1566432" y="6750547"/>
                </a:lnTo>
                <a:cubicBezTo>
                  <a:pt x="609773" y="5961041"/>
                  <a:pt x="0" y="4766229"/>
                  <a:pt x="0" y="3428996"/>
                </a:cubicBezTo>
                <a:cubicBezTo>
                  <a:pt x="1" y="2091763"/>
                  <a:pt x="609775" y="896951"/>
                  <a:pt x="1566433" y="107445"/>
                </a:cubicBezTo>
                <a:close/>
              </a:path>
            </a:pathLst>
          </a:custGeom>
          <a:blipFill>
            <a:blip r:embed="rId5"/>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8" y="3669831"/>
            <a:ext cx="5578912" cy="954942"/>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46909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1383229" y="83754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62" name="Graphic 61">
            <a:extLst>
              <a:ext uri="{FF2B5EF4-FFF2-40B4-BE49-F238E27FC236}">
                <a16:creationId xmlns:a16="http://schemas.microsoft.com/office/drawing/2014/main" id="{734FFF4D-C595-1C02-3284-439FA4259BB6}"/>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17" name="TextBox 16">
            <a:extLst>
              <a:ext uri="{FF2B5EF4-FFF2-40B4-BE49-F238E27FC236}">
                <a16:creationId xmlns:a16="http://schemas.microsoft.com/office/drawing/2014/main" id="{05D16DF4-1248-421F-6EC8-178149D3D334}"/>
              </a:ext>
            </a:extLst>
          </p:cNvPr>
          <p:cNvSpPr txBox="1"/>
          <p:nvPr userDrawn="1"/>
        </p:nvSpPr>
        <p:spPr bwMode="black">
          <a:xfrm>
            <a:off x="5602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the United States, the European Union, and various other countries. </a:t>
            </a:r>
          </a:p>
        </p:txBody>
      </p:sp>
      <p:sp>
        <p:nvSpPr>
          <p:cNvPr id="18" name="Rectangle: Top Corners Rounded 17">
            <a:extLst>
              <a:ext uri="{FF2B5EF4-FFF2-40B4-BE49-F238E27FC236}">
                <a16:creationId xmlns:a16="http://schemas.microsoft.com/office/drawing/2014/main" id="{0A5D0DDA-43DE-B7ED-926F-B2A9412B7D7B}"/>
              </a:ext>
            </a:extLst>
          </p:cNvPr>
          <p:cNvSpPr/>
          <p:nvPr userDrawn="1"/>
        </p:nvSpPr>
        <p:spPr>
          <a:xfrm rot="5400000">
            <a:off x="361950" y="349250"/>
            <a:ext cx="551180" cy="127508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Text Placeholder 13">
            <a:extLst>
              <a:ext uri="{FF2B5EF4-FFF2-40B4-BE49-F238E27FC236}">
                <a16:creationId xmlns:a16="http://schemas.microsoft.com/office/drawing/2014/main" id="{840BC821-F126-C42A-9321-67F78D8191C2}"/>
              </a:ext>
            </a:extLst>
          </p:cNvPr>
          <p:cNvSpPr>
            <a:spLocks noGrp="1"/>
          </p:cNvSpPr>
          <p:nvPr>
            <p:ph type="body" sz="quarter" idx="17" hasCustomPrompt="1"/>
          </p:nvPr>
        </p:nvSpPr>
        <p:spPr>
          <a:xfrm>
            <a:off x="560268" y="4736677"/>
            <a:ext cx="5578912"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18679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2026-04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494448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ADE7A219-BFB8-A500-5B97-DA711CAAB05D}"/>
              </a:ext>
            </a:extLst>
          </p:cNvPr>
          <p:cNvSpPr/>
          <p:nvPr userDrawn="1"/>
        </p:nvSpPr>
        <p:spPr>
          <a:xfrm>
            <a:off x="-2" y="-1"/>
            <a:ext cx="121920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185957"/>
            <a:ext cx="5198505"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5683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5" name="Graphic 4">
            <a:extLst>
              <a:ext uri="{FF2B5EF4-FFF2-40B4-BE49-F238E27FC236}">
                <a16:creationId xmlns:a16="http://schemas.microsoft.com/office/drawing/2014/main" id="{353F45A5-691A-331A-0A5E-EF9DC3E5E9D0}"/>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10042" y="5757573"/>
            <a:ext cx="2212298" cy="399963"/>
          </a:xfrm>
          <a:prstGeom prst="rect">
            <a:avLst/>
          </a:prstGeom>
        </p:spPr>
      </p:pic>
      <p:sp>
        <p:nvSpPr>
          <p:cNvPr id="21" name="Rectangle: Top Corners Rounded 20">
            <a:extLst>
              <a:ext uri="{FF2B5EF4-FFF2-40B4-BE49-F238E27FC236}">
                <a16:creationId xmlns:a16="http://schemas.microsoft.com/office/drawing/2014/main" id="{990F88C9-134E-565F-6E26-6417D9962BB5}"/>
              </a:ext>
            </a:extLst>
          </p:cNvPr>
          <p:cNvSpPr/>
          <p:nvPr userDrawn="1"/>
        </p:nvSpPr>
        <p:spPr>
          <a:xfrm rot="5400000">
            <a:off x="1858678" y="1846115"/>
            <a:ext cx="1127091" cy="484445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3696104"/>
            <a:ext cx="4187369" cy="1139792"/>
          </a:xfrm>
          <a:prstGeom prst="rect">
            <a:avLst/>
          </a:prstGeom>
        </p:spPr>
        <p:txBody>
          <a:bodyPr anchor="ctr">
            <a:noAutofit/>
          </a:bodyPr>
          <a:lstStyle>
            <a:lvl1pPr marL="0" indent="0" algn="l">
              <a:lnSpc>
                <a:spcPct val="100000"/>
              </a:lnSpc>
              <a:spcBef>
                <a:spcPts val="0"/>
              </a:spcBef>
              <a:buNone/>
              <a:defRPr sz="2000" b="0" i="0">
                <a:solidFill>
                  <a:schemeClr val="tx2"/>
                </a:solidFill>
                <a:latin typeface="+mj-lt"/>
              </a:defRPr>
            </a:lvl1pPr>
          </a:lstStyle>
          <a:p>
            <a:pPr lvl="0"/>
            <a:r>
              <a:rPr lang="en-US"/>
              <a:t>Subheads are 20pt Noto Sans sentence case</a:t>
            </a:r>
          </a:p>
        </p:txBody>
      </p:sp>
      <p:sp>
        <p:nvSpPr>
          <p:cNvPr id="23" name="TextBox 22">
            <a:extLst>
              <a:ext uri="{FF2B5EF4-FFF2-40B4-BE49-F238E27FC236}">
                <a16:creationId xmlns:a16="http://schemas.microsoft.com/office/drawing/2014/main" id="{740A9D05-7CC8-8C49-7E62-59B4C4A868DE}"/>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the United States, the European Union, and various other countries. </a:t>
            </a:r>
          </a:p>
        </p:txBody>
      </p:sp>
      <p:sp>
        <p:nvSpPr>
          <p:cNvPr id="28" name="Freeform: Shape 27">
            <a:extLst>
              <a:ext uri="{FF2B5EF4-FFF2-40B4-BE49-F238E27FC236}">
                <a16:creationId xmlns:a16="http://schemas.microsoft.com/office/drawing/2014/main" id="{236EA6A8-471B-A5CE-D31B-50ED62AD5F2C}"/>
              </a:ext>
            </a:extLst>
          </p:cNvPr>
          <p:cNvSpPr/>
          <p:nvPr userDrawn="1"/>
        </p:nvSpPr>
        <p:spPr>
          <a:xfrm>
            <a:off x="11385549" y="2754630"/>
            <a:ext cx="806451" cy="1520190"/>
          </a:xfrm>
          <a:custGeom>
            <a:avLst/>
            <a:gdLst>
              <a:gd name="connsiteX0" fmla="*/ 760095 w 806451"/>
              <a:gd name="connsiteY0" fmla="*/ 0 h 1520190"/>
              <a:gd name="connsiteX1" fmla="*/ 806451 w 806451"/>
              <a:gd name="connsiteY1" fmla="*/ 0 h 1520190"/>
              <a:gd name="connsiteX2" fmla="*/ 806451 w 806451"/>
              <a:gd name="connsiteY2" fmla="*/ 1520190 h 1520190"/>
              <a:gd name="connsiteX3" fmla="*/ 760095 w 806451"/>
              <a:gd name="connsiteY3" fmla="*/ 1520190 h 1520190"/>
              <a:gd name="connsiteX4" fmla="*/ 0 w 806451"/>
              <a:gd name="connsiteY4" fmla="*/ 760095 h 1520190"/>
              <a:gd name="connsiteX5" fmla="*/ 760095 w 806451"/>
              <a:gd name="connsiteY5" fmla="*/ 0 h 152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451" h="1520190">
                <a:moveTo>
                  <a:pt x="760095" y="0"/>
                </a:moveTo>
                <a:lnTo>
                  <a:pt x="806451" y="0"/>
                </a:lnTo>
                <a:lnTo>
                  <a:pt x="806451" y="1520190"/>
                </a:lnTo>
                <a:lnTo>
                  <a:pt x="760095" y="1520190"/>
                </a:lnTo>
                <a:cubicBezTo>
                  <a:pt x="340306" y="1520190"/>
                  <a:pt x="0" y="1179884"/>
                  <a:pt x="0" y="760095"/>
                </a:cubicBezTo>
                <a:cubicBezTo>
                  <a:pt x="0" y="340306"/>
                  <a:pt x="340306" y="0"/>
                  <a:pt x="760095" y="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9" name="Oval 28">
            <a:extLst>
              <a:ext uri="{FF2B5EF4-FFF2-40B4-BE49-F238E27FC236}">
                <a16:creationId xmlns:a16="http://schemas.microsoft.com/office/drawing/2014/main" id="{9AB1090A-172E-249E-20D1-9ED6F9778154}"/>
              </a:ext>
            </a:extLst>
          </p:cNvPr>
          <p:cNvSpPr/>
          <p:nvPr userDrawn="1"/>
        </p:nvSpPr>
        <p:spPr>
          <a:xfrm>
            <a:off x="8154670" y="3101975"/>
            <a:ext cx="825500" cy="825500"/>
          </a:xfrm>
          <a:prstGeom prst="ellipse">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7" name="Rectangle: Rounded Corners 36">
            <a:extLst>
              <a:ext uri="{FF2B5EF4-FFF2-40B4-BE49-F238E27FC236}">
                <a16:creationId xmlns:a16="http://schemas.microsoft.com/office/drawing/2014/main" id="{E78834BD-6122-8897-155C-7D8AAA482567}"/>
              </a:ext>
            </a:extLst>
          </p:cNvPr>
          <p:cNvSpPr/>
          <p:nvPr userDrawn="1"/>
        </p:nvSpPr>
        <p:spPr>
          <a:xfrm>
            <a:off x="5938520" y="882316"/>
            <a:ext cx="2494280" cy="963930"/>
          </a:xfrm>
          <a:prstGeom prst="roundRect">
            <a:avLst>
              <a:gd name="adj" fmla="val 50000"/>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2" name="Freeform: Shape 41">
            <a:extLst>
              <a:ext uri="{FF2B5EF4-FFF2-40B4-BE49-F238E27FC236}">
                <a16:creationId xmlns:a16="http://schemas.microsoft.com/office/drawing/2014/main" id="{3536A388-F38A-423D-0271-552744C160CC}"/>
              </a:ext>
            </a:extLst>
          </p:cNvPr>
          <p:cNvSpPr/>
          <p:nvPr userDrawn="1"/>
        </p:nvSpPr>
        <p:spPr>
          <a:xfrm>
            <a:off x="10173970" y="5084778"/>
            <a:ext cx="2018031" cy="782320"/>
          </a:xfrm>
          <a:custGeom>
            <a:avLst/>
            <a:gdLst>
              <a:gd name="connsiteX0" fmla="*/ 391160 w 2018031"/>
              <a:gd name="connsiteY0" fmla="*/ 0 h 782320"/>
              <a:gd name="connsiteX1" fmla="*/ 2018031 w 2018031"/>
              <a:gd name="connsiteY1" fmla="*/ 0 h 782320"/>
              <a:gd name="connsiteX2" fmla="*/ 2018031 w 2018031"/>
              <a:gd name="connsiteY2" fmla="*/ 782320 h 782320"/>
              <a:gd name="connsiteX3" fmla="*/ 391160 w 2018031"/>
              <a:gd name="connsiteY3" fmla="*/ 782320 h 782320"/>
              <a:gd name="connsiteX4" fmla="*/ 0 w 2018031"/>
              <a:gd name="connsiteY4" fmla="*/ 391160 h 782320"/>
              <a:gd name="connsiteX5" fmla="*/ 391160 w 2018031"/>
              <a:gd name="connsiteY5" fmla="*/ 0 h 782320"/>
              <a:gd name="connsiteX0" fmla="*/ 2018031 w 2109471"/>
              <a:gd name="connsiteY0" fmla="*/ 782320 h 873760"/>
              <a:gd name="connsiteX1" fmla="*/ 391160 w 2109471"/>
              <a:gd name="connsiteY1" fmla="*/ 782320 h 873760"/>
              <a:gd name="connsiteX2" fmla="*/ 0 w 2109471"/>
              <a:gd name="connsiteY2" fmla="*/ 391160 h 873760"/>
              <a:gd name="connsiteX3" fmla="*/ 391160 w 2109471"/>
              <a:gd name="connsiteY3" fmla="*/ 0 h 873760"/>
              <a:gd name="connsiteX4" fmla="*/ 2018031 w 2109471"/>
              <a:gd name="connsiteY4" fmla="*/ 0 h 873760"/>
              <a:gd name="connsiteX5" fmla="*/ 2109471 w 2109471"/>
              <a:gd name="connsiteY5" fmla="*/ 873760 h 873760"/>
              <a:gd name="connsiteX0" fmla="*/ 2018031 w 2018031"/>
              <a:gd name="connsiteY0" fmla="*/ 782320 h 782320"/>
              <a:gd name="connsiteX1" fmla="*/ 391160 w 2018031"/>
              <a:gd name="connsiteY1" fmla="*/ 782320 h 782320"/>
              <a:gd name="connsiteX2" fmla="*/ 0 w 2018031"/>
              <a:gd name="connsiteY2" fmla="*/ 391160 h 782320"/>
              <a:gd name="connsiteX3" fmla="*/ 391160 w 2018031"/>
              <a:gd name="connsiteY3" fmla="*/ 0 h 782320"/>
              <a:gd name="connsiteX4" fmla="*/ 2018031 w 2018031"/>
              <a:gd name="connsiteY4" fmla="*/ 0 h 78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031" h="782320">
                <a:moveTo>
                  <a:pt x="2018031" y="782320"/>
                </a:moveTo>
                <a:lnTo>
                  <a:pt x="391160" y="782320"/>
                </a:lnTo>
                <a:cubicBezTo>
                  <a:pt x="175128" y="782320"/>
                  <a:pt x="0" y="607192"/>
                  <a:pt x="0" y="391160"/>
                </a:cubicBezTo>
                <a:cubicBezTo>
                  <a:pt x="0" y="175128"/>
                  <a:pt x="175128" y="0"/>
                  <a:pt x="391160" y="0"/>
                </a:cubicBezTo>
                <a:lnTo>
                  <a:pt x="2018031" y="0"/>
                </a:lnTo>
              </a:path>
            </a:pathLst>
          </a:cu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58" name="Picture Placeholder 57">
            <a:extLst>
              <a:ext uri="{FF2B5EF4-FFF2-40B4-BE49-F238E27FC236}">
                <a16:creationId xmlns:a16="http://schemas.microsoft.com/office/drawing/2014/main" id="{4B3972EC-C773-5A43-FB97-099CB4BCD367}"/>
              </a:ext>
            </a:extLst>
          </p:cNvPr>
          <p:cNvSpPr>
            <a:spLocks noGrp="1"/>
          </p:cNvSpPr>
          <p:nvPr>
            <p:ph type="pic" sz="quarter" idx="14" hasCustomPrompt="1"/>
          </p:nvPr>
        </p:nvSpPr>
        <p:spPr>
          <a:xfrm>
            <a:off x="6022975" y="4600908"/>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0" name="Picture Placeholder 59">
            <a:extLst>
              <a:ext uri="{FF2B5EF4-FFF2-40B4-BE49-F238E27FC236}">
                <a16:creationId xmlns:a16="http://schemas.microsoft.com/office/drawing/2014/main" id="{21C08761-BCFD-2804-56C5-147560B27512}"/>
              </a:ext>
            </a:extLst>
          </p:cNvPr>
          <p:cNvSpPr>
            <a:spLocks noGrp="1"/>
          </p:cNvSpPr>
          <p:nvPr>
            <p:ph type="pic" sz="quarter" idx="15" hasCustomPrompt="1"/>
          </p:nvPr>
        </p:nvSpPr>
        <p:spPr>
          <a:xfrm>
            <a:off x="9511025" y="2779604"/>
            <a:ext cx="1470242" cy="1470242"/>
          </a:xfrm>
          <a:prstGeom prst="ellipse">
            <a:avLst/>
          </a:prstGeom>
          <a:blipFill>
            <a:blip r:embed="rId7"/>
            <a:stretch>
              <a:fillRect/>
            </a:stretch>
          </a:blipFill>
        </p:spPr>
        <p:txBody>
          <a:bodyPr wrap="none"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b="1" kern="1200" dirty="0">
                <a:solidFill>
                  <a:srgbClr val="DA291C"/>
                </a:solidFill>
                <a:latin typeface="+mn-lt"/>
                <a:ea typeface="+mn-ea"/>
                <a:cs typeface="+mn-cs"/>
              </a:defRPr>
            </a:lvl1pPr>
          </a:lstStyle>
          <a:p>
            <a:r>
              <a:rPr lang="en-US"/>
              <a:t>Click to </a:t>
            </a:r>
            <a:br>
              <a:rPr lang="en-US"/>
            </a:br>
            <a:r>
              <a:rPr lang="en-US"/>
              <a:t>add image</a:t>
            </a:r>
          </a:p>
        </p:txBody>
      </p:sp>
      <p:sp>
        <p:nvSpPr>
          <p:cNvPr id="7" name="Picture Placeholder 6">
            <a:extLst>
              <a:ext uri="{FF2B5EF4-FFF2-40B4-BE49-F238E27FC236}">
                <a16:creationId xmlns:a16="http://schemas.microsoft.com/office/drawing/2014/main" id="{7A93C421-0BFF-D458-4C46-91C277AFC2F7}"/>
              </a:ext>
            </a:extLst>
          </p:cNvPr>
          <p:cNvSpPr>
            <a:spLocks noGrp="1"/>
          </p:cNvSpPr>
          <p:nvPr>
            <p:ph type="pic" sz="quarter" idx="16" hasCustomPrompt="1"/>
          </p:nvPr>
        </p:nvSpPr>
        <p:spPr>
          <a:xfrm>
            <a:off x="7569200" y="488950"/>
            <a:ext cx="3587750" cy="1750662"/>
          </a:xfrm>
          <a:custGeom>
            <a:avLst/>
            <a:gdLst>
              <a:gd name="connsiteX0" fmla="*/ 875331 w 3587750"/>
              <a:gd name="connsiteY0" fmla="*/ 0 h 1750662"/>
              <a:gd name="connsiteX1" fmla="*/ 2712419 w 3587750"/>
              <a:gd name="connsiteY1" fmla="*/ 0 h 1750662"/>
              <a:gd name="connsiteX2" fmla="*/ 3587750 w 3587750"/>
              <a:gd name="connsiteY2" fmla="*/ 875331 h 1750662"/>
              <a:gd name="connsiteX3" fmla="*/ 2712419 w 3587750"/>
              <a:gd name="connsiteY3" fmla="*/ 1750662 h 1750662"/>
              <a:gd name="connsiteX4" fmla="*/ 875331 w 3587750"/>
              <a:gd name="connsiteY4" fmla="*/ 1750662 h 1750662"/>
              <a:gd name="connsiteX5" fmla="*/ 0 w 3587750"/>
              <a:gd name="connsiteY5" fmla="*/ 875331 h 1750662"/>
              <a:gd name="connsiteX6" fmla="*/ 875331 w 3587750"/>
              <a:gd name="connsiteY6" fmla="*/ 0 h 175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7750" h="1750662">
                <a:moveTo>
                  <a:pt x="875331" y="0"/>
                </a:moveTo>
                <a:lnTo>
                  <a:pt x="2712419" y="0"/>
                </a:lnTo>
                <a:cubicBezTo>
                  <a:pt x="3195851" y="0"/>
                  <a:pt x="3587750" y="391899"/>
                  <a:pt x="3587750" y="875331"/>
                </a:cubicBezTo>
                <a:cubicBezTo>
                  <a:pt x="3587750" y="1358763"/>
                  <a:pt x="3195851" y="1750662"/>
                  <a:pt x="2712419" y="1750662"/>
                </a:cubicBezTo>
                <a:lnTo>
                  <a:pt x="875331" y="1750662"/>
                </a:lnTo>
                <a:cubicBezTo>
                  <a:pt x="391899" y="1750662"/>
                  <a:pt x="0" y="1358763"/>
                  <a:pt x="0" y="875331"/>
                </a:cubicBezTo>
                <a:cubicBezTo>
                  <a:pt x="0" y="391899"/>
                  <a:pt x="391899" y="0"/>
                  <a:pt x="875331" y="0"/>
                </a:cubicBezTo>
                <a:close/>
              </a:path>
            </a:pathLst>
          </a:custGeom>
          <a:blipFill>
            <a:blip r:embed="rId8"/>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2" name="Text Placeholder 13">
            <a:extLst>
              <a:ext uri="{FF2B5EF4-FFF2-40B4-BE49-F238E27FC236}">
                <a16:creationId xmlns:a16="http://schemas.microsoft.com/office/drawing/2014/main" id="{410DB0DD-3550-AA3A-3964-0928F4F14294}"/>
              </a:ext>
            </a:extLst>
          </p:cNvPr>
          <p:cNvSpPr>
            <a:spLocks noGrp="1"/>
          </p:cNvSpPr>
          <p:nvPr>
            <p:ph type="body" sz="quarter" idx="17" hasCustomPrompt="1"/>
          </p:nvPr>
        </p:nvSpPr>
        <p:spPr>
          <a:xfrm>
            <a:off x="560269" y="4908128"/>
            <a:ext cx="4187369"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85064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2026-05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140211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2EF3D7E1-E5A6-9F41-9CF8-AAAEB02D2F1C}"/>
              </a:ext>
            </a:extLst>
          </p:cNvPr>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2" name="Graphic 1">
            <a:extLst>
              <a:ext uri="{FF2B5EF4-FFF2-40B4-BE49-F238E27FC236}">
                <a16:creationId xmlns:a16="http://schemas.microsoft.com/office/drawing/2014/main" id="{DFB796EA-5FE4-C00B-C632-B6DD2037CA9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7" name="Text Placeholder 21">
            <a:extLst>
              <a:ext uri="{FF2B5EF4-FFF2-40B4-BE49-F238E27FC236}">
                <a16:creationId xmlns:a16="http://schemas.microsoft.com/office/drawing/2014/main" id="{12F89F06-2842-6C78-F8B9-DF481DE16163}"/>
              </a:ext>
            </a:extLst>
          </p:cNvPr>
          <p:cNvSpPr>
            <a:spLocks noGrp="1"/>
          </p:cNvSpPr>
          <p:nvPr>
            <p:ph type="body" sz="quarter" idx="11" hasCustomPrompt="1"/>
          </p:nvPr>
        </p:nvSpPr>
        <p:spPr>
          <a:xfrm>
            <a:off x="6948369" y="454542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8" name="Title 1">
            <a:extLst>
              <a:ext uri="{FF2B5EF4-FFF2-40B4-BE49-F238E27FC236}">
                <a16:creationId xmlns:a16="http://schemas.microsoft.com/office/drawing/2014/main" id="{C09011B2-930B-2726-A34F-9595F38F67E6}"/>
              </a:ext>
            </a:extLst>
          </p:cNvPr>
          <p:cNvSpPr>
            <a:spLocks noGrp="1"/>
          </p:cNvSpPr>
          <p:nvPr>
            <p:ph type="ctrTitle" hasCustomPrompt="1"/>
          </p:nvPr>
        </p:nvSpPr>
        <p:spPr>
          <a:xfrm>
            <a:off x="6948369" y="2283169"/>
            <a:ext cx="4849931"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9" name="Subtitle 2">
            <a:extLst>
              <a:ext uri="{FF2B5EF4-FFF2-40B4-BE49-F238E27FC236}">
                <a16:creationId xmlns:a16="http://schemas.microsoft.com/office/drawing/2014/main" id="{817DEC49-9F6E-FEDD-D9A7-746572D694B9}"/>
              </a:ext>
            </a:extLst>
          </p:cNvPr>
          <p:cNvSpPr>
            <a:spLocks noGrp="1"/>
          </p:cNvSpPr>
          <p:nvPr>
            <p:ph type="subTitle" idx="1" hasCustomPrompt="1"/>
          </p:nvPr>
        </p:nvSpPr>
        <p:spPr>
          <a:xfrm>
            <a:off x="6948369" y="174051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4" name="TextBox 13">
            <a:extLst>
              <a:ext uri="{FF2B5EF4-FFF2-40B4-BE49-F238E27FC236}">
                <a16:creationId xmlns:a16="http://schemas.microsoft.com/office/drawing/2014/main" id="{F44FBDBE-CB0C-FA03-27E9-222DD602C14A}"/>
              </a:ext>
            </a:extLst>
          </p:cNvPr>
          <p:cNvSpPr txBox="1"/>
          <p:nvPr userDrawn="1"/>
        </p:nvSpPr>
        <p:spPr bwMode="black">
          <a:xfrm>
            <a:off x="40754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the United States, the European Union, and various other countries. </a:t>
            </a:r>
          </a:p>
        </p:txBody>
      </p:sp>
      <p:grpSp>
        <p:nvGrpSpPr>
          <p:cNvPr id="4" name="Group 3">
            <a:extLst>
              <a:ext uri="{FF2B5EF4-FFF2-40B4-BE49-F238E27FC236}">
                <a16:creationId xmlns:a16="http://schemas.microsoft.com/office/drawing/2014/main" id="{B5787C3C-B50B-409B-D239-AC6FD72699C3}"/>
              </a:ext>
            </a:extLst>
          </p:cNvPr>
          <p:cNvGrpSpPr/>
          <p:nvPr userDrawn="1"/>
        </p:nvGrpSpPr>
        <p:grpSpPr>
          <a:xfrm>
            <a:off x="-5079" y="0"/>
            <a:ext cx="6333420" cy="6858000"/>
            <a:chOff x="16581" y="0"/>
            <a:chExt cx="6333420" cy="6858000"/>
          </a:xfrm>
        </p:grpSpPr>
        <p:sp>
          <p:nvSpPr>
            <p:cNvPr id="5" name="Rectangle: Top Corners Rounded 4">
              <a:extLst>
                <a:ext uri="{FF2B5EF4-FFF2-40B4-BE49-F238E27FC236}">
                  <a16:creationId xmlns:a16="http://schemas.microsoft.com/office/drawing/2014/main" id="{C25A6BEA-005B-9875-2AE7-6D57A7F0472B}"/>
                </a:ext>
              </a:extLst>
            </p:cNvPr>
            <p:cNvSpPr/>
            <p:nvPr userDrawn="1"/>
          </p:nvSpPr>
          <p:spPr>
            <a:xfrm rot="5400000">
              <a:off x="5116" y="2759744"/>
              <a:ext cx="4114800" cy="4081711"/>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
          <p:nvSpPr>
            <p:cNvPr id="6" name="Freeform: Shape 5">
              <a:extLst>
                <a:ext uri="{FF2B5EF4-FFF2-40B4-BE49-F238E27FC236}">
                  <a16:creationId xmlns:a16="http://schemas.microsoft.com/office/drawing/2014/main" id="{6DFBA484-25CD-1779-3A38-65ED15CCD6D6}"/>
                </a:ext>
              </a:extLst>
            </p:cNvPr>
            <p:cNvSpPr/>
            <p:nvPr userDrawn="1"/>
          </p:nvSpPr>
          <p:spPr>
            <a:xfrm>
              <a:off x="21660" y="0"/>
              <a:ext cx="6328341" cy="5552111"/>
            </a:xfrm>
            <a:custGeom>
              <a:avLst/>
              <a:gdLst>
                <a:gd name="connsiteX0" fmla="*/ 0 w 6328341"/>
                <a:gd name="connsiteY0" fmla="*/ 0 h 5552111"/>
                <a:gd name="connsiteX1" fmla="*/ 6328341 w 6328341"/>
                <a:gd name="connsiteY1" fmla="*/ 0 h 5552111"/>
                <a:gd name="connsiteX2" fmla="*/ 6328341 w 6328341"/>
                <a:gd name="connsiteY2" fmla="*/ 2377111 h 5552111"/>
                <a:gd name="connsiteX3" fmla="*/ 3153341 w 6328341"/>
                <a:gd name="connsiteY3" fmla="*/ 5552111 h 5552111"/>
                <a:gd name="connsiteX4" fmla="*/ 42846 w 6328341"/>
                <a:gd name="connsiteY4" fmla="*/ 3016984 h 5552111"/>
                <a:gd name="connsiteX5" fmla="*/ 0 w 6328341"/>
                <a:gd name="connsiteY5" fmla="*/ 2736246 h 555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8341" h="5552111">
                  <a:moveTo>
                    <a:pt x="0" y="0"/>
                  </a:moveTo>
                  <a:lnTo>
                    <a:pt x="6328341" y="0"/>
                  </a:lnTo>
                  <a:lnTo>
                    <a:pt x="6328341" y="2377111"/>
                  </a:lnTo>
                  <a:cubicBezTo>
                    <a:pt x="6328341" y="4130615"/>
                    <a:pt x="4906845" y="5552111"/>
                    <a:pt x="3153341" y="5552111"/>
                  </a:cubicBezTo>
                  <a:cubicBezTo>
                    <a:pt x="1619025" y="5552111"/>
                    <a:pt x="338903" y="4463778"/>
                    <a:pt x="42846" y="3016984"/>
                  </a:cubicBezTo>
                  <a:lnTo>
                    <a:pt x="0" y="2736246"/>
                  </a:lnTo>
                  <a:close/>
                </a:path>
              </a:pathLst>
            </a:custGeom>
            <a:gradFill>
              <a:gsLst>
                <a:gs pos="75000">
                  <a:srgbClr val="140A42"/>
                </a:gs>
                <a:gs pos="0">
                  <a:srgbClr val="00CCFF"/>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Freeform: Shape 9">
              <a:extLst>
                <a:ext uri="{FF2B5EF4-FFF2-40B4-BE49-F238E27FC236}">
                  <a16:creationId xmlns:a16="http://schemas.microsoft.com/office/drawing/2014/main" id="{DF9BA332-9382-C19F-66FE-99AB2FD12525}"/>
                </a:ext>
              </a:extLst>
            </p:cNvPr>
            <p:cNvSpPr/>
            <p:nvPr userDrawn="1"/>
          </p:nvSpPr>
          <p:spPr>
            <a:xfrm rot="5400000">
              <a:off x="652981" y="2106800"/>
              <a:ext cx="2808911" cy="4081711"/>
            </a:xfrm>
            <a:custGeom>
              <a:avLst/>
              <a:gdLst>
                <a:gd name="connsiteX0" fmla="*/ 0 w 2808911"/>
                <a:gd name="connsiteY0" fmla="*/ 4081711 h 4081711"/>
                <a:gd name="connsiteX1" fmla="*/ 0 w 2808911"/>
                <a:gd name="connsiteY1" fmla="*/ 2051686 h 4081711"/>
                <a:gd name="connsiteX2" fmla="*/ 2051686 w 2808911"/>
                <a:gd name="connsiteY2" fmla="*/ 0 h 4081711"/>
                <a:gd name="connsiteX3" fmla="*/ 2063115 w 2808911"/>
                <a:gd name="connsiteY3" fmla="*/ 0 h 4081711"/>
                <a:gd name="connsiteX4" fmla="*/ 2673224 w 2808911"/>
                <a:gd name="connsiteY4" fmla="*/ 92240 h 4081711"/>
                <a:gd name="connsiteX5" fmla="*/ 2699582 w 2808911"/>
                <a:gd name="connsiteY5" fmla="*/ 101887 h 4081711"/>
                <a:gd name="connsiteX6" fmla="*/ 2708954 w 2808911"/>
                <a:gd name="connsiteY6" fmla="*/ 134890 h 4081711"/>
                <a:gd name="connsiteX7" fmla="*/ 2808911 w 2808911"/>
                <a:gd name="connsiteY7" fmla="*/ 928372 h 4081711"/>
                <a:gd name="connsiteX8" fmla="*/ 117432 w 2808911"/>
                <a:gd name="connsiteY8" fmla="*/ 4066789 h 4081711"/>
                <a:gd name="connsiteX9" fmla="*/ 0 w 2808911"/>
                <a:gd name="connsiteY9" fmla="*/ 4081711 h 408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8911" h="4081711">
                  <a:moveTo>
                    <a:pt x="0" y="4081711"/>
                  </a:moveTo>
                  <a:lnTo>
                    <a:pt x="0" y="2051686"/>
                  </a:lnTo>
                  <a:cubicBezTo>
                    <a:pt x="0" y="918571"/>
                    <a:pt x="918572" y="-1"/>
                    <a:pt x="2051686" y="0"/>
                  </a:cubicBezTo>
                  <a:lnTo>
                    <a:pt x="2063115" y="0"/>
                  </a:lnTo>
                  <a:cubicBezTo>
                    <a:pt x="2275574" y="0"/>
                    <a:pt x="2480491" y="32293"/>
                    <a:pt x="2673224" y="92240"/>
                  </a:cubicBezTo>
                  <a:lnTo>
                    <a:pt x="2699582" y="101887"/>
                  </a:lnTo>
                  <a:lnTo>
                    <a:pt x="2708954" y="134890"/>
                  </a:lnTo>
                  <a:cubicBezTo>
                    <a:pt x="2774207" y="388507"/>
                    <a:pt x="2808911" y="654387"/>
                    <a:pt x="2808911" y="928372"/>
                  </a:cubicBezTo>
                  <a:cubicBezTo>
                    <a:pt x="2808911" y="2517485"/>
                    <a:pt x="1641452" y="3833923"/>
                    <a:pt x="117432" y="4066789"/>
                  </a:cubicBezTo>
                  <a:lnTo>
                    <a:pt x="0" y="408171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grpSp>
      <p:sp>
        <p:nvSpPr>
          <p:cNvPr id="11" name="Text Placeholder 13">
            <a:extLst>
              <a:ext uri="{FF2B5EF4-FFF2-40B4-BE49-F238E27FC236}">
                <a16:creationId xmlns:a16="http://schemas.microsoft.com/office/drawing/2014/main" id="{64565F74-6607-D645-F5A7-0A5632621C55}"/>
              </a:ext>
            </a:extLst>
          </p:cNvPr>
          <p:cNvSpPr>
            <a:spLocks noGrp="1"/>
          </p:cNvSpPr>
          <p:nvPr>
            <p:ph type="body" sz="quarter" idx="17" hasCustomPrompt="1"/>
          </p:nvPr>
        </p:nvSpPr>
        <p:spPr>
          <a:xfrm>
            <a:off x="6948369" y="575394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2335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2026-06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5285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CCE057E2-8B7A-030D-538C-6C18EF64073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 y="241300"/>
            <a:ext cx="11868149" cy="6362699"/>
          </a:xfrm>
          <a:prstGeom prst="rect">
            <a:avLst/>
          </a:prstGeom>
        </p:spPr>
      </p:pic>
      <p:sp>
        <p:nvSpPr>
          <p:cNvPr id="20" name="Rectangle: Rounded Corners 19">
            <a:extLst>
              <a:ext uri="{FF2B5EF4-FFF2-40B4-BE49-F238E27FC236}">
                <a16:creationId xmlns:a16="http://schemas.microsoft.com/office/drawing/2014/main" id="{E3DF00FD-7F50-5F6A-0211-01F10C408F79}"/>
              </a:ext>
            </a:extLst>
          </p:cNvPr>
          <p:cNvSpPr/>
          <p:nvPr userDrawn="1"/>
        </p:nvSpPr>
        <p:spPr>
          <a:xfrm rot="2700000">
            <a:off x="9559085" y="-38969"/>
            <a:ext cx="1593806" cy="357200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2" name="Rectangle: Rounded Corners 21">
            <a:extLst>
              <a:ext uri="{FF2B5EF4-FFF2-40B4-BE49-F238E27FC236}">
                <a16:creationId xmlns:a16="http://schemas.microsoft.com/office/drawing/2014/main" id="{0E54E32E-29E1-0CE9-9EB3-4299AC5BA551}"/>
              </a:ext>
            </a:extLst>
          </p:cNvPr>
          <p:cNvSpPr/>
          <p:nvPr userDrawn="1"/>
        </p:nvSpPr>
        <p:spPr>
          <a:xfrm rot="2700000">
            <a:off x="9854559" y="1343244"/>
            <a:ext cx="592131" cy="3587612"/>
          </a:xfrm>
          <a:prstGeom prst="roundRect">
            <a:avLst>
              <a:gd name="adj" fmla="val 5000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4" name="Freeform: Shape 23">
            <a:extLst>
              <a:ext uri="{FF2B5EF4-FFF2-40B4-BE49-F238E27FC236}">
                <a16:creationId xmlns:a16="http://schemas.microsoft.com/office/drawing/2014/main" id="{33A17EB4-0511-A9D6-5B78-5B9A582D9D64}"/>
              </a:ext>
            </a:extLst>
          </p:cNvPr>
          <p:cNvSpPr/>
          <p:nvPr userDrawn="1"/>
        </p:nvSpPr>
        <p:spPr>
          <a:xfrm rot="2700000">
            <a:off x="8557688" y="693470"/>
            <a:ext cx="2580562" cy="3142418"/>
          </a:xfrm>
          <a:custGeom>
            <a:avLst/>
            <a:gdLst>
              <a:gd name="connsiteX0" fmla="*/ 0 w 2580562"/>
              <a:gd name="connsiteY0" fmla="*/ 944206 h 4086624"/>
              <a:gd name="connsiteX1" fmla="*/ 704269 w 2580562"/>
              <a:gd name="connsiteY1" fmla="*/ 239938 h 4086624"/>
              <a:gd name="connsiteX2" fmla="*/ 1862790 w 2580562"/>
              <a:gd name="connsiteY2" fmla="*/ 239938 h 4086624"/>
              <a:gd name="connsiteX3" fmla="*/ 2580562 w 2580562"/>
              <a:gd name="connsiteY3" fmla="*/ 957710 h 4086624"/>
              <a:gd name="connsiteX4" fmla="*/ 2580562 w 2580562"/>
              <a:gd name="connsiteY4" fmla="*/ 2796343 h 4086624"/>
              <a:gd name="connsiteX5" fmla="*/ 1290281 w 2580562"/>
              <a:gd name="connsiteY5" fmla="*/ 4086624 h 4086624"/>
              <a:gd name="connsiteX6" fmla="*/ 0 w 2580562"/>
              <a:gd name="connsiteY6" fmla="*/ 2796343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7" fmla="*/ 795709 w 2580562"/>
              <a:gd name="connsiteY7" fmla="*/ 331378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0" fmla="*/ 1862790 w 2580562"/>
              <a:gd name="connsiteY0" fmla="*/ 0 h 3846686"/>
              <a:gd name="connsiteX1" fmla="*/ 2580562 w 2580562"/>
              <a:gd name="connsiteY1" fmla="*/ 717772 h 3846686"/>
              <a:gd name="connsiteX2" fmla="*/ 2580562 w 2580562"/>
              <a:gd name="connsiteY2" fmla="*/ 2556405 h 3846686"/>
              <a:gd name="connsiteX3" fmla="*/ 1290281 w 2580562"/>
              <a:gd name="connsiteY3" fmla="*/ 3846686 h 3846686"/>
              <a:gd name="connsiteX4" fmla="*/ 0 w 2580562"/>
              <a:gd name="connsiteY4" fmla="*/ 2556405 h 3846686"/>
              <a:gd name="connsiteX5" fmla="*/ 0 w 2580562"/>
              <a:gd name="connsiteY5" fmla="*/ 704268 h 3846686"/>
              <a:gd name="connsiteX0" fmla="*/ 2580562 w 2580562"/>
              <a:gd name="connsiteY0" fmla="*/ 13504 h 3142418"/>
              <a:gd name="connsiteX1" fmla="*/ 2580562 w 2580562"/>
              <a:gd name="connsiteY1" fmla="*/ 1852137 h 3142418"/>
              <a:gd name="connsiteX2" fmla="*/ 1290281 w 2580562"/>
              <a:gd name="connsiteY2" fmla="*/ 3142418 h 3142418"/>
              <a:gd name="connsiteX3" fmla="*/ 0 w 2580562"/>
              <a:gd name="connsiteY3" fmla="*/ 1852137 h 3142418"/>
              <a:gd name="connsiteX4" fmla="*/ 0 w 2580562"/>
              <a:gd name="connsiteY4" fmla="*/ 0 h 3142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562" h="3142418">
                <a:moveTo>
                  <a:pt x="2580562" y="13504"/>
                </a:moveTo>
                <a:lnTo>
                  <a:pt x="2580562" y="1852137"/>
                </a:lnTo>
                <a:cubicBezTo>
                  <a:pt x="2580562" y="2564740"/>
                  <a:pt x="2002884" y="3142418"/>
                  <a:pt x="1290281" y="3142418"/>
                </a:cubicBezTo>
                <a:cubicBezTo>
                  <a:pt x="577678" y="3142418"/>
                  <a:pt x="0" y="2564740"/>
                  <a:pt x="0" y="1852137"/>
                </a:cubicBez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26" name="Graphic 25">
            <a:extLst>
              <a:ext uri="{FF2B5EF4-FFF2-40B4-BE49-F238E27FC236}">
                <a16:creationId xmlns:a16="http://schemas.microsoft.com/office/drawing/2014/main" id="{279552D8-93AA-1558-53CF-B3AA2441C9F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27" name="Text Placeholder 21">
            <a:extLst>
              <a:ext uri="{FF2B5EF4-FFF2-40B4-BE49-F238E27FC236}">
                <a16:creationId xmlns:a16="http://schemas.microsoft.com/office/drawing/2014/main" id="{2DB327D4-53F8-A02D-FD4B-DE3CE5FC3F4D}"/>
              </a:ext>
            </a:extLst>
          </p:cNvPr>
          <p:cNvSpPr>
            <a:spLocks noGrp="1"/>
          </p:cNvSpPr>
          <p:nvPr>
            <p:ph type="body" sz="quarter" idx="11" hasCustomPrompt="1"/>
          </p:nvPr>
        </p:nvSpPr>
        <p:spPr>
          <a:xfrm>
            <a:off x="560269" y="4513255"/>
            <a:ext cx="6716020"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28" name="Title 1">
            <a:extLst>
              <a:ext uri="{FF2B5EF4-FFF2-40B4-BE49-F238E27FC236}">
                <a16:creationId xmlns:a16="http://schemas.microsoft.com/office/drawing/2014/main" id="{1D4F7CBF-B263-6DFD-1E56-2BCBA31644B6}"/>
              </a:ext>
            </a:extLst>
          </p:cNvPr>
          <p:cNvSpPr>
            <a:spLocks noGrp="1"/>
          </p:cNvSpPr>
          <p:nvPr>
            <p:ph type="ctrTitle" hasCustomPrompt="1"/>
          </p:nvPr>
        </p:nvSpPr>
        <p:spPr>
          <a:xfrm>
            <a:off x="560269" y="2292059"/>
            <a:ext cx="6716020"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29" name="Subtitle 2">
            <a:extLst>
              <a:ext uri="{FF2B5EF4-FFF2-40B4-BE49-F238E27FC236}">
                <a16:creationId xmlns:a16="http://schemas.microsoft.com/office/drawing/2014/main" id="{E612B469-E30C-E96F-0490-057826786242}"/>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30" name="TextBox 29">
            <a:extLst>
              <a:ext uri="{FF2B5EF4-FFF2-40B4-BE49-F238E27FC236}">
                <a16:creationId xmlns:a16="http://schemas.microsoft.com/office/drawing/2014/main" id="{EF596005-FB39-2120-DA4B-99A6851C070A}"/>
              </a:ext>
            </a:extLst>
          </p:cNvPr>
          <p:cNvSpPr txBox="1"/>
          <p:nvPr userDrawn="1"/>
        </p:nvSpPr>
        <p:spPr bwMode="black">
          <a:xfrm>
            <a:off x="560269" y="66215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the United States, the European Union, and various other countries. </a:t>
            </a:r>
          </a:p>
        </p:txBody>
      </p:sp>
      <p:sp>
        <p:nvSpPr>
          <p:cNvPr id="42" name="Picture Placeholder 41">
            <a:extLst>
              <a:ext uri="{FF2B5EF4-FFF2-40B4-BE49-F238E27FC236}">
                <a16:creationId xmlns:a16="http://schemas.microsoft.com/office/drawing/2014/main" id="{178ED566-AC4C-DB1A-FBA8-411D294AA9FD}"/>
              </a:ext>
            </a:extLst>
          </p:cNvPr>
          <p:cNvSpPr>
            <a:spLocks noGrp="1"/>
          </p:cNvSpPr>
          <p:nvPr>
            <p:ph type="pic" sz="quarter" idx="14" hasCustomPrompt="1"/>
          </p:nvPr>
        </p:nvSpPr>
        <p:spPr>
          <a:xfrm>
            <a:off x="8667751" y="3414409"/>
            <a:ext cx="3194049" cy="3189591"/>
          </a:xfrm>
          <a:prstGeom prst="roundRect">
            <a:avLst>
              <a:gd name="adj" fmla="val 24829"/>
            </a:avLst>
          </a:pr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Text Placeholder 13">
            <a:extLst>
              <a:ext uri="{FF2B5EF4-FFF2-40B4-BE49-F238E27FC236}">
                <a16:creationId xmlns:a16="http://schemas.microsoft.com/office/drawing/2014/main" id="{4871D7E5-7016-D225-9AA1-16FDB1DA9B1E}"/>
              </a:ext>
            </a:extLst>
          </p:cNvPr>
          <p:cNvSpPr>
            <a:spLocks noGrp="1"/>
          </p:cNvSpPr>
          <p:nvPr>
            <p:ph type="body" sz="quarter" idx="17" hasCustomPrompt="1"/>
          </p:nvPr>
        </p:nvSpPr>
        <p:spPr>
          <a:xfrm>
            <a:off x="560268" y="5680710"/>
            <a:ext cx="6716020"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144781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2026-05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140211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2EF3D7E1-E5A6-9F41-9CF8-AAAEB02D2F1C}"/>
              </a:ext>
            </a:extLst>
          </p:cNvPr>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2" name="Graphic 1">
            <a:extLst>
              <a:ext uri="{FF2B5EF4-FFF2-40B4-BE49-F238E27FC236}">
                <a16:creationId xmlns:a16="http://schemas.microsoft.com/office/drawing/2014/main" id="{DFB796EA-5FE4-C00B-C632-B6DD2037CA9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7" name="Text Placeholder 21">
            <a:extLst>
              <a:ext uri="{FF2B5EF4-FFF2-40B4-BE49-F238E27FC236}">
                <a16:creationId xmlns:a16="http://schemas.microsoft.com/office/drawing/2014/main" id="{12F89F06-2842-6C78-F8B9-DF481DE16163}"/>
              </a:ext>
            </a:extLst>
          </p:cNvPr>
          <p:cNvSpPr>
            <a:spLocks noGrp="1"/>
          </p:cNvSpPr>
          <p:nvPr>
            <p:ph type="body" sz="quarter" idx="11" hasCustomPrompt="1"/>
          </p:nvPr>
        </p:nvSpPr>
        <p:spPr>
          <a:xfrm>
            <a:off x="6948369" y="454542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8" name="Title 1">
            <a:extLst>
              <a:ext uri="{FF2B5EF4-FFF2-40B4-BE49-F238E27FC236}">
                <a16:creationId xmlns:a16="http://schemas.microsoft.com/office/drawing/2014/main" id="{C09011B2-930B-2726-A34F-9595F38F67E6}"/>
              </a:ext>
            </a:extLst>
          </p:cNvPr>
          <p:cNvSpPr>
            <a:spLocks noGrp="1"/>
          </p:cNvSpPr>
          <p:nvPr>
            <p:ph type="ctrTitle" hasCustomPrompt="1"/>
          </p:nvPr>
        </p:nvSpPr>
        <p:spPr>
          <a:xfrm>
            <a:off x="6948369" y="2283169"/>
            <a:ext cx="4849931"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9" name="Subtitle 2">
            <a:extLst>
              <a:ext uri="{FF2B5EF4-FFF2-40B4-BE49-F238E27FC236}">
                <a16:creationId xmlns:a16="http://schemas.microsoft.com/office/drawing/2014/main" id="{817DEC49-9F6E-FEDD-D9A7-746572D694B9}"/>
              </a:ext>
            </a:extLst>
          </p:cNvPr>
          <p:cNvSpPr>
            <a:spLocks noGrp="1"/>
          </p:cNvSpPr>
          <p:nvPr>
            <p:ph type="subTitle" idx="1" hasCustomPrompt="1"/>
          </p:nvPr>
        </p:nvSpPr>
        <p:spPr>
          <a:xfrm>
            <a:off x="6948369" y="174051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4" name="TextBox 13">
            <a:extLst>
              <a:ext uri="{FF2B5EF4-FFF2-40B4-BE49-F238E27FC236}">
                <a16:creationId xmlns:a16="http://schemas.microsoft.com/office/drawing/2014/main" id="{F44FBDBE-CB0C-FA03-27E9-222DD602C14A}"/>
              </a:ext>
            </a:extLst>
          </p:cNvPr>
          <p:cNvSpPr txBox="1"/>
          <p:nvPr userDrawn="1"/>
        </p:nvSpPr>
        <p:spPr bwMode="black">
          <a:xfrm>
            <a:off x="40754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grpSp>
        <p:nvGrpSpPr>
          <p:cNvPr id="4" name="Group 3">
            <a:extLst>
              <a:ext uri="{FF2B5EF4-FFF2-40B4-BE49-F238E27FC236}">
                <a16:creationId xmlns:a16="http://schemas.microsoft.com/office/drawing/2014/main" id="{B5787C3C-B50B-409B-D239-AC6FD72699C3}"/>
              </a:ext>
            </a:extLst>
          </p:cNvPr>
          <p:cNvGrpSpPr/>
          <p:nvPr userDrawn="1"/>
        </p:nvGrpSpPr>
        <p:grpSpPr>
          <a:xfrm>
            <a:off x="-5079" y="0"/>
            <a:ext cx="6333420" cy="6858000"/>
            <a:chOff x="16581" y="0"/>
            <a:chExt cx="6333420" cy="6858000"/>
          </a:xfrm>
        </p:grpSpPr>
        <p:sp>
          <p:nvSpPr>
            <p:cNvPr id="5" name="Rectangle: Top Corners Rounded 4">
              <a:extLst>
                <a:ext uri="{FF2B5EF4-FFF2-40B4-BE49-F238E27FC236}">
                  <a16:creationId xmlns:a16="http://schemas.microsoft.com/office/drawing/2014/main" id="{C25A6BEA-005B-9875-2AE7-6D57A7F0472B}"/>
                </a:ext>
              </a:extLst>
            </p:cNvPr>
            <p:cNvSpPr/>
            <p:nvPr userDrawn="1"/>
          </p:nvSpPr>
          <p:spPr>
            <a:xfrm rot="5400000">
              <a:off x="5116" y="2759744"/>
              <a:ext cx="4114800" cy="4081711"/>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1" err="1"/>
            </a:p>
          </p:txBody>
        </p:sp>
        <p:sp>
          <p:nvSpPr>
            <p:cNvPr id="6" name="Freeform: Shape 5">
              <a:extLst>
                <a:ext uri="{FF2B5EF4-FFF2-40B4-BE49-F238E27FC236}">
                  <a16:creationId xmlns:a16="http://schemas.microsoft.com/office/drawing/2014/main" id="{6DFBA484-25CD-1779-3A38-65ED15CCD6D6}"/>
                </a:ext>
              </a:extLst>
            </p:cNvPr>
            <p:cNvSpPr/>
            <p:nvPr userDrawn="1"/>
          </p:nvSpPr>
          <p:spPr>
            <a:xfrm>
              <a:off x="21660" y="0"/>
              <a:ext cx="6328341" cy="5552111"/>
            </a:xfrm>
            <a:custGeom>
              <a:avLst/>
              <a:gdLst>
                <a:gd name="connsiteX0" fmla="*/ 0 w 6328341"/>
                <a:gd name="connsiteY0" fmla="*/ 0 h 5552111"/>
                <a:gd name="connsiteX1" fmla="*/ 6328341 w 6328341"/>
                <a:gd name="connsiteY1" fmla="*/ 0 h 5552111"/>
                <a:gd name="connsiteX2" fmla="*/ 6328341 w 6328341"/>
                <a:gd name="connsiteY2" fmla="*/ 2377111 h 5552111"/>
                <a:gd name="connsiteX3" fmla="*/ 3153341 w 6328341"/>
                <a:gd name="connsiteY3" fmla="*/ 5552111 h 5552111"/>
                <a:gd name="connsiteX4" fmla="*/ 42846 w 6328341"/>
                <a:gd name="connsiteY4" fmla="*/ 3016984 h 5552111"/>
                <a:gd name="connsiteX5" fmla="*/ 0 w 6328341"/>
                <a:gd name="connsiteY5" fmla="*/ 2736246 h 555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8341" h="5552111">
                  <a:moveTo>
                    <a:pt x="0" y="0"/>
                  </a:moveTo>
                  <a:lnTo>
                    <a:pt x="6328341" y="0"/>
                  </a:lnTo>
                  <a:lnTo>
                    <a:pt x="6328341" y="2377111"/>
                  </a:lnTo>
                  <a:cubicBezTo>
                    <a:pt x="6328341" y="4130615"/>
                    <a:pt x="4906845" y="5552111"/>
                    <a:pt x="3153341" y="5552111"/>
                  </a:cubicBezTo>
                  <a:cubicBezTo>
                    <a:pt x="1619025" y="5552111"/>
                    <a:pt x="338903" y="4463778"/>
                    <a:pt x="42846" y="3016984"/>
                  </a:cubicBezTo>
                  <a:lnTo>
                    <a:pt x="0" y="2736246"/>
                  </a:lnTo>
                  <a:close/>
                </a:path>
              </a:pathLst>
            </a:custGeom>
            <a:gradFill>
              <a:gsLst>
                <a:gs pos="75000">
                  <a:srgbClr val="140A42"/>
                </a:gs>
                <a:gs pos="0">
                  <a:srgbClr val="00CCFF"/>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b="1" err="1"/>
            </a:p>
          </p:txBody>
        </p:sp>
        <p:sp>
          <p:nvSpPr>
            <p:cNvPr id="10" name="Freeform: Shape 9">
              <a:extLst>
                <a:ext uri="{FF2B5EF4-FFF2-40B4-BE49-F238E27FC236}">
                  <a16:creationId xmlns:a16="http://schemas.microsoft.com/office/drawing/2014/main" id="{DF9BA332-9382-C19F-66FE-99AB2FD12525}"/>
                </a:ext>
              </a:extLst>
            </p:cNvPr>
            <p:cNvSpPr/>
            <p:nvPr userDrawn="1"/>
          </p:nvSpPr>
          <p:spPr>
            <a:xfrm rot="5400000">
              <a:off x="652981" y="2106800"/>
              <a:ext cx="2808911" cy="4081711"/>
            </a:xfrm>
            <a:custGeom>
              <a:avLst/>
              <a:gdLst>
                <a:gd name="connsiteX0" fmla="*/ 0 w 2808911"/>
                <a:gd name="connsiteY0" fmla="*/ 4081711 h 4081711"/>
                <a:gd name="connsiteX1" fmla="*/ 0 w 2808911"/>
                <a:gd name="connsiteY1" fmla="*/ 2051686 h 4081711"/>
                <a:gd name="connsiteX2" fmla="*/ 2051686 w 2808911"/>
                <a:gd name="connsiteY2" fmla="*/ 0 h 4081711"/>
                <a:gd name="connsiteX3" fmla="*/ 2063115 w 2808911"/>
                <a:gd name="connsiteY3" fmla="*/ 0 h 4081711"/>
                <a:gd name="connsiteX4" fmla="*/ 2673224 w 2808911"/>
                <a:gd name="connsiteY4" fmla="*/ 92240 h 4081711"/>
                <a:gd name="connsiteX5" fmla="*/ 2699582 w 2808911"/>
                <a:gd name="connsiteY5" fmla="*/ 101887 h 4081711"/>
                <a:gd name="connsiteX6" fmla="*/ 2708954 w 2808911"/>
                <a:gd name="connsiteY6" fmla="*/ 134890 h 4081711"/>
                <a:gd name="connsiteX7" fmla="*/ 2808911 w 2808911"/>
                <a:gd name="connsiteY7" fmla="*/ 928372 h 4081711"/>
                <a:gd name="connsiteX8" fmla="*/ 117432 w 2808911"/>
                <a:gd name="connsiteY8" fmla="*/ 4066789 h 4081711"/>
                <a:gd name="connsiteX9" fmla="*/ 0 w 2808911"/>
                <a:gd name="connsiteY9" fmla="*/ 4081711 h 408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8911" h="4081711">
                  <a:moveTo>
                    <a:pt x="0" y="4081711"/>
                  </a:moveTo>
                  <a:lnTo>
                    <a:pt x="0" y="2051686"/>
                  </a:lnTo>
                  <a:cubicBezTo>
                    <a:pt x="0" y="918571"/>
                    <a:pt x="918572" y="-1"/>
                    <a:pt x="2051686" y="0"/>
                  </a:cubicBezTo>
                  <a:lnTo>
                    <a:pt x="2063115" y="0"/>
                  </a:lnTo>
                  <a:cubicBezTo>
                    <a:pt x="2275574" y="0"/>
                    <a:pt x="2480491" y="32293"/>
                    <a:pt x="2673224" y="92240"/>
                  </a:cubicBezTo>
                  <a:lnTo>
                    <a:pt x="2699582" y="101887"/>
                  </a:lnTo>
                  <a:lnTo>
                    <a:pt x="2708954" y="134890"/>
                  </a:lnTo>
                  <a:cubicBezTo>
                    <a:pt x="2774207" y="388507"/>
                    <a:pt x="2808911" y="654387"/>
                    <a:pt x="2808911" y="928372"/>
                  </a:cubicBezTo>
                  <a:cubicBezTo>
                    <a:pt x="2808911" y="2517485"/>
                    <a:pt x="1641452" y="3833923"/>
                    <a:pt x="117432" y="4066789"/>
                  </a:cubicBezTo>
                  <a:lnTo>
                    <a:pt x="0" y="408171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b="1" err="1"/>
            </a:p>
          </p:txBody>
        </p:sp>
      </p:grpSp>
      <p:sp>
        <p:nvSpPr>
          <p:cNvPr id="11" name="Text Placeholder 13">
            <a:extLst>
              <a:ext uri="{FF2B5EF4-FFF2-40B4-BE49-F238E27FC236}">
                <a16:creationId xmlns:a16="http://schemas.microsoft.com/office/drawing/2014/main" id="{64565F74-6607-D645-F5A7-0A5632621C55}"/>
              </a:ext>
            </a:extLst>
          </p:cNvPr>
          <p:cNvSpPr>
            <a:spLocks noGrp="1"/>
          </p:cNvSpPr>
          <p:nvPr>
            <p:ph type="body" sz="quarter" idx="17" hasCustomPrompt="1"/>
          </p:nvPr>
        </p:nvSpPr>
        <p:spPr>
          <a:xfrm>
            <a:off x="6948369" y="575394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1899404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07831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739BB318-2FA2-9BC0-C500-B054B13E410C}"/>
              </a:ext>
            </a:extLst>
          </p:cNvPr>
          <p:cNvSpPr/>
          <p:nvPr userDrawn="1"/>
        </p:nvSpPr>
        <p:spPr>
          <a:xfrm>
            <a:off x="-1"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15" name="Graphic 14">
            <a:extLst>
              <a:ext uri="{FF2B5EF4-FFF2-40B4-BE49-F238E27FC236}">
                <a16:creationId xmlns:a16="http://schemas.microsoft.com/office/drawing/2014/main" id="{8257E79C-F908-FC57-48EB-74840AB78064}"/>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996138" y="1574801"/>
            <a:ext cx="1566472" cy="5029200"/>
          </a:xfrm>
          <a:prstGeom prst="rect">
            <a:avLst/>
          </a:prstGeom>
        </p:spPr>
      </p:pic>
      <p:sp>
        <p:nvSpPr>
          <p:cNvPr id="39" name="Freeform: Shape 38">
            <a:extLst>
              <a:ext uri="{FF2B5EF4-FFF2-40B4-BE49-F238E27FC236}">
                <a16:creationId xmlns:a16="http://schemas.microsoft.com/office/drawing/2014/main" id="{EA460FB5-1D71-63A8-83DD-7C183AC8C704}"/>
              </a:ext>
            </a:extLst>
          </p:cNvPr>
          <p:cNvSpPr>
            <a:spLocks/>
          </p:cNvSpPr>
          <p:nvPr userDrawn="1"/>
        </p:nvSpPr>
        <p:spPr>
          <a:xfrm>
            <a:off x="6115326" y="6091026"/>
            <a:ext cx="1562353" cy="751899"/>
          </a:xfrm>
          <a:custGeom>
            <a:avLst/>
            <a:gdLst>
              <a:gd name="connsiteX0" fmla="*/ 781177 w 1562353"/>
              <a:gd name="connsiteY0" fmla="*/ 0 h 751899"/>
              <a:gd name="connsiteX1" fmla="*/ 1549698 w 1562353"/>
              <a:gd name="connsiteY1" fmla="*/ 626363 h 751899"/>
              <a:gd name="connsiteX2" fmla="*/ 1562353 w 1562353"/>
              <a:gd name="connsiteY2" fmla="*/ 751899 h 751899"/>
              <a:gd name="connsiteX3" fmla="*/ 0 w 1562353"/>
              <a:gd name="connsiteY3" fmla="*/ 751899 h 751899"/>
              <a:gd name="connsiteX4" fmla="*/ 12655 w 1562353"/>
              <a:gd name="connsiteY4" fmla="*/ 626363 h 751899"/>
              <a:gd name="connsiteX5" fmla="*/ 781177 w 1562353"/>
              <a:gd name="connsiteY5" fmla="*/ 0 h 75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2353" h="751899">
                <a:moveTo>
                  <a:pt x="781177" y="0"/>
                </a:moveTo>
                <a:cubicBezTo>
                  <a:pt x="1160266" y="0"/>
                  <a:pt x="1476550" y="268899"/>
                  <a:pt x="1549698" y="626363"/>
                </a:cubicBezTo>
                <a:lnTo>
                  <a:pt x="1562353" y="751899"/>
                </a:lnTo>
                <a:lnTo>
                  <a:pt x="0" y="751899"/>
                </a:lnTo>
                <a:lnTo>
                  <a:pt x="12655" y="626363"/>
                </a:lnTo>
                <a:cubicBezTo>
                  <a:pt x="85803" y="268899"/>
                  <a:pt x="402087" y="0"/>
                  <a:pt x="781177" y="0"/>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0" name="Freeform: Shape 39">
            <a:extLst>
              <a:ext uri="{FF2B5EF4-FFF2-40B4-BE49-F238E27FC236}">
                <a16:creationId xmlns:a16="http://schemas.microsoft.com/office/drawing/2014/main" id="{F2AAAAF4-7481-56CC-28C1-4AD28C235C0D}"/>
              </a:ext>
            </a:extLst>
          </p:cNvPr>
          <p:cNvSpPr/>
          <p:nvPr userDrawn="1"/>
        </p:nvSpPr>
        <p:spPr>
          <a:xfrm>
            <a:off x="9914020" y="4855317"/>
            <a:ext cx="1574088" cy="1987609"/>
          </a:xfrm>
          <a:custGeom>
            <a:avLst/>
            <a:gdLst>
              <a:gd name="connsiteX0" fmla="*/ 1557049 w 1574088"/>
              <a:gd name="connsiteY0" fmla="*/ 0 h 1987609"/>
              <a:gd name="connsiteX1" fmla="*/ 1574088 w 1574088"/>
              <a:gd name="connsiteY1" fmla="*/ 1718 h 1987609"/>
              <a:gd name="connsiteX2" fmla="*/ 1574088 w 1574088"/>
              <a:gd name="connsiteY2" fmla="*/ 1987609 h 1987609"/>
              <a:gd name="connsiteX3" fmla="*/ 0 w 1574088"/>
              <a:gd name="connsiteY3" fmla="*/ 1987609 h 1987609"/>
              <a:gd name="connsiteX4" fmla="*/ 0 w 1574088"/>
              <a:gd name="connsiteY4" fmla="*/ 1557049 h 1987609"/>
              <a:gd name="connsiteX5" fmla="*/ 1557049 w 1574088"/>
              <a:gd name="connsiteY5" fmla="*/ 0 h 1987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088" h="1987609">
                <a:moveTo>
                  <a:pt x="1557049" y="0"/>
                </a:moveTo>
                <a:lnTo>
                  <a:pt x="1574088" y="1718"/>
                </a:lnTo>
                <a:lnTo>
                  <a:pt x="1574088" y="1987609"/>
                </a:lnTo>
                <a:lnTo>
                  <a:pt x="0" y="1987609"/>
                </a:lnTo>
                <a:lnTo>
                  <a:pt x="0" y="1557049"/>
                </a:lnTo>
                <a:cubicBezTo>
                  <a:pt x="0" y="697115"/>
                  <a:pt x="697115" y="0"/>
                  <a:pt x="1557049" y="0"/>
                </a:cubicBezTo>
                <a:close/>
              </a:path>
            </a:pathLst>
          </a:custGeom>
          <a:gradFill>
            <a:gsLst>
              <a:gs pos="0">
                <a:srgbClr val="6EEAC4"/>
              </a:gs>
              <a:gs pos="4000">
                <a:srgbClr val="69DFBD"/>
              </a:gs>
              <a:gs pos="39000">
                <a:srgbClr val="458588"/>
              </a:gs>
              <a:gs pos="68000">
                <a:srgbClr val="2A4360"/>
              </a:gs>
              <a:gs pos="89000">
                <a:srgbClr val="191A48"/>
              </a:gs>
              <a:gs pos="100000">
                <a:srgbClr val="130B3F"/>
              </a:gs>
            </a:gsLst>
            <a:lin ang="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3" name="Freeform: Shape 32">
            <a:extLst>
              <a:ext uri="{FF2B5EF4-FFF2-40B4-BE49-F238E27FC236}">
                <a16:creationId xmlns:a16="http://schemas.microsoft.com/office/drawing/2014/main" id="{913F0253-1103-0501-0DDE-FBAF667D32CE}"/>
              </a:ext>
            </a:extLst>
          </p:cNvPr>
          <p:cNvSpPr/>
          <p:nvPr userDrawn="1"/>
        </p:nvSpPr>
        <p:spPr>
          <a:xfrm>
            <a:off x="11821584" y="743158"/>
            <a:ext cx="375516" cy="1813796"/>
          </a:xfrm>
          <a:custGeom>
            <a:avLst/>
            <a:gdLst>
              <a:gd name="connsiteX0" fmla="*/ 375516 w 375516"/>
              <a:gd name="connsiteY0" fmla="*/ 0 h 1813796"/>
              <a:gd name="connsiteX1" fmla="*/ 375516 w 375516"/>
              <a:gd name="connsiteY1" fmla="*/ 1813796 h 1813796"/>
              <a:gd name="connsiteX2" fmla="*/ 287640 w 375516"/>
              <a:gd name="connsiteY2" fmla="*/ 1786518 h 1813796"/>
              <a:gd name="connsiteX3" fmla="*/ 0 w 375516"/>
              <a:gd name="connsiteY3" fmla="*/ 1352570 h 1813796"/>
              <a:gd name="connsiteX4" fmla="*/ 0 w 375516"/>
              <a:gd name="connsiteY4" fmla="*/ 461226 h 1813796"/>
              <a:gd name="connsiteX5" fmla="*/ 287640 w 375516"/>
              <a:gd name="connsiteY5" fmla="*/ 27278 h 181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516" h="1813796">
                <a:moveTo>
                  <a:pt x="375516" y="0"/>
                </a:moveTo>
                <a:lnTo>
                  <a:pt x="375516" y="1813796"/>
                </a:lnTo>
                <a:lnTo>
                  <a:pt x="287640" y="1786518"/>
                </a:lnTo>
                <a:cubicBezTo>
                  <a:pt x="118606" y="1715023"/>
                  <a:pt x="0" y="1547648"/>
                  <a:pt x="0" y="1352570"/>
                </a:cubicBezTo>
                <a:lnTo>
                  <a:pt x="0" y="461226"/>
                </a:lnTo>
                <a:cubicBezTo>
                  <a:pt x="0" y="266149"/>
                  <a:pt x="118606" y="98774"/>
                  <a:pt x="287640" y="27278"/>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1" name="Freeform: Shape 30">
            <a:extLst>
              <a:ext uri="{FF2B5EF4-FFF2-40B4-BE49-F238E27FC236}">
                <a16:creationId xmlns:a16="http://schemas.microsoft.com/office/drawing/2014/main" id="{47676A29-7E8F-1D6A-EC1B-460D31DC64E0}"/>
              </a:ext>
            </a:extLst>
          </p:cNvPr>
          <p:cNvSpPr/>
          <p:nvPr userDrawn="1"/>
        </p:nvSpPr>
        <p:spPr>
          <a:xfrm>
            <a:off x="11834966" y="2890625"/>
            <a:ext cx="362135" cy="3952299"/>
          </a:xfrm>
          <a:custGeom>
            <a:avLst/>
            <a:gdLst>
              <a:gd name="connsiteX0" fmla="*/ 362135 w 362135"/>
              <a:gd name="connsiteY0" fmla="*/ 0 h 3952299"/>
              <a:gd name="connsiteX1" fmla="*/ 362135 w 362135"/>
              <a:gd name="connsiteY1" fmla="*/ 3952299 h 3952299"/>
              <a:gd name="connsiteX2" fmla="*/ 345157 w 362135"/>
              <a:gd name="connsiteY2" fmla="*/ 3947029 h 3952299"/>
              <a:gd name="connsiteX3" fmla="*/ 0 w 362135"/>
              <a:gd name="connsiteY3" fmla="*/ 3426307 h 3952299"/>
              <a:gd name="connsiteX4" fmla="*/ 0 w 362135"/>
              <a:gd name="connsiteY4" fmla="*/ 525991 h 3952299"/>
              <a:gd name="connsiteX5" fmla="*/ 345157 w 362135"/>
              <a:gd name="connsiteY5" fmla="*/ 5270 h 39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135" h="3952299">
                <a:moveTo>
                  <a:pt x="362135" y="0"/>
                </a:moveTo>
                <a:lnTo>
                  <a:pt x="362135" y="3952299"/>
                </a:lnTo>
                <a:lnTo>
                  <a:pt x="345157" y="3947029"/>
                </a:lnTo>
                <a:cubicBezTo>
                  <a:pt x="142323" y="3861237"/>
                  <a:pt x="0" y="3660393"/>
                  <a:pt x="0" y="3426307"/>
                </a:cubicBezTo>
                <a:lnTo>
                  <a:pt x="0" y="525991"/>
                </a:lnTo>
                <a:cubicBezTo>
                  <a:pt x="0" y="291906"/>
                  <a:pt x="142323" y="91062"/>
                  <a:pt x="345157" y="527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68" name="Graphic 67">
            <a:extLst>
              <a:ext uri="{FF2B5EF4-FFF2-40B4-BE49-F238E27FC236}">
                <a16:creationId xmlns:a16="http://schemas.microsoft.com/office/drawing/2014/main" id="{A9941B5D-B587-2CD8-1E2F-5B1501282D47}"/>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73" name="TextBox 72">
            <a:extLst>
              <a:ext uri="{FF2B5EF4-FFF2-40B4-BE49-F238E27FC236}">
                <a16:creationId xmlns:a16="http://schemas.microsoft.com/office/drawing/2014/main" id="{A3F0ED94-D4EA-C9DE-D42F-D4FB64467424}"/>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a:t>
            </a:r>
            <a:b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b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the United States, the European Union, and various other countries. </a:t>
            </a:r>
          </a:p>
        </p:txBody>
      </p:sp>
      <p:sp>
        <p:nvSpPr>
          <p:cNvPr id="12" name="Picture Placeholder 11">
            <a:extLst>
              <a:ext uri="{FF2B5EF4-FFF2-40B4-BE49-F238E27FC236}">
                <a16:creationId xmlns:a16="http://schemas.microsoft.com/office/drawing/2014/main" id="{C4F16AE3-C94B-2D66-8339-457C0CFF0360}"/>
              </a:ext>
            </a:extLst>
          </p:cNvPr>
          <p:cNvSpPr>
            <a:spLocks noGrp="1"/>
          </p:cNvSpPr>
          <p:nvPr>
            <p:ph type="pic" sz="quarter" idx="14" hasCustomPrompt="1"/>
          </p:nvPr>
        </p:nvSpPr>
        <p:spPr>
          <a:xfrm>
            <a:off x="6098391" y="6350"/>
            <a:ext cx="1579288" cy="2314574"/>
          </a:xfrm>
          <a:custGeom>
            <a:avLst/>
            <a:gdLst>
              <a:gd name="connsiteX0" fmla="*/ 0 w 1579288"/>
              <a:gd name="connsiteY0" fmla="*/ 0 h 2314574"/>
              <a:gd name="connsiteX1" fmla="*/ 1579288 w 1579288"/>
              <a:gd name="connsiteY1" fmla="*/ 0 h 2314574"/>
              <a:gd name="connsiteX2" fmla="*/ 1579288 w 1579288"/>
              <a:gd name="connsiteY2" fmla="*/ 1524930 h 2314574"/>
              <a:gd name="connsiteX3" fmla="*/ 789644 w 1579288"/>
              <a:gd name="connsiteY3" fmla="*/ 2314574 h 2314574"/>
              <a:gd name="connsiteX4" fmla="*/ 0 w 1579288"/>
              <a:gd name="connsiteY4" fmla="*/ 1524930 h 2314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9288" h="2314574">
                <a:moveTo>
                  <a:pt x="0" y="0"/>
                </a:moveTo>
                <a:lnTo>
                  <a:pt x="1579288" y="0"/>
                </a:lnTo>
                <a:lnTo>
                  <a:pt x="1579288" y="1524930"/>
                </a:lnTo>
                <a:cubicBezTo>
                  <a:pt x="1579288" y="1961038"/>
                  <a:pt x="1225752" y="2314574"/>
                  <a:pt x="789644" y="2314574"/>
                </a:cubicBezTo>
                <a:cubicBezTo>
                  <a:pt x="353536" y="2314574"/>
                  <a:pt x="0" y="1961038"/>
                  <a:pt x="0" y="1524930"/>
                </a:cubicBezTo>
                <a:close/>
              </a:path>
            </a:pathLst>
          </a:cu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13" name="Picture Placeholder 12">
            <a:extLst>
              <a:ext uri="{FF2B5EF4-FFF2-40B4-BE49-F238E27FC236}">
                <a16:creationId xmlns:a16="http://schemas.microsoft.com/office/drawing/2014/main" id="{439A5091-7454-13CA-923E-0745779CED1A}"/>
              </a:ext>
            </a:extLst>
          </p:cNvPr>
          <p:cNvSpPr>
            <a:spLocks noGrp="1"/>
          </p:cNvSpPr>
          <p:nvPr>
            <p:ph type="pic" sz="quarter" idx="15" hasCustomPrompt="1"/>
          </p:nvPr>
        </p:nvSpPr>
        <p:spPr>
          <a:xfrm>
            <a:off x="6098391" y="2454442"/>
            <a:ext cx="1579288" cy="3489158"/>
          </a:xfrm>
          <a:custGeom>
            <a:avLst/>
            <a:gdLst>
              <a:gd name="connsiteX0" fmla="*/ 789644 w 1579288"/>
              <a:gd name="connsiteY0" fmla="*/ 0 h 3489158"/>
              <a:gd name="connsiteX1" fmla="*/ 1579288 w 1579288"/>
              <a:gd name="connsiteY1" fmla="*/ 789644 h 3489158"/>
              <a:gd name="connsiteX2" fmla="*/ 1579288 w 1579288"/>
              <a:gd name="connsiteY2" fmla="*/ 2699514 h 3489158"/>
              <a:gd name="connsiteX3" fmla="*/ 789644 w 1579288"/>
              <a:gd name="connsiteY3" fmla="*/ 3489158 h 3489158"/>
              <a:gd name="connsiteX4" fmla="*/ 0 w 1579288"/>
              <a:gd name="connsiteY4" fmla="*/ 2699514 h 3489158"/>
              <a:gd name="connsiteX5" fmla="*/ 0 w 1579288"/>
              <a:gd name="connsiteY5" fmla="*/ 789644 h 3489158"/>
              <a:gd name="connsiteX6" fmla="*/ 789644 w 1579288"/>
              <a:gd name="connsiteY6" fmla="*/ 0 h 348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9288" h="3489158">
                <a:moveTo>
                  <a:pt x="789644" y="0"/>
                </a:moveTo>
                <a:cubicBezTo>
                  <a:pt x="1225752" y="0"/>
                  <a:pt x="1579288" y="353536"/>
                  <a:pt x="1579288" y="789644"/>
                </a:cubicBezTo>
                <a:lnTo>
                  <a:pt x="1579288" y="2699514"/>
                </a:lnTo>
                <a:cubicBezTo>
                  <a:pt x="1579288" y="3135622"/>
                  <a:pt x="1225752" y="3489158"/>
                  <a:pt x="789644" y="3489158"/>
                </a:cubicBezTo>
                <a:cubicBezTo>
                  <a:pt x="353536" y="3489158"/>
                  <a:pt x="0" y="3135622"/>
                  <a:pt x="0" y="2699514"/>
                </a:cubicBezTo>
                <a:lnTo>
                  <a:pt x="0" y="789644"/>
                </a:lnTo>
                <a:cubicBezTo>
                  <a:pt x="0" y="353536"/>
                  <a:pt x="353536" y="0"/>
                  <a:pt x="789644"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8" name="Text Placeholder 21">
            <a:extLst>
              <a:ext uri="{FF2B5EF4-FFF2-40B4-BE49-F238E27FC236}">
                <a16:creationId xmlns:a16="http://schemas.microsoft.com/office/drawing/2014/main" id="{BF50C530-E22F-4FAC-5759-3DBBAD403F37}"/>
              </a:ext>
            </a:extLst>
          </p:cNvPr>
          <p:cNvSpPr>
            <a:spLocks noGrp="1"/>
          </p:cNvSpPr>
          <p:nvPr>
            <p:ph type="body" sz="quarter" idx="11" hasCustomPrompt="1"/>
          </p:nvPr>
        </p:nvSpPr>
        <p:spPr>
          <a:xfrm>
            <a:off x="560270" y="4513255"/>
            <a:ext cx="516934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a:t>
            </a:r>
            <a:br>
              <a:rPr lang="en-US"/>
            </a:br>
            <a:r>
              <a:rPr lang="en-US"/>
              <a:t>sentence case</a:t>
            </a:r>
          </a:p>
        </p:txBody>
      </p:sp>
      <p:sp>
        <p:nvSpPr>
          <p:cNvPr id="9" name="Title 1">
            <a:extLst>
              <a:ext uri="{FF2B5EF4-FFF2-40B4-BE49-F238E27FC236}">
                <a16:creationId xmlns:a16="http://schemas.microsoft.com/office/drawing/2014/main" id="{001CB714-76EF-FC5F-FA21-AAC2687A7804}"/>
              </a:ext>
            </a:extLst>
          </p:cNvPr>
          <p:cNvSpPr>
            <a:spLocks noGrp="1"/>
          </p:cNvSpPr>
          <p:nvPr>
            <p:ph type="ctrTitle" hasCustomPrompt="1"/>
          </p:nvPr>
        </p:nvSpPr>
        <p:spPr>
          <a:xfrm>
            <a:off x="560270" y="2292059"/>
            <a:ext cx="516934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0" name="Subtitle 2">
            <a:extLst>
              <a:ext uri="{FF2B5EF4-FFF2-40B4-BE49-F238E27FC236}">
                <a16:creationId xmlns:a16="http://schemas.microsoft.com/office/drawing/2014/main" id="{3AA1AF35-E214-5937-C222-35F7C8B61318}"/>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1" name="Text Placeholder 13">
            <a:extLst>
              <a:ext uri="{FF2B5EF4-FFF2-40B4-BE49-F238E27FC236}">
                <a16:creationId xmlns:a16="http://schemas.microsoft.com/office/drawing/2014/main" id="{BBDCA1FD-A8D4-1358-1CE3-87CF2BAF9D4D}"/>
              </a:ext>
            </a:extLst>
          </p:cNvPr>
          <p:cNvSpPr>
            <a:spLocks noGrp="1"/>
          </p:cNvSpPr>
          <p:nvPr>
            <p:ph type="body" sz="quarter" idx="17" hasCustomPrompt="1"/>
          </p:nvPr>
        </p:nvSpPr>
        <p:spPr>
          <a:xfrm>
            <a:off x="560269" y="5680710"/>
            <a:ext cx="516934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52" name="Graphic 51">
            <a:extLst>
              <a:ext uri="{FF2B5EF4-FFF2-40B4-BE49-F238E27FC236}">
                <a16:creationId xmlns:a16="http://schemas.microsoft.com/office/drawing/2014/main" id="{7CDFB77E-A09E-BDE9-B164-A894EB8370D1}"/>
              </a:ext>
            </a:extLst>
          </p:cNvPr>
          <p:cNvPicPr>
            <a:picLocks noChangeAspect="1"/>
          </p:cNvPicPr>
          <p:nvPr userDrawn="1"/>
        </p:nvPicPr>
        <p:blipFill>
          <a:blip>
            <a:extLst>
              <a:ext uri="{96DAC541-7B7A-43D3-8B79-37D633B846F1}">
                <asvg:svgBlip xmlns:asvg="http://schemas.microsoft.com/office/drawing/2016/SVG/main" r:embed="rId9"/>
              </a:ext>
            </a:extLst>
          </a:blip>
          <a:srcRect t="22893"/>
          <a:stretch>
            <a:fillRect/>
          </a:stretch>
        </p:blipFill>
        <p:spPr>
          <a:xfrm>
            <a:off x="7997572" y="0"/>
            <a:ext cx="1578228" cy="1574836"/>
          </a:xfrm>
          <a:custGeom>
            <a:avLst/>
            <a:gdLst>
              <a:gd name="connsiteX0" fmla="*/ 0 w 1578228"/>
              <a:gd name="connsiteY0" fmla="*/ 0 h 1574836"/>
              <a:gd name="connsiteX1" fmla="*/ 1578228 w 1578228"/>
              <a:gd name="connsiteY1" fmla="*/ 0 h 1574836"/>
              <a:gd name="connsiteX2" fmla="*/ 1578228 w 1578228"/>
              <a:gd name="connsiteY2" fmla="*/ 1574836 h 1574836"/>
              <a:gd name="connsiteX3" fmla="*/ 0 w 1578228"/>
              <a:gd name="connsiteY3" fmla="*/ 1574836 h 1574836"/>
            </a:gdLst>
            <a:ahLst/>
            <a:cxnLst>
              <a:cxn ang="0">
                <a:pos x="connsiteX0" y="connsiteY0"/>
              </a:cxn>
              <a:cxn ang="0">
                <a:pos x="connsiteX1" y="connsiteY1"/>
              </a:cxn>
              <a:cxn ang="0">
                <a:pos x="connsiteX2" y="connsiteY2"/>
              </a:cxn>
              <a:cxn ang="0">
                <a:pos x="connsiteX3" y="connsiteY3"/>
              </a:cxn>
            </a:cxnLst>
            <a:rect l="l" t="t" r="r" b="b"/>
            <a:pathLst>
              <a:path w="1578228" h="1574836">
                <a:moveTo>
                  <a:pt x="0" y="0"/>
                </a:moveTo>
                <a:lnTo>
                  <a:pt x="1578228" y="0"/>
                </a:lnTo>
                <a:lnTo>
                  <a:pt x="1578228" y="1574836"/>
                </a:lnTo>
                <a:lnTo>
                  <a:pt x="0" y="1574836"/>
                </a:lnTo>
                <a:close/>
              </a:path>
            </a:pathLst>
          </a:custGeom>
        </p:spPr>
      </p:pic>
      <p:sp>
        <p:nvSpPr>
          <p:cNvPr id="6" name="Picture Placeholder 16">
            <a:extLst>
              <a:ext uri="{FF2B5EF4-FFF2-40B4-BE49-F238E27FC236}">
                <a16:creationId xmlns:a16="http://schemas.microsoft.com/office/drawing/2014/main" id="{11F2F281-CD61-3144-F723-3FD15751644D}"/>
              </a:ext>
            </a:extLst>
          </p:cNvPr>
          <p:cNvSpPr>
            <a:spLocks noGrp="1"/>
          </p:cNvSpPr>
          <p:nvPr>
            <p:ph type="pic" sz="quarter" idx="18" hasCustomPrompt="1"/>
          </p:nvPr>
        </p:nvSpPr>
        <p:spPr>
          <a:xfrm>
            <a:off x="9914020" y="0"/>
            <a:ext cx="1574799" cy="4616449"/>
          </a:xfrm>
          <a:custGeom>
            <a:avLst/>
            <a:gdLst>
              <a:gd name="connsiteX0" fmla="*/ 776817 w 1574799"/>
              <a:gd name="connsiteY0" fmla="*/ 0 h 4616449"/>
              <a:gd name="connsiteX1" fmla="*/ 797982 w 1574799"/>
              <a:gd name="connsiteY1" fmla="*/ 0 h 4616449"/>
              <a:gd name="connsiteX2" fmla="*/ 1574799 w 1574799"/>
              <a:gd name="connsiteY2" fmla="*/ 776817 h 4616449"/>
              <a:gd name="connsiteX3" fmla="*/ 1574799 w 1574799"/>
              <a:gd name="connsiteY3" fmla="*/ 3839632 h 4616449"/>
              <a:gd name="connsiteX4" fmla="*/ 797982 w 1574799"/>
              <a:gd name="connsiteY4" fmla="*/ 4616449 h 4616449"/>
              <a:gd name="connsiteX5" fmla="*/ 776817 w 1574799"/>
              <a:gd name="connsiteY5" fmla="*/ 4616449 h 4616449"/>
              <a:gd name="connsiteX6" fmla="*/ 0 w 1574799"/>
              <a:gd name="connsiteY6" fmla="*/ 3839632 h 4616449"/>
              <a:gd name="connsiteX7" fmla="*/ 0 w 1574799"/>
              <a:gd name="connsiteY7" fmla="*/ 776817 h 4616449"/>
              <a:gd name="connsiteX8" fmla="*/ 776817 w 1574799"/>
              <a:gd name="connsiteY8" fmla="*/ 0 h 461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799" h="4616449">
                <a:moveTo>
                  <a:pt x="776817" y="0"/>
                </a:moveTo>
                <a:lnTo>
                  <a:pt x="797982" y="0"/>
                </a:lnTo>
                <a:cubicBezTo>
                  <a:pt x="1227006" y="0"/>
                  <a:pt x="1574799" y="347793"/>
                  <a:pt x="1574799" y="776817"/>
                </a:cubicBezTo>
                <a:lnTo>
                  <a:pt x="1574799" y="3839632"/>
                </a:lnTo>
                <a:cubicBezTo>
                  <a:pt x="1574799" y="4268656"/>
                  <a:pt x="1227006" y="4616449"/>
                  <a:pt x="797982" y="4616449"/>
                </a:cubicBezTo>
                <a:lnTo>
                  <a:pt x="776817" y="4616449"/>
                </a:lnTo>
                <a:cubicBezTo>
                  <a:pt x="347793" y="4616449"/>
                  <a:pt x="0" y="4268656"/>
                  <a:pt x="0" y="3839632"/>
                </a:cubicBezTo>
                <a:lnTo>
                  <a:pt x="0" y="776817"/>
                </a:lnTo>
                <a:cubicBezTo>
                  <a:pt x="0" y="347793"/>
                  <a:pt x="347793" y="0"/>
                  <a:pt x="776817" y="0"/>
                </a:cubicBezTo>
                <a:close/>
              </a:path>
            </a:pathLst>
          </a:custGeom>
          <a:blipFill>
            <a:blip r:embed="rId10"/>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1936019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2026-08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605589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DA3FDF07-2EE4-1BD3-7BBF-76F0E37FCF2D}"/>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1" name="Freeform: Shape 30">
            <a:extLst>
              <a:ext uri="{FF2B5EF4-FFF2-40B4-BE49-F238E27FC236}">
                <a16:creationId xmlns:a16="http://schemas.microsoft.com/office/drawing/2014/main" id="{4594B7A1-4047-AFA3-498E-DD5DFA54DCB6}"/>
              </a:ext>
            </a:extLst>
          </p:cNvPr>
          <p:cNvSpPr/>
          <p:nvPr userDrawn="1"/>
        </p:nvSpPr>
        <p:spPr>
          <a:xfrm flipH="1">
            <a:off x="6258210" y="-1"/>
            <a:ext cx="5943600" cy="3791372"/>
          </a:xfrm>
          <a:custGeom>
            <a:avLst/>
            <a:gdLst>
              <a:gd name="connsiteX0" fmla="*/ 4047914 w 5943600"/>
              <a:gd name="connsiteY0" fmla="*/ 0 h 3791372"/>
              <a:gd name="connsiteX1" fmla="*/ 0 w 5943600"/>
              <a:gd name="connsiteY1" fmla="*/ 0 h 3791372"/>
              <a:gd name="connsiteX2" fmla="*/ 0 w 5943600"/>
              <a:gd name="connsiteY2" fmla="*/ 3791371 h 3791372"/>
              <a:gd name="connsiteX3" fmla="*/ 4047913 w 5943600"/>
              <a:gd name="connsiteY3" fmla="*/ 3791372 h 3791372"/>
              <a:gd name="connsiteX4" fmla="*/ 5943599 w 5943600"/>
              <a:gd name="connsiteY4" fmla="*/ 1895686 h 3791372"/>
              <a:gd name="connsiteX5" fmla="*/ 5943600 w 5943600"/>
              <a:gd name="connsiteY5" fmla="*/ 1895686 h 3791372"/>
              <a:gd name="connsiteX6" fmla="*/ 4047914 w 5943600"/>
              <a:gd name="connsiteY6" fmla="*/ 0 h 379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3600" h="3791372">
                <a:moveTo>
                  <a:pt x="4047914" y="0"/>
                </a:moveTo>
                <a:lnTo>
                  <a:pt x="0" y="0"/>
                </a:lnTo>
                <a:lnTo>
                  <a:pt x="0" y="3791371"/>
                </a:lnTo>
                <a:lnTo>
                  <a:pt x="4047913" y="3791372"/>
                </a:lnTo>
                <a:cubicBezTo>
                  <a:pt x="5094871" y="3791372"/>
                  <a:pt x="5943599" y="2942644"/>
                  <a:pt x="5943599" y="1895686"/>
                </a:cubicBezTo>
                <a:lnTo>
                  <a:pt x="5943600" y="1895686"/>
                </a:lnTo>
                <a:cubicBezTo>
                  <a:pt x="5943600" y="848728"/>
                  <a:pt x="5094872" y="0"/>
                  <a:pt x="4047914" y="0"/>
                </a:cubicBezTo>
                <a:close/>
              </a:path>
            </a:pathLst>
          </a:custGeom>
          <a:gradFill>
            <a:gsLst>
              <a:gs pos="75000">
                <a:srgbClr val="140A42"/>
              </a:gs>
              <a:gs pos="0">
                <a:srgbClr val="0DEFC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33" name="Graphic 32">
            <a:extLst>
              <a:ext uri="{FF2B5EF4-FFF2-40B4-BE49-F238E27FC236}">
                <a16:creationId xmlns:a16="http://schemas.microsoft.com/office/drawing/2014/main" id="{D98071B0-0BAC-CCBF-C8F1-4A3F454908D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652788" y="3098800"/>
            <a:ext cx="8979180" cy="3765875"/>
          </a:xfrm>
          <a:prstGeom prst="rect">
            <a:avLst/>
          </a:prstGeom>
        </p:spPr>
      </p:pic>
      <p:pic>
        <p:nvPicPr>
          <p:cNvPr id="25" name="Graphic 24">
            <a:extLst>
              <a:ext uri="{FF2B5EF4-FFF2-40B4-BE49-F238E27FC236}">
                <a16:creationId xmlns:a16="http://schemas.microsoft.com/office/drawing/2014/main" id="{81C40449-60F0-140A-3AD1-82ADF3046D44}"/>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36" name="TextBox 35">
            <a:extLst>
              <a:ext uri="{FF2B5EF4-FFF2-40B4-BE49-F238E27FC236}">
                <a16:creationId xmlns:a16="http://schemas.microsoft.com/office/drawing/2014/main" id="{87DE9C2D-C400-713C-8A35-AA4AC7DED97F}"/>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the United States, the European Union, and various other countries. </a:t>
            </a:r>
          </a:p>
        </p:txBody>
      </p:sp>
      <p:sp>
        <p:nvSpPr>
          <p:cNvPr id="2" name="Text Placeholder 21">
            <a:extLst>
              <a:ext uri="{FF2B5EF4-FFF2-40B4-BE49-F238E27FC236}">
                <a16:creationId xmlns:a16="http://schemas.microsoft.com/office/drawing/2014/main" id="{860022E3-44E7-94B3-673D-7A83DC626D61}"/>
              </a:ext>
            </a:extLst>
          </p:cNvPr>
          <p:cNvSpPr>
            <a:spLocks noGrp="1"/>
          </p:cNvSpPr>
          <p:nvPr>
            <p:ph type="body" sz="quarter" idx="11" hasCustomPrompt="1"/>
          </p:nvPr>
        </p:nvSpPr>
        <p:spPr>
          <a:xfrm>
            <a:off x="560269" y="370087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4" name="Title 1">
            <a:extLst>
              <a:ext uri="{FF2B5EF4-FFF2-40B4-BE49-F238E27FC236}">
                <a16:creationId xmlns:a16="http://schemas.microsoft.com/office/drawing/2014/main" id="{B8700D2F-0738-919B-C35D-CB0DEA2A88A0}"/>
              </a:ext>
            </a:extLst>
          </p:cNvPr>
          <p:cNvSpPr>
            <a:spLocks noGrp="1"/>
          </p:cNvSpPr>
          <p:nvPr>
            <p:ph type="ctrTitle" hasCustomPrompt="1"/>
          </p:nvPr>
        </p:nvSpPr>
        <p:spPr>
          <a:xfrm>
            <a:off x="560269" y="1439889"/>
            <a:ext cx="484993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5" name="Subtitle 2">
            <a:extLst>
              <a:ext uri="{FF2B5EF4-FFF2-40B4-BE49-F238E27FC236}">
                <a16:creationId xmlns:a16="http://schemas.microsoft.com/office/drawing/2014/main" id="{C3A1FE95-0855-D501-FF26-012CD590C28C}"/>
              </a:ext>
            </a:extLst>
          </p:cNvPr>
          <p:cNvSpPr>
            <a:spLocks noGrp="1"/>
          </p:cNvSpPr>
          <p:nvPr>
            <p:ph type="subTitle" idx="1" hasCustomPrompt="1"/>
          </p:nvPr>
        </p:nvSpPr>
        <p:spPr>
          <a:xfrm>
            <a:off x="560269" y="4540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6" name="Text Placeholder 13">
            <a:extLst>
              <a:ext uri="{FF2B5EF4-FFF2-40B4-BE49-F238E27FC236}">
                <a16:creationId xmlns:a16="http://schemas.microsoft.com/office/drawing/2014/main" id="{2D8CDC11-4E82-CC71-FA89-59B33D5F4A95}"/>
              </a:ext>
            </a:extLst>
          </p:cNvPr>
          <p:cNvSpPr>
            <a:spLocks noGrp="1"/>
          </p:cNvSpPr>
          <p:nvPr>
            <p:ph type="body" sz="quarter" idx="17" hasCustomPrompt="1"/>
          </p:nvPr>
        </p:nvSpPr>
        <p:spPr>
          <a:xfrm>
            <a:off x="560269" y="490812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7599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2026-09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51896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2562DA74-18F7-19C5-53FC-AD93FC6B5807}"/>
              </a:ext>
            </a:extLst>
          </p:cNvPr>
          <p:cNvSpPr/>
          <p:nvPr userDrawn="1"/>
        </p:nvSpPr>
        <p:spPr>
          <a:xfrm>
            <a:off x="648119" y="2375037"/>
            <a:ext cx="1730943" cy="3819542"/>
          </a:xfrm>
          <a:prstGeom prst="roundRect">
            <a:avLst>
              <a:gd name="adj" fmla="val 49328"/>
            </a:avLst>
          </a:prstGeom>
          <a:gradFill>
            <a:gsLst>
              <a:gs pos="0">
                <a:srgbClr val="6EEAC4"/>
              </a:gs>
              <a:gs pos="4000">
                <a:srgbClr val="69DFBD"/>
              </a:gs>
              <a:gs pos="39000">
                <a:srgbClr val="458588"/>
              </a:gs>
              <a:gs pos="68000">
                <a:srgbClr val="2A4360"/>
              </a:gs>
              <a:gs pos="89000">
                <a:srgbClr val="191A48"/>
              </a:gs>
              <a:gs pos="100000">
                <a:srgbClr val="130B3F"/>
              </a:gs>
            </a:gsLst>
            <a:lin ang="1620000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Subtitle 2">
            <a:extLst>
              <a:ext uri="{FF2B5EF4-FFF2-40B4-BE49-F238E27FC236}">
                <a16:creationId xmlns:a16="http://schemas.microsoft.com/office/drawing/2014/main" id="{4F08590D-7AB4-C9BE-B902-DC26BCDC65AD}"/>
              </a:ext>
            </a:extLst>
          </p:cNvPr>
          <p:cNvSpPr>
            <a:spLocks noGrp="1"/>
          </p:cNvSpPr>
          <p:nvPr>
            <p:ph type="subTitle" idx="1" hasCustomPrompt="1"/>
          </p:nvPr>
        </p:nvSpPr>
        <p:spPr>
          <a:xfrm>
            <a:off x="560269" y="2000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5" name="Picture Placeholder 4">
            <a:extLst>
              <a:ext uri="{FF2B5EF4-FFF2-40B4-BE49-F238E27FC236}">
                <a16:creationId xmlns:a16="http://schemas.microsoft.com/office/drawing/2014/main" id="{FB62F432-FEE6-8978-5F40-FEC041C6C4B4}"/>
              </a:ext>
            </a:extLst>
          </p:cNvPr>
          <p:cNvSpPr>
            <a:spLocks noGrp="1"/>
          </p:cNvSpPr>
          <p:nvPr>
            <p:ph type="pic" sz="quarter" idx="15" hasCustomPrompt="1"/>
          </p:nvPr>
        </p:nvSpPr>
        <p:spPr>
          <a:xfrm>
            <a:off x="648119" y="622721"/>
            <a:ext cx="1728216" cy="1728216"/>
          </a:xfrm>
          <a:prstGeom prst="ellipse">
            <a:avLst/>
          </a:prstGeom>
          <a:blipFill>
            <a:blip r:embed="rId5"/>
            <a:stretch>
              <a:fillRect/>
            </a:stretch>
          </a:blipFill>
          <a:ln>
            <a:no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Rectangle: Rounded Corners 5">
            <a:extLst>
              <a:ext uri="{FF2B5EF4-FFF2-40B4-BE49-F238E27FC236}">
                <a16:creationId xmlns:a16="http://schemas.microsoft.com/office/drawing/2014/main" id="{9E9020F3-8CAD-064C-515D-02A876808C1B}"/>
              </a:ext>
            </a:extLst>
          </p:cNvPr>
          <p:cNvSpPr/>
          <p:nvPr userDrawn="1"/>
        </p:nvSpPr>
        <p:spPr>
          <a:xfrm>
            <a:off x="2379546" y="623569"/>
            <a:ext cx="1730943" cy="3819542"/>
          </a:xfrm>
          <a:prstGeom prst="roundRect">
            <a:avLst>
              <a:gd name="adj" fmla="val 49328"/>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9" name="Oval 8">
            <a:extLst>
              <a:ext uri="{FF2B5EF4-FFF2-40B4-BE49-F238E27FC236}">
                <a16:creationId xmlns:a16="http://schemas.microsoft.com/office/drawing/2014/main" id="{07E83114-165C-1322-953A-6186533660A7}"/>
              </a:ext>
            </a:extLst>
          </p:cNvPr>
          <p:cNvSpPr>
            <a:spLocks/>
          </p:cNvSpPr>
          <p:nvPr userDrawn="1"/>
        </p:nvSpPr>
        <p:spPr>
          <a:xfrm>
            <a:off x="648119" y="4478373"/>
            <a:ext cx="1728216" cy="1728216"/>
          </a:xfrm>
          <a:prstGeom prst="ellipse">
            <a:avLst/>
          </a:pr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1" name="Picture Placeholder 20">
            <a:extLst>
              <a:ext uri="{FF2B5EF4-FFF2-40B4-BE49-F238E27FC236}">
                <a16:creationId xmlns:a16="http://schemas.microsoft.com/office/drawing/2014/main" id="{CDF14F0E-00FB-45E7-BA8A-D52C93844BE8}"/>
              </a:ext>
            </a:extLst>
          </p:cNvPr>
          <p:cNvSpPr>
            <a:spLocks noGrp="1"/>
          </p:cNvSpPr>
          <p:nvPr>
            <p:ph type="pic" sz="quarter" idx="14" hasCustomPrompt="1"/>
          </p:nvPr>
        </p:nvSpPr>
        <p:spPr>
          <a:xfrm>
            <a:off x="2384626" y="4456529"/>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22" name="Text Placeholder 21">
            <a:extLst>
              <a:ext uri="{FF2B5EF4-FFF2-40B4-BE49-F238E27FC236}">
                <a16:creationId xmlns:a16="http://schemas.microsoft.com/office/drawing/2014/main" id="{11BE6C84-E2C6-DDB5-A020-1D90363B2454}"/>
              </a:ext>
            </a:extLst>
          </p:cNvPr>
          <p:cNvSpPr>
            <a:spLocks noGrp="1"/>
          </p:cNvSpPr>
          <p:nvPr>
            <p:ph type="body" sz="quarter" idx="11" hasCustomPrompt="1"/>
          </p:nvPr>
        </p:nvSpPr>
        <p:spPr>
          <a:xfrm>
            <a:off x="6324599" y="4556224"/>
            <a:ext cx="5247793"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a:t>
            </a:r>
            <a:br>
              <a:rPr lang="en-US"/>
            </a:br>
            <a:r>
              <a:rPr lang="en-US"/>
              <a:t>sentence case</a:t>
            </a:r>
          </a:p>
        </p:txBody>
      </p:sp>
      <p:sp>
        <p:nvSpPr>
          <p:cNvPr id="23" name="Title 1">
            <a:extLst>
              <a:ext uri="{FF2B5EF4-FFF2-40B4-BE49-F238E27FC236}">
                <a16:creationId xmlns:a16="http://schemas.microsoft.com/office/drawing/2014/main" id="{487CCCF8-1C79-7D58-EE48-AF6A9196C7B9}"/>
              </a:ext>
            </a:extLst>
          </p:cNvPr>
          <p:cNvSpPr>
            <a:spLocks noGrp="1"/>
          </p:cNvSpPr>
          <p:nvPr>
            <p:ph type="ctrTitle" hasCustomPrompt="1"/>
          </p:nvPr>
        </p:nvSpPr>
        <p:spPr>
          <a:xfrm>
            <a:off x="6324599" y="2304759"/>
            <a:ext cx="524779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25" name="TextBox 24">
            <a:extLst>
              <a:ext uri="{FF2B5EF4-FFF2-40B4-BE49-F238E27FC236}">
                <a16:creationId xmlns:a16="http://schemas.microsoft.com/office/drawing/2014/main" id="{85CBFB29-7615-D0CB-3A29-CF41540B999E}"/>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the United States, the European Union, and various other countries. </a:t>
            </a:r>
          </a:p>
        </p:txBody>
      </p:sp>
      <p:pic>
        <p:nvPicPr>
          <p:cNvPr id="30" name="Graphic 29">
            <a:extLst>
              <a:ext uri="{FF2B5EF4-FFF2-40B4-BE49-F238E27FC236}">
                <a16:creationId xmlns:a16="http://schemas.microsoft.com/office/drawing/2014/main" id="{230B9294-49C2-9A41-4093-3BF610123F60}"/>
              </a:ext>
            </a:extLst>
          </p:cNvPr>
          <p:cNvPicPr>
            <a:picLocks/>
          </p:cNvPicPr>
          <p:nvPr userDrawn="1"/>
        </p:nvPicPr>
        <p:blipFill>
          <a:blip>
            <a:extLst>
              <a:ext uri="{96DAC541-7B7A-43D3-8B79-37D633B846F1}">
                <asvg:svgBlip xmlns:asvg="http://schemas.microsoft.com/office/drawing/2016/SVG/main" r:embed="rId7"/>
              </a:ext>
            </a:extLst>
          </a:blip>
          <a:stretch>
            <a:fillRect/>
          </a:stretch>
        </p:blipFill>
        <p:spPr>
          <a:xfrm>
            <a:off x="9360095" y="611533"/>
            <a:ext cx="2212298" cy="399963"/>
          </a:xfrm>
          <a:prstGeom prst="rect">
            <a:avLst/>
          </a:prstGeom>
        </p:spPr>
      </p:pic>
      <p:sp>
        <p:nvSpPr>
          <p:cNvPr id="11" name="Picture Placeholder 10">
            <a:extLst>
              <a:ext uri="{FF2B5EF4-FFF2-40B4-BE49-F238E27FC236}">
                <a16:creationId xmlns:a16="http://schemas.microsoft.com/office/drawing/2014/main" id="{C5E08318-F3D9-A07C-F68B-384AFC7798EA}"/>
              </a:ext>
            </a:extLst>
          </p:cNvPr>
          <p:cNvSpPr>
            <a:spLocks noGrp="1"/>
          </p:cNvSpPr>
          <p:nvPr>
            <p:ph type="pic" sz="quarter" idx="16" hasCustomPrompt="1"/>
          </p:nvPr>
        </p:nvSpPr>
        <p:spPr>
          <a:xfrm>
            <a:off x="5869518" y="623569"/>
            <a:ext cx="2933699" cy="1431514"/>
          </a:xfrm>
          <a:custGeom>
            <a:avLst/>
            <a:gdLst>
              <a:gd name="connsiteX0" fmla="*/ 715757 w 2933699"/>
              <a:gd name="connsiteY0" fmla="*/ 0 h 1431514"/>
              <a:gd name="connsiteX1" fmla="*/ 2217942 w 2933699"/>
              <a:gd name="connsiteY1" fmla="*/ 0 h 1431514"/>
              <a:gd name="connsiteX2" fmla="*/ 2933699 w 2933699"/>
              <a:gd name="connsiteY2" fmla="*/ 715757 h 1431514"/>
              <a:gd name="connsiteX3" fmla="*/ 2217942 w 2933699"/>
              <a:gd name="connsiteY3" fmla="*/ 1431514 h 1431514"/>
              <a:gd name="connsiteX4" fmla="*/ 715757 w 2933699"/>
              <a:gd name="connsiteY4" fmla="*/ 1431514 h 1431514"/>
              <a:gd name="connsiteX5" fmla="*/ 0 w 2933699"/>
              <a:gd name="connsiteY5" fmla="*/ 715757 h 1431514"/>
              <a:gd name="connsiteX6" fmla="*/ 715757 w 2933699"/>
              <a:gd name="connsiteY6" fmla="*/ 0 h 143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699" h="1431514">
                <a:moveTo>
                  <a:pt x="715757" y="0"/>
                </a:moveTo>
                <a:lnTo>
                  <a:pt x="2217942" y="0"/>
                </a:lnTo>
                <a:cubicBezTo>
                  <a:pt x="2613244" y="0"/>
                  <a:pt x="2933699" y="320455"/>
                  <a:pt x="2933699" y="715757"/>
                </a:cubicBezTo>
                <a:cubicBezTo>
                  <a:pt x="2933699" y="1111059"/>
                  <a:pt x="2613244" y="1431514"/>
                  <a:pt x="2217942" y="1431514"/>
                </a:cubicBezTo>
                <a:lnTo>
                  <a:pt x="715757" y="1431514"/>
                </a:lnTo>
                <a:cubicBezTo>
                  <a:pt x="320456" y="1431514"/>
                  <a:pt x="0" y="1111059"/>
                  <a:pt x="0" y="715757"/>
                </a:cubicBezTo>
                <a:cubicBezTo>
                  <a:pt x="0" y="320455"/>
                  <a:pt x="320456" y="0"/>
                  <a:pt x="715757"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4" name="Text Placeholder 13">
            <a:extLst>
              <a:ext uri="{FF2B5EF4-FFF2-40B4-BE49-F238E27FC236}">
                <a16:creationId xmlns:a16="http://schemas.microsoft.com/office/drawing/2014/main" id="{94211D75-A79E-56DC-E881-52C0CC027566}"/>
              </a:ext>
            </a:extLst>
          </p:cNvPr>
          <p:cNvSpPr>
            <a:spLocks noGrp="1"/>
          </p:cNvSpPr>
          <p:nvPr>
            <p:ph type="body" sz="quarter" idx="17" hasCustomPrompt="1"/>
          </p:nvPr>
        </p:nvSpPr>
        <p:spPr>
          <a:xfrm>
            <a:off x="6324598" y="5753948"/>
            <a:ext cx="5247793" cy="385767"/>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12" name="Graphic 11">
            <a:extLst>
              <a:ext uri="{FF2B5EF4-FFF2-40B4-BE49-F238E27FC236}">
                <a16:creationId xmlns:a16="http://schemas.microsoft.com/office/drawing/2014/main" id="{1CF48BE1-E766-5FA2-D411-8460923A9A1B}"/>
              </a:ext>
            </a:extLst>
          </p:cNvPr>
          <p:cNvPicPr>
            <a:picLocks noChangeAspect="1"/>
          </p:cNvPicPr>
          <p:nvPr userDrawn="1"/>
        </p:nvPicPr>
        <p:blipFill>
          <a:blip>
            <a:extLst>
              <a:ext uri="{96DAC541-7B7A-43D3-8B79-37D633B846F1}">
                <asvg:svgBlip xmlns:asvg="http://schemas.microsoft.com/office/drawing/2016/SVG/main" r:embed="rId9"/>
              </a:ext>
            </a:extLst>
          </a:blip>
          <a:stretch>
            <a:fillRect/>
          </a:stretch>
        </p:blipFill>
        <p:spPr>
          <a:xfrm>
            <a:off x="4110117" y="2770343"/>
            <a:ext cx="1684470" cy="1684470"/>
          </a:xfrm>
          <a:prstGeom prst="rect">
            <a:avLst/>
          </a:prstGeom>
        </p:spPr>
      </p:pic>
      <p:pic>
        <p:nvPicPr>
          <p:cNvPr id="24" name="Graphic 23">
            <a:extLst>
              <a:ext uri="{FF2B5EF4-FFF2-40B4-BE49-F238E27FC236}">
                <a16:creationId xmlns:a16="http://schemas.microsoft.com/office/drawing/2014/main" id="{1E6FE9EC-397D-B942-0236-819BCED1063D}"/>
              </a:ext>
            </a:extLst>
          </p:cNvPr>
          <p:cNvPicPr>
            <a:picLocks noChangeAspect="1"/>
          </p:cNvPicPr>
          <p:nvPr userDrawn="1"/>
        </p:nvPicPr>
        <p:blipFill>
          <a:blip>
            <a:extLst>
              <a:ext uri="{96DAC541-7B7A-43D3-8B79-37D633B846F1}">
                <asvg:svgBlip xmlns:asvg="http://schemas.microsoft.com/office/drawing/2016/SVG/main" r:embed="rId10"/>
              </a:ext>
            </a:extLst>
          </a:blip>
          <a:stretch>
            <a:fillRect/>
          </a:stretch>
        </p:blipFill>
        <p:spPr>
          <a:xfrm>
            <a:off x="4110117" y="623569"/>
            <a:ext cx="1757680" cy="2274646"/>
          </a:xfrm>
          <a:prstGeom prst="rect">
            <a:avLst/>
          </a:prstGeom>
        </p:spPr>
      </p:pic>
    </p:spTree>
    <p:extLst>
      <p:ext uri="{BB962C8B-B14F-4D97-AF65-F5344CB8AC3E}">
        <p14:creationId xmlns:p14="http://schemas.microsoft.com/office/powerpoint/2010/main" val="214729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Co-Brand 2026-10 - IQVIA">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43B117B-9DAD-CC97-C2A8-66F44CA68FD8}"/>
              </a:ext>
            </a:extLst>
          </p:cNvPr>
          <p:cNvGraphicFramePr>
            <a:graphicFrameLocks noChangeAspect="1"/>
          </p:cNvGraphicFramePr>
          <p:nvPr userDrawn="1">
            <p:custDataLst>
              <p:tags r:id="rId1"/>
            </p:custDataLst>
            <p:extLst>
              <p:ext uri="{D42A27DB-BD31-4B8C-83A1-F6EECF244321}">
                <p14:modId xmlns:p14="http://schemas.microsoft.com/office/powerpoint/2010/main" val="237742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C43B117B-9DAD-CC97-C2A8-66F44CA68F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000" b="0" i="1">
                <a:solidFill>
                  <a:schemeClr val="accent2"/>
                </a:solidFill>
                <a:latin typeface="+mj-lt"/>
              </a:defRPr>
            </a:lvl1pPr>
          </a:lstStyle>
          <a:p>
            <a:pPr lvl="0"/>
            <a:r>
              <a:rPr lang="en-US"/>
              <a:t>Subheads are 20pt Noto Sans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40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4pt Noto Sans</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rIns="45720">
            <a:noAutofit/>
          </a:bodyPr>
          <a:lstStyle>
            <a:lvl1pPr marL="0" indent="0" algn="l">
              <a:lnSpc>
                <a:spcPct val="100000"/>
              </a:lnSpc>
              <a:spcBef>
                <a:spcPts val="600"/>
              </a:spcBef>
              <a:buNone/>
              <a:defRPr sz="1000" b="0" i="0">
                <a:solidFill>
                  <a:schemeClr val="bg1"/>
                </a:solidFill>
                <a:latin typeface="+mj-lt"/>
              </a:defRPr>
            </a:lvl1pPr>
          </a:lstStyle>
          <a:p>
            <a:pPr lvl="0"/>
            <a:r>
              <a:rPr lang="en-US"/>
              <a:t>Co-brand and bid defense only: You may replace this box with a sponsor logo. Ensure the logo is on a white or transparent background and you have usage permission.</a:t>
            </a:r>
          </a:p>
          <a:p>
            <a:pPr lvl="0"/>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userDrawn="1"/>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6" name="Freeform: Shape 5">
            <a:extLst>
              <a:ext uri="{FF2B5EF4-FFF2-40B4-BE49-F238E27FC236}">
                <a16:creationId xmlns:a16="http://schemas.microsoft.com/office/drawing/2014/main" id="{7FC2DBB2-A181-4E29-6CCA-A8F30AC33C44}"/>
              </a:ext>
            </a:extLst>
          </p:cNvPr>
          <p:cNvSpPr/>
          <p:nvPr userDrawn="1"/>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7" name="Freeform: Shape 6">
            <a:extLst>
              <a:ext uri="{FF2B5EF4-FFF2-40B4-BE49-F238E27FC236}">
                <a16:creationId xmlns:a16="http://schemas.microsoft.com/office/drawing/2014/main" id="{AFC722F8-9A5C-19E5-0242-1E41CA5B41E8}"/>
              </a:ext>
            </a:extLst>
          </p:cNvPr>
          <p:cNvSpPr/>
          <p:nvPr userDrawn="1"/>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8" name="Freeform: Shape 7">
            <a:extLst>
              <a:ext uri="{FF2B5EF4-FFF2-40B4-BE49-F238E27FC236}">
                <a16:creationId xmlns:a16="http://schemas.microsoft.com/office/drawing/2014/main" id="{461D5A5C-10B5-236E-C5A3-320C49CAC101}"/>
              </a:ext>
            </a:extLst>
          </p:cNvPr>
          <p:cNvSpPr/>
          <p:nvPr userDrawn="1"/>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Freeform: Shape 9">
            <a:extLst>
              <a:ext uri="{FF2B5EF4-FFF2-40B4-BE49-F238E27FC236}">
                <a16:creationId xmlns:a16="http://schemas.microsoft.com/office/drawing/2014/main" id="{F380E180-0B33-1124-60B3-4CE23784FB15}"/>
              </a:ext>
            </a:extLst>
          </p:cNvPr>
          <p:cNvSpPr/>
          <p:nvPr userDrawn="1"/>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Tree>
    <p:extLst>
      <p:ext uri="{BB962C8B-B14F-4D97-AF65-F5344CB8AC3E}">
        <p14:creationId xmlns:p14="http://schemas.microsoft.com/office/powerpoint/2010/main" val="218152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A8A15E-1053-38DD-AC1D-5EA46364C078}"/>
              </a:ext>
            </a:extLst>
          </p:cNvPr>
          <p:cNvGraphicFramePr>
            <a:graphicFrameLocks noChangeAspect="1"/>
          </p:cNvGraphicFramePr>
          <p:nvPr userDrawn="1">
            <p:custDataLst>
              <p:tags r:id="rId1"/>
            </p:custDataLst>
            <p:extLst>
              <p:ext uri="{D42A27DB-BD31-4B8C-83A1-F6EECF244321}">
                <p14:modId xmlns:p14="http://schemas.microsoft.com/office/powerpoint/2010/main" val="109620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05A8A15E-1053-38DD-AC1D-5EA46364C0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6313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56B5BD-D0BB-AFCA-634D-8774ECD5E040}"/>
              </a:ext>
            </a:extLst>
          </p:cNvPr>
          <p:cNvGraphicFramePr>
            <a:graphicFrameLocks noChangeAspect="1"/>
          </p:cNvGraphicFramePr>
          <p:nvPr userDrawn="1">
            <p:custDataLst>
              <p:tags r:id="rId1"/>
            </p:custDataLst>
            <p:extLst>
              <p:ext uri="{D42A27DB-BD31-4B8C-83A1-F6EECF244321}">
                <p14:modId xmlns:p14="http://schemas.microsoft.com/office/powerpoint/2010/main" val="259286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1556B5BD-D0BB-AFCA-634D-8774ECD5E0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44015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27927AA-6E3C-3281-2AB0-473A1A133008}"/>
              </a:ext>
            </a:extLst>
          </p:cNvPr>
          <p:cNvGraphicFramePr>
            <a:graphicFrameLocks noChangeAspect="1"/>
          </p:cNvGraphicFramePr>
          <p:nvPr userDrawn="1">
            <p:custDataLst>
              <p:tags r:id="rId1"/>
            </p:custDataLst>
            <p:extLst>
              <p:ext uri="{D42A27DB-BD31-4B8C-83A1-F6EECF244321}">
                <p14:modId xmlns:p14="http://schemas.microsoft.com/office/powerpoint/2010/main" val="159847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827927AA-6E3C-3281-2AB0-473A1A1330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082396"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spTree>
    <p:extLst>
      <p:ext uri="{BB962C8B-B14F-4D97-AF65-F5344CB8AC3E}">
        <p14:creationId xmlns:p14="http://schemas.microsoft.com/office/powerpoint/2010/main" val="104090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8F84D9-5BB2-7598-FDD4-DE7D2E900F66}"/>
              </a:ext>
            </a:extLst>
          </p:cNvPr>
          <p:cNvGraphicFramePr>
            <a:graphicFrameLocks noChangeAspect="1"/>
          </p:cNvGraphicFramePr>
          <p:nvPr userDrawn="1">
            <p:custDataLst>
              <p:tags r:id="rId1"/>
            </p:custDataLst>
            <p:extLst>
              <p:ext uri="{D42A27DB-BD31-4B8C-83A1-F6EECF244321}">
                <p14:modId xmlns:p14="http://schemas.microsoft.com/office/powerpoint/2010/main" val="431698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B8F84D9-5BB2-7598-FDD4-DE7D2E900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tx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tx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52382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A0FCE1-040D-C5C9-0D6C-D0BC2BC5EE7A}"/>
              </a:ext>
            </a:extLst>
          </p:cNvPr>
          <p:cNvGraphicFramePr>
            <a:graphicFrameLocks noChangeAspect="1"/>
          </p:cNvGraphicFramePr>
          <p:nvPr userDrawn="1">
            <p:custDataLst>
              <p:tags r:id="rId1"/>
            </p:custDataLst>
            <p:extLst>
              <p:ext uri="{D42A27DB-BD31-4B8C-83A1-F6EECF244321}">
                <p14:modId xmlns:p14="http://schemas.microsoft.com/office/powerpoint/2010/main" val="218165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FA0FCE1-040D-C5C9-0D6C-D0BC2BC5EE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387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F0D803-AE05-DFA0-7C50-E5A7C3AE89EC}"/>
              </a:ext>
            </a:extLst>
          </p:cNvPr>
          <p:cNvGraphicFramePr>
            <a:graphicFrameLocks noChangeAspect="1"/>
          </p:cNvGraphicFramePr>
          <p:nvPr userDrawn="1">
            <p:custDataLst>
              <p:tags r:id="rId1"/>
            </p:custDataLst>
            <p:extLst>
              <p:ext uri="{D42A27DB-BD31-4B8C-83A1-F6EECF244321}">
                <p14:modId xmlns:p14="http://schemas.microsoft.com/office/powerpoint/2010/main" val="87590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D6F0D803-AE05-DFA0-7C50-E5A7C3AE89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7704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2026-06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5285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CCE057E2-8B7A-030D-538C-6C18EF64073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 y="241300"/>
            <a:ext cx="11868149" cy="6362699"/>
          </a:xfrm>
          <a:prstGeom prst="rect">
            <a:avLst/>
          </a:prstGeom>
        </p:spPr>
      </p:pic>
      <p:sp>
        <p:nvSpPr>
          <p:cNvPr id="20" name="Rectangle: Rounded Corners 19">
            <a:extLst>
              <a:ext uri="{FF2B5EF4-FFF2-40B4-BE49-F238E27FC236}">
                <a16:creationId xmlns:a16="http://schemas.microsoft.com/office/drawing/2014/main" id="{E3DF00FD-7F50-5F6A-0211-01F10C408F79}"/>
              </a:ext>
            </a:extLst>
          </p:cNvPr>
          <p:cNvSpPr/>
          <p:nvPr userDrawn="1"/>
        </p:nvSpPr>
        <p:spPr>
          <a:xfrm rot="2700000">
            <a:off x="9559085" y="-38969"/>
            <a:ext cx="1593806" cy="357200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2" name="Rectangle: Rounded Corners 21">
            <a:extLst>
              <a:ext uri="{FF2B5EF4-FFF2-40B4-BE49-F238E27FC236}">
                <a16:creationId xmlns:a16="http://schemas.microsoft.com/office/drawing/2014/main" id="{0E54E32E-29E1-0CE9-9EB3-4299AC5BA551}"/>
              </a:ext>
            </a:extLst>
          </p:cNvPr>
          <p:cNvSpPr/>
          <p:nvPr userDrawn="1"/>
        </p:nvSpPr>
        <p:spPr>
          <a:xfrm rot="2700000">
            <a:off x="9854559" y="1343244"/>
            <a:ext cx="592131" cy="3587612"/>
          </a:xfrm>
          <a:prstGeom prst="roundRect">
            <a:avLst>
              <a:gd name="adj" fmla="val 5000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4" name="Freeform: Shape 23">
            <a:extLst>
              <a:ext uri="{FF2B5EF4-FFF2-40B4-BE49-F238E27FC236}">
                <a16:creationId xmlns:a16="http://schemas.microsoft.com/office/drawing/2014/main" id="{33A17EB4-0511-A9D6-5B78-5B9A582D9D64}"/>
              </a:ext>
            </a:extLst>
          </p:cNvPr>
          <p:cNvSpPr/>
          <p:nvPr userDrawn="1"/>
        </p:nvSpPr>
        <p:spPr>
          <a:xfrm rot="2700000">
            <a:off x="8557688" y="693470"/>
            <a:ext cx="2580562" cy="3142418"/>
          </a:xfrm>
          <a:custGeom>
            <a:avLst/>
            <a:gdLst>
              <a:gd name="connsiteX0" fmla="*/ 0 w 2580562"/>
              <a:gd name="connsiteY0" fmla="*/ 944206 h 4086624"/>
              <a:gd name="connsiteX1" fmla="*/ 704269 w 2580562"/>
              <a:gd name="connsiteY1" fmla="*/ 239938 h 4086624"/>
              <a:gd name="connsiteX2" fmla="*/ 1862790 w 2580562"/>
              <a:gd name="connsiteY2" fmla="*/ 239938 h 4086624"/>
              <a:gd name="connsiteX3" fmla="*/ 2580562 w 2580562"/>
              <a:gd name="connsiteY3" fmla="*/ 957710 h 4086624"/>
              <a:gd name="connsiteX4" fmla="*/ 2580562 w 2580562"/>
              <a:gd name="connsiteY4" fmla="*/ 2796343 h 4086624"/>
              <a:gd name="connsiteX5" fmla="*/ 1290281 w 2580562"/>
              <a:gd name="connsiteY5" fmla="*/ 4086624 h 4086624"/>
              <a:gd name="connsiteX6" fmla="*/ 0 w 2580562"/>
              <a:gd name="connsiteY6" fmla="*/ 2796343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7" fmla="*/ 795709 w 2580562"/>
              <a:gd name="connsiteY7" fmla="*/ 331378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0" fmla="*/ 1862790 w 2580562"/>
              <a:gd name="connsiteY0" fmla="*/ 0 h 3846686"/>
              <a:gd name="connsiteX1" fmla="*/ 2580562 w 2580562"/>
              <a:gd name="connsiteY1" fmla="*/ 717772 h 3846686"/>
              <a:gd name="connsiteX2" fmla="*/ 2580562 w 2580562"/>
              <a:gd name="connsiteY2" fmla="*/ 2556405 h 3846686"/>
              <a:gd name="connsiteX3" fmla="*/ 1290281 w 2580562"/>
              <a:gd name="connsiteY3" fmla="*/ 3846686 h 3846686"/>
              <a:gd name="connsiteX4" fmla="*/ 0 w 2580562"/>
              <a:gd name="connsiteY4" fmla="*/ 2556405 h 3846686"/>
              <a:gd name="connsiteX5" fmla="*/ 0 w 2580562"/>
              <a:gd name="connsiteY5" fmla="*/ 704268 h 3846686"/>
              <a:gd name="connsiteX0" fmla="*/ 2580562 w 2580562"/>
              <a:gd name="connsiteY0" fmla="*/ 13504 h 3142418"/>
              <a:gd name="connsiteX1" fmla="*/ 2580562 w 2580562"/>
              <a:gd name="connsiteY1" fmla="*/ 1852137 h 3142418"/>
              <a:gd name="connsiteX2" fmla="*/ 1290281 w 2580562"/>
              <a:gd name="connsiteY2" fmla="*/ 3142418 h 3142418"/>
              <a:gd name="connsiteX3" fmla="*/ 0 w 2580562"/>
              <a:gd name="connsiteY3" fmla="*/ 1852137 h 3142418"/>
              <a:gd name="connsiteX4" fmla="*/ 0 w 2580562"/>
              <a:gd name="connsiteY4" fmla="*/ 0 h 3142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562" h="3142418">
                <a:moveTo>
                  <a:pt x="2580562" y="13504"/>
                </a:moveTo>
                <a:lnTo>
                  <a:pt x="2580562" y="1852137"/>
                </a:lnTo>
                <a:cubicBezTo>
                  <a:pt x="2580562" y="2564740"/>
                  <a:pt x="2002884" y="3142418"/>
                  <a:pt x="1290281" y="3142418"/>
                </a:cubicBezTo>
                <a:cubicBezTo>
                  <a:pt x="577678" y="3142418"/>
                  <a:pt x="0" y="2564740"/>
                  <a:pt x="0" y="1852137"/>
                </a:cubicBez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26" name="Graphic 25">
            <a:extLst>
              <a:ext uri="{FF2B5EF4-FFF2-40B4-BE49-F238E27FC236}">
                <a16:creationId xmlns:a16="http://schemas.microsoft.com/office/drawing/2014/main" id="{279552D8-93AA-1558-53CF-B3AA2441C9F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27" name="Text Placeholder 21">
            <a:extLst>
              <a:ext uri="{FF2B5EF4-FFF2-40B4-BE49-F238E27FC236}">
                <a16:creationId xmlns:a16="http://schemas.microsoft.com/office/drawing/2014/main" id="{2DB327D4-53F8-A02D-FD4B-DE3CE5FC3F4D}"/>
              </a:ext>
            </a:extLst>
          </p:cNvPr>
          <p:cNvSpPr>
            <a:spLocks noGrp="1"/>
          </p:cNvSpPr>
          <p:nvPr>
            <p:ph type="body" sz="quarter" idx="11" hasCustomPrompt="1"/>
          </p:nvPr>
        </p:nvSpPr>
        <p:spPr>
          <a:xfrm>
            <a:off x="560269" y="4513255"/>
            <a:ext cx="6716020"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28" name="Title 1">
            <a:extLst>
              <a:ext uri="{FF2B5EF4-FFF2-40B4-BE49-F238E27FC236}">
                <a16:creationId xmlns:a16="http://schemas.microsoft.com/office/drawing/2014/main" id="{1D4F7CBF-B263-6DFD-1E56-2BCBA31644B6}"/>
              </a:ext>
            </a:extLst>
          </p:cNvPr>
          <p:cNvSpPr>
            <a:spLocks noGrp="1"/>
          </p:cNvSpPr>
          <p:nvPr>
            <p:ph type="ctrTitle" hasCustomPrompt="1"/>
          </p:nvPr>
        </p:nvSpPr>
        <p:spPr>
          <a:xfrm>
            <a:off x="560269" y="2292059"/>
            <a:ext cx="6716020"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29" name="Subtitle 2">
            <a:extLst>
              <a:ext uri="{FF2B5EF4-FFF2-40B4-BE49-F238E27FC236}">
                <a16:creationId xmlns:a16="http://schemas.microsoft.com/office/drawing/2014/main" id="{E612B469-E30C-E96F-0490-057826786242}"/>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30" name="TextBox 29">
            <a:extLst>
              <a:ext uri="{FF2B5EF4-FFF2-40B4-BE49-F238E27FC236}">
                <a16:creationId xmlns:a16="http://schemas.microsoft.com/office/drawing/2014/main" id="{EF596005-FB39-2120-DA4B-99A6851C070A}"/>
              </a:ext>
            </a:extLst>
          </p:cNvPr>
          <p:cNvSpPr txBox="1"/>
          <p:nvPr userDrawn="1"/>
        </p:nvSpPr>
        <p:spPr bwMode="black">
          <a:xfrm>
            <a:off x="560269" y="66215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42" name="Picture Placeholder 41">
            <a:extLst>
              <a:ext uri="{FF2B5EF4-FFF2-40B4-BE49-F238E27FC236}">
                <a16:creationId xmlns:a16="http://schemas.microsoft.com/office/drawing/2014/main" id="{178ED566-AC4C-DB1A-FBA8-411D294AA9FD}"/>
              </a:ext>
            </a:extLst>
          </p:cNvPr>
          <p:cNvSpPr>
            <a:spLocks noGrp="1"/>
          </p:cNvSpPr>
          <p:nvPr>
            <p:ph type="pic" sz="quarter" idx="14" hasCustomPrompt="1"/>
          </p:nvPr>
        </p:nvSpPr>
        <p:spPr>
          <a:xfrm>
            <a:off x="8667751" y="3414409"/>
            <a:ext cx="3194049" cy="3189591"/>
          </a:xfrm>
          <a:prstGeom prst="roundRect">
            <a:avLst>
              <a:gd name="adj" fmla="val 24829"/>
            </a:avLst>
          </a:pr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Text Placeholder 13">
            <a:extLst>
              <a:ext uri="{FF2B5EF4-FFF2-40B4-BE49-F238E27FC236}">
                <a16:creationId xmlns:a16="http://schemas.microsoft.com/office/drawing/2014/main" id="{4871D7E5-7016-D225-9AA1-16FDB1DA9B1E}"/>
              </a:ext>
            </a:extLst>
          </p:cNvPr>
          <p:cNvSpPr>
            <a:spLocks noGrp="1"/>
          </p:cNvSpPr>
          <p:nvPr>
            <p:ph type="body" sz="quarter" idx="17" hasCustomPrompt="1"/>
          </p:nvPr>
        </p:nvSpPr>
        <p:spPr>
          <a:xfrm>
            <a:off x="560268" y="5680710"/>
            <a:ext cx="6716020"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36962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EBE655-8CD4-3111-DF6A-4F3DB7213B75}"/>
              </a:ext>
            </a:extLst>
          </p:cNvPr>
          <p:cNvGraphicFramePr>
            <a:graphicFrameLocks noChangeAspect="1"/>
          </p:cNvGraphicFramePr>
          <p:nvPr userDrawn="1">
            <p:custDataLst>
              <p:tags r:id="rId1"/>
            </p:custDataLst>
            <p:extLst>
              <p:ext uri="{D42A27DB-BD31-4B8C-83A1-F6EECF244321}">
                <p14:modId xmlns:p14="http://schemas.microsoft.com/office/powerpoint/2010/main" val="134594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DEBE655-8CD4-3111-DF6A-4F3DB7213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97743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F4ACCC-7F14-F438-ACE2-3F9BADE4A0E8}"/>
              </a:ext>
            </a:extLst>
          </p:cNvPr>
          <p:cNvGraphicFramePr>
            <a:graphicFrameLocks noChangeAspect="1"/>
          </p:cNvGraphicFramePr>
          <p:nvPr userDrawn="1">
            <p:custDataLst>
              <p:tags r:id="rId1"/>
            </p:custDataLst>
            <p:extLst>
              <p:ext uri="{D42A27DB-BD31-4B8C-83A1-F6EECF244321}">
                <p14:modId xmlns:p14="http://schemas.microsoft.com/office/powerpoint/2010/main" val="207565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35F4ACCC-7F14-F438-ACE2-3F9BADE4A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a:defRPr sz="2800" b="1">
                <a:solidFill>
                  <a:schemeClr val="tx1"/>
                </a:solidFill>
                <a:latin typeface="+mj-lt"/>
              </a:defRPr>
            </a:lvl1pPr>
          </a:lstStyle>
          <a:p>
            <a:r>
              <a:rPr lang="en-US"/>
              <a:t>Headlines are 28pt Noto Sans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870434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F36D22-2A16-B58B-E2E7-CC2E4CF2DC3C}"/>
              </a:ext>
            </a:extLst>
          </p:cNvPr>
          <p:cNvGraphicFramePr>
            <a:graphicFrameLocks noChangeAspect="1"/>
          </p:cNvGraphicFramePr>
          <p:nvPr userDrawn="1">
            <p:custDataLst>
              <p:tags r:id="rId1"/>
            </p:custDataLst>
            <p:extLst>
              <p:ext uri="{D42A27DB-BD31-4B8C-83A1-F6EECF244321}">
                <p14:modId xmlns:p14="http://schemas.microsoft.com/office/powerpoint/2010/main" val="53233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A7F36D22-2A16-B58B-E2E7-CC2E4CF2DC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65858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5032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spTree>
    <p:extLst>
      <p:ext uri="{BB962C8B-B14F-4D97-AF65-F5344CB8AC3E}">
        <p14:creationId xmlns:p14="http://schemas.microsoft.com/office/powerpoint/2010/main" val="196723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of Contents-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81769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CE108673-A841-F2DC-4C63-9BA3E20F4525}"/>
              </a:ext>
            </a:extLst>
          </p:cNvPr>
          <p:cNvSpPr>
            <a:spLocks noGrp="1"/>
          </p:cNvSpPr>
          <p:nvPr>
            <p:ph type="pic" sz="quarter" idx="14" hasCustomPrompt="1"/>
          </p:nvPr>
        </p:nvSpPr>
        <p:spPr>
          <a:xfrm>
            <a:off x="0" y="0"/>
            <a:ext cx="1304263" cy="2595880"/>
          </a:xfrm>
          <a:custGeom>
            <a:avLst/>
            <a:gdLst>
              <a:gd name="connsiteX0" fmla="*/ 0 w 1304263"/>
              <a:gd name="connsiteY0" fmla="*/ 0 h 2595880"/>
              <a:gd name="connsiteX1" fmla="*/ 6322 w 1304263"/>
              <a:gd name="connsiteY1" fmla="*/ 0 h 2595880"/>
              <a:gd name="connsiteX2" fmla="*/ 1304263 w 1304263"/>
              <a:gd name="connsiteY2" fmla="*/ 1297940 h 2595880"/>
              <a:gd name="connsiteX3" fmla="*/ 1304263 w 1304263"/>
              <a:gd name="connsiteY3" fmla="*/ 1297940 h 2595880"/>
              <a:gd name="connsiteX4" fmla="*/ 6322 w 1304263"/>
              <a:gd name="connsiteY4" fmla="*/ 2595880 h 2595880"/>
              <a:gd name="connsiteX5" fmla="*/ 0 w 1304263"/>
              <a:gd name="connsiteY5" fmla="*/ 2595880 h 25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263" h="2595880">
                <a:moveTo>
                  <a:pt x="0" y="0"/>
                </a:moveTo>
                <a:lnTo>
                  <a:pt x="6322" y="0"/>
                </a:lnTo>
                <a:cubicBezTo>
                  <a:pt x="723155" y="0"/>
                  <a:pt x="1304263" y="581108"/>
                  <a:pt x="1304263" y="1297940"/>
                </a:cubicBezTo>
                <a:lnTo>
                  <a:pt x="1304263" y="1297940"/>
                </a:lnTo>
                <a:cubicBezTo>
                  <a:pt x="1304263" y="2014773"/>
                  <a:pt x="723155" y="2595880"/>
                  <a:pt x="6322" y="2595880"/>
                </a:cubicBezTo>
                <a:lnTo>
                  <a:pt x="0" y="2595880"/>
                </a:ln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426996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able of Contents-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392256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3" name="Freeform: Shape 32">
            <a:extLst>
              <a:ext uri="{FF2B5EF4-FFF2-40B4-BE49-F238E27FC236}">
                <a16:creationId xmlns:a16="http://schemas.microsoft.com/office/drawing/2014/main" id="{9123A0F2-7503-B8DD-283A-DEA0EB4EB5EA}"/>
              </a:ext>
            </a:extLst>
          </p:cNvPr>
          <p:cNvSpPr/>
          <p:nvPr userDrawn="1"/>
        </p:nvSpPr>
        <p:spPr>
          <a:xfrm rot="18900000" flipH="1">
            <a:off x="-594083" y="523938"/>
            <a:ext cx="1527403" cy="2007154"/>
          </a:xfrm>
          <a:custGeom>
            <a:avLst/>
            <a:gdLst>
              <a:gd name="connsiteX0" fmla="*/ 0 w 1527403"/>
              <a:gd name="connsiteY0" fmla="*/ 0 h 2007154"/>
              <a:gd name="connsiteX1" fmla="*/ 0 w 1527403"/>
              <a:gd name="connsiteY1" fmla="*/ 1210251 h 2007154"/>
              <a:gd name="connsiteX2" fmla="*/ 796903 w 1527403"/>
              <a:gd name="connsiteY2" fmla="*/ 2007154 h 2007154"/>
              <a:gd name="connsiteX3" fmla="*/ 1457708 w 1527403"/>
              <a:gd name="connsiteY3" fmla="*/ 1655807 h 2007154"/>
              <a:gd name="connsiteX4" fmla="*/ 1527403 w 1527403"/>
              <a:gd name="connsiteY4" fmla="*/ 1527403 h 200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403" h="2007154">
                <a:moveTo>
                  <a:pt x="0" y="0"/>
                </a:moveTo>
                <a:lnTo>
                  <a:pt x="0" y="1210251"/>
                </a:lnTo>
                <a:cubicBezTo>
                  <a:pt x="0" y="1650368"/>
                  <a:pt x="356786" y="2007154"/>
                  <a:pt x="796903" y="2007154"/>
                </a:cubicBezTo>
                <a:cubicBezTo>
                  <a:pt x="1071976" y="2007154"/>
                  <a:pt x="1314498" y="1867785"/>
                  <a:pt x="1457708" y="1655807"/>
                </a:cubicBezTo>
                <a:lnTo>
                  <a:pt x="1527403" y="152740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2" name="Freeform: Shape 31">
            <a:extLst>
              <a:ext uri="{FF2B5EF4-FFF2-40B4-BE49-F238E27FC236}">
                <a16:creationId xmlns:a16="http://schemas.microsoft.com/office/drawing/2014/main" id="{301576D0-87DC-3682-FFCD-2F2E6A1F2A94}"/>
              </a:ext>
            </a:extLst>
          </p:cNvPr>
          <p:cNvSpPr/>
          <p:nvPr userDrawn="1"/>
        </p:nvSpPr>
        <p:spPr>
          <a:xfrm rot="18900000" flipH="1">
            <a:off x="142114" y="2067490"/>
            <a:ext cx="592131" cy="1831489"/>
          </a:xfrm>
          <a:custGeom>
            <a:avLst/>
            <a:gdLst>
              <a:gd name="connsiteX0" fmla="*/ 0 w 592131"/>
              <a:gd name="connsiteY0" fmla="*/ 0 h 1831489"/>
              <a:gd name="connsiteX1" fmla="*/ 0 w 592131"/>
              <a:gd name="connsiteY1" fmla="*/ 1535422 h 1831489"/>
              <a:gd name="connsiteX2" fmla="*/ 296066 w 592131"/>
              <a:gd name="connsiteY2" fmla="*/ 1831488 h 1831489"/>
              <a:gd name="connsiteX3" fmla="*/ 296065 w 592131"/>
              <a:gd name="connsiteY3" fmla="*/ 1831489 h 1831489"/>
              <a:gd name="connsiteX4" fmla="*/ 592131 w 592131"/>
              <a:gd name="connsiteY4" fmla="*/ 1535423 h 1831489"/>
              <a:gd name="connsiteX5" fmla="*/ 592131 w 592131"/>
              <a:gd name="connsiteY5" fmla="*/ 592131 h 18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131" h="1831489">
                <a:moveTo>
                  <a:pt x="0" y="0"/>
                </a:moveTo>
                <a:lnTo>
                  <a:pt x="0" y="1535422"/>
                </a:lnTo>
                <a:cubicBezTo>
                  <a:pt x="0" y="1698935"/>
                  <a:pt x="132553" y="1831488"/>
                  <a:pt x="296066" y="1831488"/>
                </a:cubicBezTo>
                <a:lnTo>
                  <a:pt x="296065" y="1831489"/>
                </a:lnTo>
                <a:cubicBezTo>
                  <a:pt x="459578" y="1831489"/>
                  <a:pt x="592131" y="1698936"/>
                  <a:pt x="592131" y="1535423"/>
                </a:cubicBezTo>
                <a:lnTo>
                  <a:pt x="592131" y="59213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1" name="Freeform: Shape 40">
            <a:extLst>
              <a:ext uri="{FF2B5EF4-FFF2-40B4-BE49-F238E27FC236}">
                <a16:creationId xmlns:a16="http://schemas.microsoft.com/office/drawing/2014/main" id="{46560C56-9182-2FB8-A10A-9F4D9E9AE16F}"/>
              </a:ext>
            </a:extLst>
          </p:cNvPr>
          <p:cNvSpPr/>
          <p:nvPr userDrawn="1"/>
        </p:nvSpPr>
        <p:spPr>
          <a:xfrm rot="18900000" flipH="1">
            <a:off x="-769846" y="488813"/>
            <a:ext cx="2386628" cy="2423999"/>
          </a:xfrm>
          <a:custGeom>
            <a:avLst/>
            <a:gdLst>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6" fmla="*/ 381533 w 2386628"/>
              <a:gd name="connsiteY6" fmla="*/ 91440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0 w 2386628"/>
              <a:gd name="connsiteY0" fmla="*/ 0 h 2423999"/>
              <a:gd name="connsiteX1" fmla="*/ 0 w 2386628"/>
              <a:gd name="connsiteY1" fmla="*/ 1133718 h 2423999"/>
              <a:gd name="connsiteX2" fmla="*/ 1290281 w 2386628"/>
              <a:gd name="connsiteY2" fmla="*/ 2423999 h 2423999"/>
              <a:gd name="connsiteX3" fmla="*/ 2360202 w 2386628"/>
              <a:gd name="connsiteY3" fmla="*/ 1855127 h 2423999"/>
              <a:gd name="connsiteX4" fmla="*/ 2386628 w 2386628"/>
              <a:gd name="connsiteY4" fmla="*/ 1806441 h 2423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628" h="2423999">
                <a:moveTo>
                  <a:pt x="0" y="0"/>
                </a:moveTo>
                <a:lnTo>
                  <a:pt x="0" y="1133718"/>
                </a:lnTo>
                <a:cubicBezTo>
                  <a:pt x="0" y="1846321"/>
                  <a:pt x="577678" y="2423999"/>
                  <a:pt x="1290281" y="2423999"/>
                </a:cubicBezTo>
                <a:cubicBezTo>
                  <a:pt x="1735658" y="2423999"/>
                  <a:pt x="2128330" y="2198344"/>
                  <a:pt x="2360202" y="1855127"/>
                </a:cubicBezTo>
                <a:lnTo>
                  <a:pt x="2386628" y="1806441"/>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Tree>
    <p:extLst>
      <p:ext uri="{BB962C8B-B14F-4D97-AF65-F5344CB8AC3E}">
        <p14:creationId xmlns:p14="http://schemas.microsoft.com/office/powerpoint/2010/main" val="31588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of Contents_Two Column-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512648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2" name="Content Placeholder 2">
            <a:extLst>
              <a:ext uri="{FF2B5EF4-FFF2-40B4-BE49-F238E27FC236}">
                <a16:creationId xmlns:a16="http://schemas.microsoft.com/office/drawing/2014/main" id="{FB18EDB9-5623-FD23-8C0E-AA29EDA7A30A}"/>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4" name="Content Placeholder 2">
            <a:extLst>
              <a:ext uri="{FF2B5EF4-FFF2-40B4-BE49-F238E27FC236}">
                <a16:creationId xmlns:a16="http://schemas.microsoft.com/office/drawing/2014/main" id="{F3149A18-341D-DEE9-36AF-B20C2CF51C83}"/>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 name="Picture Placeholder 4">
            <a:extLst>
              <a:ext uri="{FF2B5EF4-FFF2-40B4-BE49-F238E27FC236}">
                <a16:creationId xmlns:a16="http://schemas.microsoft.com/office/drawing/2014/main" id="{6D3F2401-B526-950D-C991-D2062E340CC8}"/>
              </a:ext>
            </a:extLst>
          </p:cNvPr>
          <p:cNvSpPr>
            <a:spLocks noGrp="1"/>
          </p:cNvSpPr>
          <p:nvPr>
            <p:ph type="pic" sz="quarter" idx="14" hasCustomPrompt="1"/>
          </p:nvPr>
        </p:nvSpPr>
        <p:spPr>
          <a:xfrm>
            <a:off x="0" y="0"/>
            <a:ext cx="1304263" cy="2595880"/>
          </a:xfrm>
          <a:custGeom>
            <a:avLst/>
            <a:gdLst>
              <a:gd name="connsiteX0" fmla="*/ 0 w 1304263"/>
              <a:gd name="connsiteY0" fmla="*/ 0 h 2595880"/>
              <a:gd name="connsiteX1" fmla="*/ 6322 w 1304263"/>
              <a:gd name="connsiteY1" fmla="*/ 0 h 2595880"/>
              <a:gd name="connsiteX2" fmla="*/ 1304263 w 1304263"/>
              <a:gd name="connsiteY2" fmla="*/ 1297940 h 2595880"/>
              <a:gd name="connsiteX3" fmla="*/ 1304263 w 1304263"/>
              <a:gd name="connsiteY3" fmla="*/ 1297940 h 2595880"/>
              <a:gd name="connsiteX4" fmla="*/ 6322 w 1304263"/>
              <a:gd name="connsiteY4" fmla="*/ 2595880 h 2595880"/>
              <a:gd name="connsiteX5" fmla="*/ 0 w 1304263"/>
              <a:gd name="connsiteY5" fmla="*/ 2595880 h 25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263" h="2595880">
                <a:moveTo>
                  <a:pt x="0" y="0"/>
                </a:moveTo>
                <a:lnTo>
                  <a:pt x="6322" y="0"/>
                </a:lnTo>
                <a:cubicBezTo>
                  <a:pt x="723155" y="0"/>
                  <a:pt x="1304263" y="581108"/>
                  <a:pt x="1304263" y="1297940"/>
                </a:cubicBezTo>
                <a:lnTo>
                  <a:pt x="1304263" y="1297940"/>
                </a:lnTo>
                <a:cubicBezTo>
                  <a:pt x="1304263" y="2014773"/>
                  <a:pt x="723155" y="2595880"/>
                  <a:pt x="6322" y="2595880"/>
                </a:cubicBezTo>
                <a:lnTo>
                  <a:pt x="0" y="2595880"/>
                </a:lnTo>
                <a:close/>
              </a:path>
            </a:pathLst>
          </a:cu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297194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_Two Column-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63452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3" name="Freeform: Shape 32">
            <a:extLst>
              <a:ext uri="{FF2B5EF4-FFF2-40B4-BE49-F238E27FC236}">
                <a16:creationId xmlns:a16="http://schemas.microsoft.com/office/drawing/2014/main" id="{9123A0F2-7503-B8DD-283A-DEA0EB4EB5EA}"/>
              </a:ext>
            </a:extLst>
          </p:cNvPr>
          <p:cNvSpPr/>
          <p:nvPr userDrawn="1"/>
        </p:nvSpPr>
        <p:spPr>
          <a:xfrm rot="18900000" flipH="1">
            <a:off x="-594083" y="523938"/>
            <a:ext cx="1527403" cy="2007154"/>
          </a:xfrm>
          <a:custGeom>
            <a:avLst/>
            <a:gdLst>
              <a:gd name="connsiteX0" fmla="*/ 0 w 1527403"/>
              <a:gd name="connsiteY0" fmla="*/ 0 h 2007154"/>
              <a:gd name="connsiteX1" fmla="*/ 0 w 1527403"/>
              <a:gd name="connsiteY1" fmla="*/ 1210251 h 2007154"/>
              <a:gd name="connsiteX2" fmla="*/ 796903 w 1527403"/>
              <a:gd name="connsiteY2" fmla="*/ 2007154 h 2007154"/>
              <a:gd name="connsiteX3" fmla="*/ 1457708 w 1527403"/>
              <a:gd name="connsiteY3" fmla="*/ 1655807 h 2007154"/>
              <a:gd name="connsiteX4" fmla="*/ 1527403 w 1527403"/>
              <a:gd name="connsiteY4" fmla="*/ 1527403 h 200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403" h="2007154">
                <a:moveTo>
                  <a:pt x="0" y="0"/>
                </a:moveTo>
                <a:lnTo>
                  <a:pt x="0" y="1210251"/>
                </a:lnTo>
                <a:cubicBezTo>
                  <a:pt x="0" y="1650368"/>
                  <a:pt x="356786" y="2007154"/>
                  <a:pt x="796903" y="2007154"/>
                </a:cubicBezTo>
                <a:cubicBezTo>
                  <a:pt x="1071976" y="2007154"/>
                  <a:pt x="1314498" y="1867785"/>
                  <a:pt x="1457708" y="1655807"/>
                </a:cubicBezTo>
                <a:lnTo>
                  <a:pt x="1527403" y="152740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2" name="Freeform: Shape 31">
            <a:extLst>
              <a:ext uri="{FF2B5EF4-FFF2-40B4-BE49-F238E27FC236}">
                <a16:creationId xmlns:a16="http://schemas.microsoft.com/office/drawing/2014/main" id="{301576D0-87DC-3682-FFCD-2F2E6A1F2A94}"/>
              </a:ext>
            </a:extLst>
          </p:cNvPr>
          <p:cNvSpPr/>
          <p:nvPr userDrawn="1"/>
        </p:nvSpPr>
        <p:spPr>
          <a:xfrm rot="18900000" flipH="1">
            <a:off x="142114" y="2067490"/>
            <a:ext cx="592131" cy="1831489"/>
          </a:xfrm>
          <a:custGeom>
            <a:avLst/>
            <a:gdLst>
              <a:gd name="connsiteX0" fmla="*/ 0 w 592131"/>
              <a:gd name="connsiteY0" fmla="*/ 0 h 1831489"/>
              <a:gd name="connsiteX1" fmla="*/ 0 w 592131"/>
              <a:gd name="connsiteY1" fmla="*/ 1535422 h 1831489"/>
              <a:gd name="connsiteX2" fmla="*/ 296066 w 592131"/>
              <a:gd name="connsiteY2" fmla="*/ 1831488 h 1831489"/>
              <a:gd name="connsiteX3" fmla="*/ 296065 w 592131"/>
              <a:gd name="connsiteY3" fmla="*/ 1831489 h 1831489"/>
              <a:gd name="connsiteX4" fmla="*/ 592131 w 592131"/>
              <a:gd name="connsiteY4" fmla="*/ 1535423 h 1831489"/>
              <a:gd name="connsiteX5" fmla="*/ 592131 w 592131"/>
              <a:gd name="connsiteY5" fmla="*/ 592131 h 18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131" h="1831489">
                <a:moveTo>
                  <a:pt x="0" y="0"/>
                </a:moveTo>
                <a:lnTo>
                  <a:pt x="0" y="1535422"/>
                </a:lnTo>
                <a:cubicBezTo>
                  <a:pt x="0" y="1698935"/>
                  <a:pt x="132553" y="1831488"/>
                  <a:pt x="296066" y="1831488"/>
                </a:cubicBezTo>
                <a:lnTo>
                  <a:pt x="296065" y="1831489"/>
                </a:lnTo>
                <a:cubicBezTo>
                  <a:pt x="459578" y="1831489"/>
                  <a:pt x="592131" y="1698936"/>
                  <a:pt x="592131" y="1535423"/>
                </a:cubicBezTo>
                <a:lnTo>
                  <a:pt x="592131" y="59213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1" name="Freeform: Shape 40">
            <a:extLst>
              <a:ext uri="{FF2B5EF4-FFF2-40B4-BE49-F238E27FC236}">
                <a16:creationId xmlns:a16="http://schemas.microsoft.com/office/drawing/2014/main" id="{46560C56-9182-2FB8-A10A-9F4D9E9AE16F}"/>
              </a:ext>
            </a:extLst>
          </p:cNvPr>
          <p:cNvSpPr/>
          <p:nvPr userDrawn="1"/>
        </p:nvSpPr>
        <p:spPr>
          <a:xfrm rot="18900000" flipH="1">
            <a:off x="-769846" y="488813"/>
            <a:ext cx="2386628" cy="2423999"/>
          </a:xfrm>
          <a:custGeom>
            <a:avLst/>
            <a:gdLst>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6" fmla="*/ 381533 w 2386628"/>
              <a:gd name="connsiteY6" fmla="*/ 91440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0 w 2386628"/>
              <a:gd name="connsiteY0" fmla="*/ 0 h 2423999"/>
              <a:gd name="connsiteX1" fmla="*/ 0 w 2386628"/>
              <a:gd name="connsiteY1" fmla="*/ 1133718 h 2423999"/>
              <a:gd name="connsiteX2" fmla="*/ 1290281 w 2386628"/>
              <a:gd name="connsiteY2" fmla="*/ 2423999 h 2423999"/>
              <a:gd name="connsiteX3" fmla="*/ 2360202 w 2386628"/>
              <a:gd name="connsiteY3" fmla="*/ 1855127 h 2423999"/>
              <a:gd name="connsiteX4" fmla="*/ 2386628 w 2386628"/>
              <a:gd name="connsiteY4" fmla="*/ 1806441 h 2423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628" h="2423999">
                <a:moveTo>
                  <a:pt x="0" y="0"/>
                </a:moveTo>
                <a:lnTo>
                  <a:pt x="0" y="1133718"/>
                </a:lnTo>
                <a:cubicBezTo>
                  <a:pt x="0" y="1846321"/>
                  <a:pt x="577678" y="2423999"/>
                  <a:pt x="1290281" y="2423999"/>
                </a:cubicBezTo>
                <a:cubicBezTo>
                  <a:pt x="1735658" y="2423999"/>
                  <a:pt x="2128330" y="2198344"/>
                  <a:pt x="2360202" y="1855127"/>
                </a:cubicBezTo>
                <a:lnTo>
                  <a:pt x="2386628" y="1806441"/>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Content Placeholder 2">
            <a:extLst>
              <a:ext uri="{FF2B5EF4-FFF2-40B4-BE49-F238E27FC236}">
                <a16:creationId xmlns:a16="http://schemas.microsoft.com/office/drawing/2014/main" id="{84E2E184-492C-929D-E003-357173179E17}"/>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4" name="Content Placeholder 2">
            <a:extLst>
              <a:ext uri="{FF2B5EF4-FFF2-40B4-BE49-F238E27FC236}">
                <a16:creationId xmlns:a16="http://schemas.microsoft.com/office/drawing/2014/main" id="{3FA0240A-CFE6-FB00-2FDA-AC356B39775C}"/>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Tree>
    <p:extLst>
      <p:ext uri="{BB962C8B-B14F-4D97-AF65-F5344CB8AC3E}">
        <p14:creationId xmlns:p14="http://schemas.microsoft.com/office/powerpoint/2010/main" val="97804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2026-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59950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8">
            <a:extLst>
              <a:ext uri="{FF2B5EF4-FFF2-40B4-BE49-F238E27FC236}">
                <a16:creationId xmlns:a16="http://schemas.microsoft.com/office/drawing/2014/main" id="{676643F5-726A-FFCD-2BFA-CC1A4CD33F0B}"/>
              </a:ext>
            </a:extLst>
          </p:cNvPr>
          <p:cNvSpPr>
            <a:spLocks noGrp="1"/>
          </p:cNvSpPr>
          <p:nvPr>
            <p:ph type="pic" sz="quarter" idx="16" hasCustomPrompt="1"/>
          </p:nvPr>
        </p:nvSpPr>
        <p:spPr>
          <a:xfrm>
            <a:off x="0" y="0"/>
            <a:ext cx="12192000" cy="6858000"/>
          </a:xfrm>
          <a:prstGeom prst="rect">
            <a:avLst/>
          </a:prstGeom>
          <a:blipFill>
            <a:blip r:embed="rId5"/>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2" name="Title 1">
            <a:extLst>
              <a:ext uri="{FF2B5EF4-FFF2-40B4-BE49-F238E27FC236}">
                <a16:creationId xmlns:a16="http://schemas.microsoft.com/office/drawing/2014/main" id="{C0AC4D14-3967-FD0C-1A14-023CEB22AD99}"/>
              </a:ext>
            </a:extLst>
          </p:cNvPr>
          <p:cNvSpPr>
            <a:spLocks noGrp="1"/>
          </p:cNvSpPr>
          <p:nvPr>
            <p:ph type="title" hasCustomPrompt="1"/>
          </p:nvPr>
        </p:nvSpPr>
        <p:spPr bwMode="white">
          <a:xfrm>
            <a:off x="1600200" y="1777999"/>
            <a:ext cx="8991600" cy="3276600"/>
          </a:xfrm>
          <a:prstGeom prst="roundRect">
            <a:avLst>
              <a:gd name="adj" fmla="val 50000"/>
            </a:avLst>
          </a:prstGeom>
          <a:solidFill>
            <a:schemeClr val="bg1"/>
          </a:solidFill>
        </p:spPr>
        <p:txBody>
          <a:bodyPr vert="horz" anchor="ctr" anchorCtr="0"/>
          <a:lstStyle>
            <a:lvl1pPr algn="l">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Sans Light sentence case</a:t>
            </a:r>
          </a:p>
        </p:txBody>
      </p:sp>
      <p:grpSp>
        <p:nvGrpSpPr>
          <p:cNvPr id="13" name="Group 12">
            <a:extLst>
              <a:ext uri="{FF2B5EF4-FFF2-40B4-BE49-F238E27FC236}">
                <a16:creationId xmlns:a16="http://schemas.microsoft.com/office/drawing/2014/main" id="{347B9D2A-679A-E70D-9144-8C0F54653E8F}"/>
              </a:ext>
            </a:extLst>
          </p:cNvPr>
          <p:cNvGrpSpPr/>
          <p:nvPr userDrawn="1"/>
        </p:nvGrpSpPr>
        <p:grpSpPr>
          <a:xfrm>
            <a:off x="12323965" y="3876462"/>
            <a:ext cx="2089689" cy="3212677"/>
            <a:chOff x="12323965" y="3876462"/>
            <a:chExt cx="2089689" cy="3212677"/>
          </a:xfrm>
        </p:grpSpPr>
        <p:sp>
          <p:nvSpPr>
            <p:cNvPr id="14" name="Rectangle 13">
              <a:extLst>
                <a:ext uri="{FF2B5EF4-FFF2-40B4-BE49-F238E27FC236}">
                  <a16:creationId xmlns:a16="http://schemas.microsoft.com/office/drawing/2014/main" id="{CEA2640E-0E16-4C21-EE61-8EF930D666F6}"/>
                </a:ext>
              </a:extLst>
            </p:cNvPr>
            <p:cNvSpPr/>
            <p:nvPr/>
          </p:nvSpPr>
          <p:spPr>
            <a:xfrm>
              <a:off x="12323965" y="3876462"/>
              <a:ext cx="2089689" cy="3212677"/>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Instructions to change the image follow below steps:</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1:</a:t>
              </a:r>
              <a:r>
                <a:rPr kumimoji="0" lang="en-US" sz="900" b="0" i="0" u="none" strike="noStrike" kern="1200" cap="none" spc="0" normalizeH="0" baseline="0" noProof="0">
                  <a:ln>
                    <a:noFill/>
                  </a:ln>
                  <a:solidFill>
                    <a:srgbClr val="FFFFFF"/>
                  </a:solidFill>
                  <a:effectLst/>
                  <a:uLnTx/>
                  <a:uFillTx/>
                  <a:latin typeface="Noto Sans"/>
                  <a:ea typeface="+mn-ea"/>
                  <a:cs typeface="+mn-cs"/>
                </a:rPr>
                <a:t> Please move the masked shapes from top of the image placeholder</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2:</a:t>
              </a:r>
              <a:r>
                <a:rPr kumimoji="0" lang="en-US" sz="900" b="0" i="0" u="none" strike="noStrike" kern="1200" cap="none" spc="0" normalizeH="0" baseline="0" noProof="0">
                  <a:ln>
                    <a:noFill/>
                  </a:ln>
                  <a:solidFill>
                    <a:srgbClr val="FFFFFF"/>
                  </a:solidFill>
                  <a:effectLst/>
                  <a:uLnTx/>
                  <a:uFillTx/>
                  <a:latin typeface="Noto Sans"/>
                  <a:ea typeface="+mn-ea"/>
                  <a:cs typeface="+mn-cs"/>
                </a:rPr>
                <a:t> Click on the </a:t>
              </a:r>
              <a:br>
                <a:rPr kumimoji="0" lang="en-US" sz="900" b="0" i="0" u="none" strike="noStrike" kern="1200" cap="none" spc="0" normalizeH="0" baseline="0" noProof="0">
                  <a:ln>
                    <a:noFill/>
                  </a:ln>
                  <a:solidFill>
                    <a:srgbClr val="FFFFFF"/>
                  </a:solidFill>
                  <a:effectLst/>
                  <a:uLnTx/>
                  <a:uFillTx/>
                  <a:latin typeface="Noto Sans"/>
                  <a:ea typeface="+mn-ea"/>
                  <a:cs typeface="+mn-cs"/>
                </a:rPr>
              </a:br>
              <a:r>
                <a:rPr kumimoji="0" lang="en-US" sz="900" b="0" i="0" u="none" strike="noStrike" kern="1200" cap="none" spc="0" normalizeH="0" baseline="0" noProof="0">
                  <a:ln>
                    <a:noFill/>
                  </a:ln>
                  <a:solidFill>
                    <a:srgbClr val="FFFFFF"/>
                  </a:solidFill>
                  <a:effectLst/>
                  <a:uLnTx/>
                  <a:uFillTx/>
                  <a:latin typeface="Noto Sans"/>
                  <a:ea typeface="+mn-ea"/>
                  <a:cs typeface="+mn-cs"/>
                </a:rPr>
                <a:t>image icon </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3:</a:t>
              </a:r>
              <a:r>
                <a:rPr kumimoji="0" lang="en-US" sz="900" b="0" i="0" u="none" strike="noStrike" kern="1200" cap="none" spc="0" normalizeH="0" baseline="0" noProof="0">
                  <a:ln>
                    <a:noFill/>
                  </a:ln>
                  <a:solidFill>
                    <a:srgbClr val="FFFFFF"/>
                  </a:solidFill>
                  <a:effectLst/>
                  <a:uLnTx/>
                  <a:uFillTx/>
                  <a:latin typeface="Noto Sans"/>
                  <a:ea typeface="+mn-ea"/>
                  <a:cs typeface="+mn-cs"/>
                </a:rPr>
                <a:t> Select the image to be replaced and then click on Insert option</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4:</a:t>
              </a:r>
              <a:r>
                <a:rPr kumimoji="0" lang="en-US" sz="900" b="0" i="0" u="none" strike="noStrike" kern="1200" cap="none" spc="0" normalizeH="0" baseline="0" noProof="0">
                  <a:ln>
                    <a:noFill/>
                  </a:ln>
                  <a:solidFill>
                    <a:srgbClr val="FFFFFF"/>
                  </a:solidFill>
                  <a:effectLst/>
                  <a:uLnTx/>
                  <a:uFillTx/>
                  <a:latin typeface="Noto Sans"/>
                  <a:ea typeface="+mn-ea"/>
                  <a:cs typeface="+mn-cs"/>
                </a:rPr>
                <a:t> Once the image is replaced, Goto </a:t>
              </a:r>
              <a:br>
                <a:rPr kumimoji="0" lang="en-US" sz="900" b="0" i="0" u="none" strike="noStrike" kern="1200" cap="none" spc="0" normalizeH="0" baseline="0" noProof="0">
                  <a:ln>
                    <a:noFill/>
                  </a:ln>
                  <a:solidFill>
                    <a:srgbClr val="FFFFFF"/>
                  </a:solidFill>
                  <a:effectLst/>
                  <a:uLnTx/>
                  <a:uFillTx/>
                  <a:latin typeface="Noto Sans"/>
                  <a:ea typeface="+mn-ea"/>
                  <a:cs typeface="+mn-cs"/>
                </a:rPr>
              </a:br>
              <a:r>
                <a:rPr kumimoji="0" lang="en-US" sz="900" b="0" i="0" u="none" strike="noStrike" kern="1200" cap="none" spc="0" normalizeH="0" baseline="0" noProof="0">
                  <a:ln>
                    <a:noFill/>
                  </a:ln>
                  <a:solidFill>
                    <a:srgbClr val="FFFFFF"/>
                  </a:solidFill>
                  <a:effectLst/>
                  <a:uLnTx/>
                  <a:uFillTx/>
                  <a:latin typeface="Noto Sans"/>
                  <a:ea typeface="+mn-ea"/>
                  <a:cs typeface="+mn-cs"/>
                </a:rPr>
                <a:t>Home =&gt; Reset option</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900" b="1" i="0" u="none" strike="noStrike" kern="1200" cap="none" spc="0" normalizeH="0" baseline="0" noProof="0">
                <a:ln>
                  <a:noFill/>
                </a:ln>
                <a:solidFill>
                  <a:srgbClr val="FFFFFF"/>
                </a:solidFill>
                <a:effectLst/>
                <a:uLnTx/>
                <a:uFillTx/>
                <a:latin typeface="Noto Sans"/>
                <a:ea typeface="+mn-ea"/>
                <a:cs typeface="+mn-cs"/>
              </a:endParaRP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FFFFFF"/>
                </a:solidFill>
                <a:effectLst/>
                <a:uLnTx/>
                <a:uFillTx/>
                <a:latin typeface="Noto Sans"/>
                <a:ea typeface="+mn-ea"/>
                <a:cs typeface="+mn-cs"/>
              </a:endParaRP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5:</a:t>
              </a:r>
              <a:r>
                <a:rPr kumimoji="0" lang="en-US" sz="900" b="0" i="0" u="none" strike="noStrike" kern="1200" cap="none" spc="0" normalizeH="0" baseline="0" noProof="0">
                  <a:ln>
                    <a:noFill/>
                  </a:ln>
                  <a:solidFill>
                    <a:srgbClr val="FFFFFF"/>
                  </a:solidFill>
                  <a:effectLst/>
                  <a:uLnTx/>
                  <a:uFillTx/>
                  <a:latin typeface="Noto Sans"/>
                  <a:ea typeface="+mn-ea"/>
                  <a:cs typeface="+mn-cs"/>
                </a:rPr>
                <a:t> Shape/masked  layers will be readjusted on the slide and ready to use</a:t>
              </a:r>
            </a:p>
          </p:txBody>
        </p:sp>
        <p:pic>
          <p:nvPicPr>
            <p:cNvPr id="15" name="Picture 14">
              <a:extLst>
                <a:ext uri="{FF2B5EF4-FFF2-40B4-BE49-F238E27FC236}">
                  <a16:creationId xmlns:a16="http://schemas.microsoft.com/office/drawing/2014/main" id="{0BC0CB3D-38B0-E87C-E0DC-B9F5A8316D3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3694135" y="4756344"/>
              <a:ext cx="197126" cy="174381"/>
            </a:xfrm>
            <a:prstGeom prst="rect">
              <a:avLst/>
            </a:prstGeom>
          </p:spPr>
        </p:pic>
        <p:pic>
          <p:nvPicPr>
            <p:cNvPr id="16" name="Picture 15">
              <a:extLst>
                <a:ext uri="{FF2B5EF4-FFF2-40B4-BE49-F238E27FC236}">
                  <a16:creationId xmlns:a16="http://schemas.microsoft.com/office/drawing/2014/main" id="{A5001A2C-6752-AFA7-B7BC-2319DAFA955C}"/>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a:xfrm>
              <a:off x="13834532" y="5786295"/>
              <a:ext cx="491067" cy="213105"/>
            </a:xfrm>
            <a:custGeom>
              <a:avLst/>
              <a:gdLst>
                <a:gd name="connsiteX0" fmla="*/ 0 w 538480"/>
                <a:gd name="connsiteY0" fmla="*/ 0 h 233680"/>
                <a:gd name="connsiteX1" fmla="*/ 538480 w 538480"/>
                <a:gd name="connsiteY1" fmla="*/ 0 h 233680"/>
                <a:gd name="connsiteX2" fmla="*/ 538480 w 538480"/>
                <a:gd name="connsiteY2" fmla="*/ 233680 h 233680"/>
                <a:gd name="connsiteX3" fmla="*/ 0 w 538480"/>
                <a:gd name="connsiteY3" fmla="*/ 233680 h 233680"/>
              </a:gdLst>
              <a:ahLst/>
              <a:cxnLst>
                <a:cxn ang="0">
                  <a:pos x="connsiteX0" y="connsiteY0"/>
                </a:cxn>
                <a:cxn ang="0">
                  <a:pos x="connsiteX1" y="connsiteY1"/>
                </a:cxn>
                <a:cxn ang="0">
                  <a:pos x="connsiteX2" y="connsiteY2"/>
                </a:cxn>
                <a:cxn ang="0">
                  <a:pos x="connsiteX3" y="connsiteY3"/>
                </a:cxn>
              </a:cxnLst>
              <a:rect l="l" t="t" r="r" b="b"/>
              <a:pathLst>
                <a:path w="538480" h="233680">
                  <a:moveTo>
                    <a:pt x="0" y="0"/>
                  </a:moveTo>
                  <a:lnTo>
                    <a:pt x="538480" y="0"/>
                  </a:lnTo>
                  <a:lnTo>
                    <a:pt x="538480" y="233680"/>
                  </a:lnTo>
                  <a:lnTo>
                    <a:pt x="0" y="233680"/>
                  </a:lnTo>
                  <a:close/>
                </a:path>
              </a:pathLst>
            </a:custGeom>
          </p:spPr>
        </p:pic>
        <p:grpSp>
          <p:nvGrpSpPr>
            <p:cNvPr id="17" name="Group 16">
              <a:extLst>
                <a:ext uri="{FF2B5EF4-FFF2-40B4-BE49-F238E27FC236}">
                  <a16:creationId xmlns:a16="http://schemas.microsoft.com/office/drawing/2014/main" id="{00990C55-0A66-82D8-F468-B3E71C880C41}"/>
                </a:ext>
              </a:extLst>
            </p:cNvPr>
            <p:cNvGrpSpPr/>
            <p:nvPr userDrawn="1"/>
          </p:nvGrpSpPr>
          <p:grpSpPr>
            <a:xfrm>
              <a:off x="12598400" y="6054514"/>
              <a:ext cx="833967" cy="541456"/>
              <a:chOff x="12585700" y="6121400"/>
              <a:chExt cx="833967" cy="541456"/>
            </a:xfrm>
          </p:grpSpPr>
          <p:pic>
            <p:nvPicPr>
              <p:cNvPr id="18" name="Picture 2">
                <a:extLst>
                  <a:ext uri="{FF2B5EF4-FFF2-40B4-BE49-F238E27FC236}">
                    <a16:creationId xmlns:a16="http://schemas.microsoft.com/office/drawing/2014/main" id="{3AEF32A3-382C-B1AC-3AC7-C4D38D4B755A}"/>
                  </a:ext>
                </a:extLst>
              </p:cNvPr>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a:fillRect/>
              </a:stretch>
            </p:blipFill>
            <p:spPr bwMode="auto">
              <a:xfrm>
                <a:off x="12585700" y="6121400"/>
                <a:ext cx="833967" cy="54145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A58B7075-DFA4-FD08-29B2-A2110BC23927}"/>
                  </a:ext>
                </a:extLst>
              </p:cNvPr>
              <p:cNvSpPr/>
              <p:nvPr/>
            </p:nvSpPr>
            <p:spPr>
              <a:xfrm>
                <a:off x="12699270" y="6154738"/>
                <a:ext cx="226156" cy="91385"/>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0" name="Rectangle 19">
                <a:extLst>
                  <a:ext uri="{FF2B5EF4-FFF2-40B4-BE49-F238E27FC236}">
                    <a16:creationId xmlns:a16="http://schemas.microsoft.com/office/drawing/2014/main" id="{826C4374-BB8B-CA6D-9A4C-E3F74A433249}"/>
                  </a:ext>
                </a:extLst>
              </p:cNvPr>
              <p:cNvSpPr/>
              <p:nvPr userDrawn="1"/>
            </p:nvSpPr>
            <p:spPr>
              <a:xfrm>
                <a:off x="13179219" y="6412700"/>
                <a:ext cx="147839" cy="102400"/>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grpSp>
      </p:grpSp>
    </p:spTree>
    <p:extLst>
      <p:ext uri="{BB962C8B-B14F-4D97-AF65-F5344CB8AC3E}">
        <p14:creationId xmlns:p14="http://schemas.microsoft.com/office/powerpoint/2010/main" val="122167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07831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739BB318-2FA2-9BC0-C500-B054B13E410C}"/>
              </a:ext>
            </a:extLst>
          </p:cNvPr>
          <p:cNvSpPr/>
          <p:nvPr userDrawn="1"/>
        </p:nvSpPr>
        <p:spPr>
          <a:xfrm>
            <a:off x="-1"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5" name="Graphic 14">
            <a:extLst>
              <a:ext uri="{FF2B5EF4-FFF2-40B4-BE49-F238E27FC236}">
                <a16:creationId xmlns:a16="http://schemas.microsoft.com/office/drawing/2014/main" id="{8257E79C-F908-FC57-48EB-74840AB78064}"/>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996138" y="1574801"/>
            <a:ext cx="1566472" cy="5029200"/>
          </a:xfrm>
          <a:prstGeom prst="rect">
            <a:avLst/>
          </a:prstGeom>
        </p:spPr>
      </p:pic>
      <p:sp>
        <p:nvSpPr>
          <p:cNvPr id="39" name="Freeform: Shape 38">
            <a:extLst>
              <a:ext uri="{FF2B5EF4-FFF2-40B4-BE49-F238E27FC236}">
                <a16:creationId xmlns:a16="http://schemas.microsoft.com/office/drawing/2014/main" id="{EA460FB5-1D71-63A8-83DD-7C183AC8C704}"/>
              </a:ext>
            </a:extLst>
          </p:cNvPr>
          <p:cNvSpPr>
            <a:spLocks/>
          </p:cNvSpPr>
          <p:nvPr userDrawn="1"/>
        </p:nvSpPr>
        <p:spPr>
          <a:xfrm>
            <a:off x="6115326" y="6091026"/>
            <a:ext cx="1562353" cy="751899"/>
          </a:xfrm>
          <a:custGeom>
            <a:avLst/>
            <a:gdLst>
              <a:gd name="connsiteX0" fmla="*/ 781177 w 1562353"/>
              <a:gd name="connsiteY0" fmla="*/ 0 h 751899"/>
              <a:gd name="connsiteX1" fmla="*/ 1549698 w 1562353"/>
              <a:gd name="connsiteY1" fmla="*/ 626363 h 751899"/>
              <a:gd name="connsiteX2" fmla="*/ 1562353 w 1562353"/>
              <a:gd name="connsiteY2" fmla="*/ 751899 h 751899"/>
              <a:gd name="connsiteX3" fmla="*/ 0 w 1562353"/>
              <a:gd name="connsiteY3" fmla="*/ 751899 h 751899"/>
              <a:gd name="connsiteX4" fmla="*/ 12655 w 1562353"/>
              <a:gd name="connsiteY4" fmla="*/ 626363 h 751899"/>
              <a:gd name="connsiteX5" fmla="*/ 781177 w 1562353"/>
              <a:gd name="connsiteY5" fmla="*/ 0 h 75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2353" h="751899">
                <a:moveTo>
                  <a:pt x="781177" y="0"/>
                </a:moveTo>
                <a:cubicBezTo>
                  <a:pt x="1160266" y="0"/>
                  <a:pt x="1476550" y="268899"/>
                  <a:pt x="1549698" y="626363"/>
                </a:cubicBezTo>
                <a:lnTo>
                  <a:pt x="1562353" y="751899"/>
                </a:lnTo>
                <a:lnTo>
                  <a:pt x="0" y="751899"/>
                </a:lnTo>
                <a:lnTo>
                  <a:pt x="12655" y="626363"/>
                </a:lnTo>
                <a:cubicBezTo>
                  <a:pt x="85803" y="268899"/>
                  <a:pt x="402087" y="0"/>
                  <a:pt x="781177" y="0"/>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0" name="Freeform: Shape 39">
            <a:extLst>
              <a:ext uri="{FF2B5EF4-FFF2-40B4-BE49-F238E27FC236}">
                <a16:creationId xmlns:a16="http://schemas.microsoft.com/office/drawing/2014/main" id="{F2AAAAF4-7481-56CC-28C1-4AD28C235C0D}"/>
              </a:ext>
            </a:extLst>
          </p:cNvPr>
          <p:cNvSpPr/>
          <p:nvPr userDrawn="1"/>
        </p:nvSpPr>
        <p:spPr>
          <a:xfrm>
            <a:off x="9914020" y="4855317"/>
            <a:ext cx="1574088" cy="1987609"/>
          </a:xfrm>
          <a:custGeom>
            <a:avLst/>
            <a:gdLst>
              <a:gd name="connsiteX0" fmla="*/ 1557049 w 1574088"/>
              <a:gd name="connsiteY0" fmla="*/ 0 h 1987609"/>
              <a:gd name="connsiteX1" fmla="*/ 1574088 w 1574088"/>
              <a:gd name="connsiteY1" fmla="*/ 1718 h 1987609"/>
              <a:gd name="connsiteX2" fmla="*/ 1574088 w 1574088"/>
              <a:gd name="connsiteY2" fmla="*/ 1987609 h 1987609"/>
              <a:gd name="connsiteX3" fmla="*/ 0 w 1574088"/>
              <a:gd name="connsiteY3" fmla="*/ 1987609 h 1987609"/>
              <a:gd name="connsiteX4" fmla="*/ 0 w 1574088"/>
              <a:gd name="connsiteY4" fmla="*/ 1557049 h 1987609"/>
              <a:gd name="connsiteX5" fmla="*/ 1557049 w 1574088"/>
              <a:gd name="connsiteY5" fmla="*/ 0 h 1987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088" h="1987609">
                <a:moveTo>
                  <a:pt x="1557049" y="0"/>
                </a:moveTo>
                <a:lnTo>
                  <a:pt x="1574088" y="1718"/>
                </a:lnTo>
                <a:lnTo>
                  <a:pt x="1574088" y="1987609"/>
                </a:lnTo>
                <a:lnTo>
                  <a:pt x="0" y="1987609"/>
                </a:lnTo>
                <a:lnTo>
                  <a:pt x="0" y="1557049"/>
                </a:lnTo>
                <a:cubicBezTo>
                  <a:pt x="0" y="697115"/>
                  <a:pt x="697115" y="0"/>
                  <a:pt x="1557049" y="0"/>
                </a:cubicBezTo>
                <a:close/>
              </a:path>
            </a:pathLst>
          </a:custGeom>
          <a:gradFill>
            <a:gsLst>
              <a:gs pos="0">
                <a:srgbClr val="6EEAC4"/>
              </a:gs>
              <a:gs pos="4000">
                <a:srgbClr val="69DFBD"/>
              </a:gs>
              <a:gs pos="39000">
                <a:srgbClr val="458588"/>
              </a:gs>
              <a:gs pos="68000">
                <a:srgbClr val="2A4360"/>
              </a:gs>
              <a:gs pos="89000">
                <a:srgbClr val="191A48"/>
              </a:gs>
              <a:gs pos="100000">
                <a:srgbClr val="130B3F"/>
              </a:gs>
            </a:gsLst>
            <a:lin ang="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3" name="Freeform: Shape 32">
            <a:extLst>
              <a:ext uri="{FF2B5EF4-FFF2-40B4-BE49-F238E27FC236}">
                <a16:creationId xmlns:a16="http://schemas.microsoft.com/office/drawing/2014/main" id="{913F0253-1103-0501-0DDE-FBAF667D32CE}"/>
              </a:ext>
            </a:extLst>
          </p:cNvPr>
          <p:cNvSpPr/>
          <p:nvPr userDrawn="1"/>
        </p:nvSpPr>
        <p:spPr>
          <a:xfrm>
            <a:off x="11821584" y="743158"/>
            <a:ext cx="375516" cy="1813796"/>
          </a:xfrm>
          <a:custGeom>
            <a:avLst/>
            <a:gdLst>
              <a:gd name="connsiteX0" fmla="*/ 375516 w 375516"/>
              <a:gd name="connsiteY0" fmla="*/ 0 h 1813796"/>
              <a:gd name="connsiteX1" fmla="*/ 375516 w 375516"/>
              <a:gd name="connsiteY1" fmla="*/ 1813796 h 1813796"/>
              <a:gd name="connsiteX2" fmla="*/ 287640 w 375516"/>
              <a:gd name="connsiteY2" fmla="*/ 1786518 h 1813796"/>
              <a:gd name="connsiteX3" fmla="*/ 0 w 375516"/>
              <a:gd name="connsiteY3" fmla="*/ 1352570 h 1813796"/>
              <a:gd name="connsiteX4" fmla="*/ 0 w 375516"/>
              <a:gd name="connsiteY4" fmla="*/ 461226 h 1813796"/>
              <a:gd name="connsiteX5" fmla="*/ 287640 w 375516"/>
              <a:gd name="connsiteY5" fmla="*/ 27278 h 181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516" h="1813796">
                <a:moveTo>
                  <a:pt x="375516" y="0"/>
                </a:moveTo>
                <a:lnTo>
                  <a:pt x="375516" y="1813796"/>
                </a:lnTo>
                <a:lnTo>
                  <a:pt x="287640" y="1786518"/>
                </a:lnTo>
                <a:cubicBezTo>
                  <a:pt x="118606" y="1715023"/>
                  <a:pt x="0" y="1547648"/>
                  <a:pt x="0" y="1352570"/>
                </a:cubicBezTo>
                <a:lnTo>
                  <a:pt x="0" y="461226"/>
                </a:lnTo>
                <a:cubicBezTo>
                  <a:pt x="0" y="266149"/>
                  <a:pt x="118606" y="98774"/>
                  <a:pt x="287640" y="27278"/>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1" name="Freeform: Shape 30">
            <a:extLst>
              <a:ext uri="{FF2B5EF4-FFF2-40B4-BE49-F238E27FC236}">
                <a16:creationId xmlns:a16="http://schemas.microsoft.com/office/drawing/2014/main" id="{47676A29-7E8F-1D6A-EC1B-460D31DC64E0}"/>
              </a:ext>
            </a:extLst>
          </p:cNvPr>
          <p:cNvSpPr/>
          <p:nvPr userDrawn="1"/>
        </p:nvSpPr>
        <p:spPr>
          <a:xfrm>
            <a:off x="11834966" y="2890625"/>
            <a:ext cx="362135" cy="3952299"/>
          </a:xfrm>
          <a:custGeom>
            <a:avLst/>
            <a:gdLst>
              <a:gd name="connsiteX0" fmla="*/ 362135 w 362135"/>
              <a:gd name="connsiteY0" fmla="*/ 0 h 3952299"/>
              <a:gd name="connsiteX1" fmla="*/ 362135 w 362135"/>
              <a:gd name="connsiteY1" fmla="*/ 3952299 h 3952299"/>
              <a:gd name="connsiteX2" fmla="*/ 345157 w 362135"/>
              <a:gd name="connsiteY2" fmla="*/ 3947029 h 3952299"/>
              <a:gd name="connsiteX3" fmla="*/ 0 w 362135"/>
              <a:gd name="connsiteY3" fmla="*/ 3426307 h 3952299"/>
              <a:gd name="connsiteX4" fmla="*/ 0 w 362135"/>
              <a:gd name="connsiteY4" fmla="*/ 525991 h 3952299"/>
              <a:gd name="connsiteX5" fmla="*/ 345157 w 362135"/>
              <a:gd name="connsiteY5" fmla="*/ 5270 h 39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135" h="3952299">
                <a:moveTo>
                  <a:pt x="362135" y="0"/>
                </a:moveTo>
                <a:lnTo>
                  <a:pt x="362135" y="3952299"/>
                </a:lnTo>
                <a:lnTo>
                  <a:pt x="345157" y="3947029"/>
                </a:lnTo>
                <a:cubicBezTo>
                  <a:pt x="142323" y="3861237"/>
                  <a:pt x="0" y="3660393"/>
                  <a:pt x="0" y="3426307"/>
                </a:cubicBezTo>
                <a:lnTo>
                  <a:pt x="0" y="525991"/>
                </a:lnTo>
                <a:cubicBezTo>
                  <a:pt x="0" y="291906"/>
                  <a:pt x="142323" y="91062"/>
                  <a:pt x="345157" y="527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68" name="Graphic 67">
            <a:extLst>
              <a:ext uri="{FF2B5EF4-FFF2-40B4-BE49-F238E27FC236}">
                <a16:creationId xmlns:a16="http://schemas.microsoft.com/office/drawing/2014/main" id="{A9941B5D-B587-2CD8-1E2F-5B1501282D47}"/>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73" name="TextBox 72">
            <a:extLst>
              <a:ext uri="{FF2B5EF4-FFF2-40B4-BE49-F238E27FC236}">
                <a16:creationId xmlns:a16="http://schemas.microsoft.com/office/drawing/2014/main" id="{A3F0ED94-D4EA-C9DE-D42F-D4FB64467424}"/>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a:t>
            </a:r>
            <a:br>
              <a:rPr lang="en-US" sz="800">
                <a:solidFill>
                  <a:srgbClr val="7FD1EF"/>
                </a:solidFill>
                <a:latin typeface="+mj-lt"/>
                <a:ea typeface="Arial" charset="0"/>
                <a:cs typeface="Arial" charset="0"/>
              </a:rPr>
            </a:br>
            <a:r>
              <a:rPr lang="en-US" sz="800">
                <a:solidFill>
                  <a:srgbClr val="7FD1EF"/>
                </a:solidFill>
                <a:latin typeface="+mj-lt"/>
                <a:ea typeface="Arial" charset="0"/>
                <a:cs typeface="Arial" charset="0"/>
              </a:rPr>
              <a:t>the United States, the European Union, and various other countries. </a:t>
            </a:r>
          </a:p>
        </p:txBody>
      </p:sp>
      <p:sp>
        <p:nvSpPr>
          <p:cNvPr id="12" name="Picture Placeholder 11">
            <a:extLst>
              <a:ext uri="{FF2B5EF4-FFF2-40B4-BE49-F238E27FC236}">
                <a16:creationId xmlns:a16="http://schemas.microsoft.com/office/drawing/2014/main" id="{C4F16AE3-C94B-2D66-8339-457C0CFF0360}"/>
              </a:ext>
            </a:extLst>
          </p:cNvPr>
          <p:cNvSpPr>
            <a:spLocks noGrp="1"/>
          </p:cNvSpPr>
          <p:nvPr>
            <p:ph type="pic" sz="quarter" idx="14" hasCustomPrompt="1"/>
          </p:nvPr>
        </p:nvSpPr>
        <p:spPr>
          <a:xfrm>
            <a:off x="6098391" y="6350"/>
            <a:ext cx="1579288" cy="2314574"/>
          </a:xfrm>
          <a:custGeom>
            <a:avLst/>
            <a:gdLst>
              <a:gd name="connsiteX0" fmla="*/ 0 w 1579288"/>
              <a:gd name="connsiteY0" fmla="*/ 0 h 2314574"/>
              <a:gd name="connsiteX1" fmla="*/ 1579288 w 1579288"/>
              <a:gd name="connsiteY1" fmla="*/ 0 h 2314574"/>
              <a:gd name="connsiteX2" fmla="*/ 1579288 w 1579288"/>
              <a:gd name="connsiteY2" fmla="*/ 1524930 h 2314574"/>
              <a:gd name="connsiteX3" fmla="*/ 789644 w 1579288"/>
              <a:gd name="connsiteY3" fmla="*/ 2314574 h 2314574"/>
              <a:gd name="connsiteX4" fmla="*/ 0 w 1579288"/>
              <a:gd name="connsiteY4" fmla="*/ 1524930 h 2314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9288" h="2314574">
                <a:moveTo>
                  <a:pt x="0" y="0"/>
                </a:moveTo>
                <a:lnTo>
                  <a:pt x="1579288" y="0"/>
                </a:lnTo>
                <a:lnTo>
                  <a:pt x="1579288" y="1524930"/>
                </a:lnTo>
                <a:cubicBezTo>
                  <a:pt x="1579288" y="1961038"/>
                  <a:pt x="1225752" y="2314574"/>
                  <a:pt x="789644" y="2314574"/>
                </a:cubicBezTo>
                <a:cubicBezTo>
                  <a:pt x="353536" y="2314574"/>
                  <a:pt x="0" y="1961038"/>
                  <a:pt x="0" y="1524930"/>
                </a:cubicBezTo>
                <a:close/>
              </a:path>
            </a:pathLst>
          </a:cu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13" name="Picture Placeholder 12">
            <a:extLst>
              <a:ext uri="{FF2B5EF4-FFF2-40B4-BE49-F238E27FC236}">
                <a16:creationId xmlns:a16="http://schemas.microsoft.com/office/drawing/2014/main" id="{439A5091-7454-13CA-923E-0745779CED1A}"/>
              </a:ext>
            </a:extLst>
          </p:cNvPr>
          <p:cNvSpPr>
            <a:spLocks noGrp="1"/>
          </p:cNvSpPr>
          <p:nvPr>
            <p:ph type="pic" sz="quarter" idx="15" hasCustomPrompt="1"/>
          </p:nvPr>
        </p:nvSpPr>
        <p:spPr>
          <a:xfrm>
            <a:off x="6098391" y="2454442"/>
            <a:ext cx="1579288" cy="3489158"/>
          </a:xfrm>
          <a:custGeom>
            <a:avLst/>
            <a:gdLst>
              <a:gd name="connsiteX0" fmla="*/ 789644 w 1579288"/>
              <a:gd name="connsiteY0" fmla="*/ 0 h 3489158"/>
              <a:gd name="connsiteX1" fmla="*/ 1579288 w 1579288"/>
              <a:gd name="connsiteY1" fmla="*/ 789644 h 3489158"/>
              <a:gd name="connsiteX2" fmla="*/ 1579288 w 1579288"/>
              <a:gd name="connsiteY2" fmla="*/ 2699514 h 3489158"/>
              <a:gd name="connsiteX3" fmla="*/ 789644 w 1579288"/>
              <a:gd name="connsiteY3" fmla="*/ 3489158 h 3489158"/>
              <a:gd name="connsiteX4" fmla="*/ 0 w 1579288"/>
              <a:gd name="connsiteY4" fmla="*/ 2699514 h 3489158"/>
              <a:gd name="connsiteX5" fmla="*/ 0 w 1579288"/>
              <a:gd name="connsiteY5" fmla="*/ 789644 h 3489158"/>
              <a:gd name="connsiteX6" fmla="*/ 789644 w 1579288"/>
              <a:gd name="connsiteY6" fmla="*/ 0 h 348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9288" h="3489158">
                <a:moveTo>
                  <a:pt x="789644" y="0"/>
                </a:moveTo>
                <a:cubicBezTo>
                  <a:pt x="1225752" y="0"/>
                  <a:pt x="1579288" y="353536"/>
                  <a:pt x="1579288" y="789644"/>
                </a:cubicBezTo>
                <a:lnTo>
                  <a:pt x="1579288" y="2699514"/>
                </a:lnTo>
                <a:cubicBezTo>
                  <a:pt x="1579288" y="3135622"/>
                  <a:pt x="1225752" y="3489158"/>
                  <a:pt x="789644" y="3489158"/>
                </a:cubicBezTo>
                <a:cubicBezTo>
                  <a:pt x="353536" y="3489158"/>
                  <a:pt x="0" y="3135622"/>
                  <a:pt x="0" y="2699514"/>
                </a:cubicBezTo>
                <a:lnTo>
                  <a:pt x="0" y="789644"/>
                </a:lnTo>
                <a:cubicBezTo>
                  <a:pt x="0" y="353536"/>
                  <a:pt x="353536" y="0"/>
                  <a:pt x="789644"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8" name="Text Placeholder 21">
            <a:extLst>
              <a:ext uri="{FF2B5EF4-FFF2-40B4-BE49-F238E27FC236}">
                <a16:creationId xmlns:a16="http://schemas.microsoft.com/office/drawing/2014/main" id="{BF50C530-E22F-4FAC-5759-3DBBAD403F37}"/>
              </a:ext>
            </a:extLst>
          </p:cNvPr>
          <p:cNvSpPr>
            <a:spLocks noGrp="1"/>
          </p:cNvSpPr>
          <p:nvPr>
            <p:ph type="body" sz="quarter" idx="11" hasCustomPrompt="1"/>
          </p:nvPr>
        </p:nvSpPr>
        <p:spPr>
          <a:xfrm>
            <a:off x="560270" y="4513255"/>
            <a:ext cx="516934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a:t>
            </a:r>
            <a:br>
              <a:rPr lang="en-US"/>
            </a:br>
            <a:r>
              <a:rPr lang="en-US"/>
              <a:t>sentence case</a:t>
            </a:r>
          </a:p>
        </p:txBody>
      </p:sp>
      <p:sp>
        <p:nvSpPr>
          <p:cNvPr id="9" name="Title 1">
            <a:extLst>
              <a:ext uri="{FF2B5EF4-FFF2-40B4-BE49-F238E27FC236}">
                <a16:creationId xmlns:a16="http://schemas.microsoft.com/office/drawing/2014/main" id="{001CB714-76EF-FC5F-FA21-AAC2687A7804}"/>
              </a:ext>
            </a:extLst>
          </p:cNvPr>
          <p:cNvSpPr>
            <a:spLocks noGrp="1"/>
          </p:cNvSpPr>
          <p:nvPr>
            <p:ph type="ctrTitle" hasCustomPrompt="1"/>
          </p:nvPr>
        </p:nvSpPr>
        <p:spPr>
          <a:xfrm>
            <a:off x="560270" y="2292059"/>
            <a:ext cx="516934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0" name="Subtitle 2">
            <a:extLst>
              <a:ext uri="{FF2B5EF4-FFF2-40B4-BE49-F238E27FC236}">
                <a16:creationId xmlns:a16="http://schemas.microsoft.com/office/drawing/2014/main" id="{3AA1AF35-E214-5937-C222-35F7C8B61318}"/>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1" name="Text Placeholder 13">
            <a:extLst>
              <a:ext uri="{FF2B5EF4-FFF2-40B4-BE49-F238E27FC236}">
                <a16:creationId xmlns:a16="http://schemas.microsoft.com/office/drawing/2014/main" id="{BBDCA1FD-A8D4-1358-1CE3-87CF2BAF9D4D}"/>
              </a:ext>
            </a:extLst>
          </p:cNvPr>
          <p:cNvSpPr>
            <a:spLocks noGrp="1"/>
          </p:cNvSpPr>
          <p:nvPr>
            <p:ph type="body" sz="quarter" idx="17" hasCustomPrompt="1"/>
          </p:nvPr>
        </p:nvSpPr>
        <p:spPr>
          <a:xfrm>
            <a:off x="560269" y="5680710"/>
            <a:ext cx="516934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52" name="Graphic 51">
            <a:extLst>
              <a:ext uri="{FF2B5EF4-FFF2-40B4-BE49-F238E27FC236}">
                <a16:creationId xmlns:a16="http://schemas.microsoft.com/office/drawing/2014/main" id="{7CDFB77E-A09E-BDE9-B164-A894EB8370D1}"/>
              </a:ext>
            </a:extLst>
          </p:cNvPr>
          <p:cNvPicPr>
            <a:picLocks noChangeAspect="1"/>
          </p:cNvPicPr>
          <p:nvPr userDrawn="1"/>
        </p:nvPicPr>
        <p:blipFill>
          <a:blip>
            <a:extLst>
              <a:ext uri="{96DAC541-7B7A-43D3-8B79-37D633B846F1}">
                <asvg:svgBlip xmlns:asvg="http://schemas.microsoft.com/office/drawing/2016/SVG/main" r:embed="rId9"/>
              </a:ext>
            </a:extLst>
          </a:blip>
          <a:srcRect t="22893"/>
          <a:stretch>
            <a:fillRect/>
          </a:stretch>
        </p:blipFill>
        <p:spPr>
          <a:xfrm>
            <a:off x="7997572" y="0"/>
            <a:ext cx="1578228" cy="1574836"/>
          </a:xfrm>
          <a:custGeom>
            <a:avLst/>
            <a:gdLst>
              <a:gd name="connsiteX0" fmla="*/ 0 w 1578228"/>
              <a:gd name="connsiteY0" fmla="*/ 0 h 1574836"/>
              <a:gd name="connsiteX1" fmla="*/ 1578228 w 1578228"/>
              <a:gd name="connsiteY1" fmla="*/ 0 h 1574836"/>
              <a:gd name="connsiteX2" fmla="*/ 1578228 w 1578228"/>
              <a:gd name="connsiteY2" fmla="*/ 1574836 h 1574836"/>
              <a:gd name="connsiteX3" fmla="*/ 0 w 1578228"/>
              <a:gd name="connsiteY3" fmla="*/ 1574836 h 1574836"/>
            </a:gdLst>
            <a:ahLst/>
            <a:cxnLst>
              <a:cxn ang="0">
                <a:pos x="connsiteX0" y="connsiteY0"/>
              </a:cxn>
              <a:cxn ang="0">
                <a:pos x="connsiteX1" y="connsiteY1"/>
              </a:cxn>
              <a:cxn ang="0">
                <a:pos x="connsiteX2" y="connsiteY2"/>
              </a:cxn>
              <a:cxn ang="0">
                <a:pos x="connsiteX3" y="connsiteY3"/>
              </a:cxn>
            </a:cxnLst>
            <a:rect l="l" t="t" r="r" b="b"/>
            <a:pathLst>
              <a:path w="1578228" h="1574836">
                <a:moveTo>
                  <a:pt x="0" y="0"/>
                </a:moveTo>
                <a:lnTo>
                  <a:pt x="1578228" y="0"/>
                </a:lnTo>
                <a:lnTo>
                  <a:pt x="1578228" y="1574836"/>
                </a:lnTo>
                <a:lnTo>
                  <a:pt x="0" y="1574836"/>
                </a:lnTo>
                <a:close/>
              </a:path>
            </a:pathLst>
          </a:custGeom>
        </p:spPr>
      </p:pic>
      <p:sp>
        <p:nvSpPr>
          <p:cNvPr id="6" name="Picture Placeholder 16">
            <a:extLst>
              <a:ext uri="{FF2B5EF4-FFF2-40B4-BE49-F238E27FC236}">
                <a16:creationId xmlns:a16="http://schemas.microsoft.com/office/drawing/2014/main" id="{11F2F281-CD61-3144-F723-3FD15751644D}"/>
              </a:ext>
            </a:extLst>
          </p:cNvPr>
          <p:cNvSpPr>
            <a:spLocks noGrp="1"/>
          </p:cNvSpPr>
          <p:nvPr>
            <p:ph type="pic" sz="quarter" idx="18" hasCustomPrompt="1"/>
          </p:nvPr>
        </p:nvSpPr>
        <p:spPr>
          <a:xfrm>
            <a:off x="9914020" y="0"/>
            <a:ext cx="1574799" cy="4616449"/>
          </a:xfrm>
          <a:custGeom>
            <a:avLst/>
            <a:gdLst>
              <a:gd name="connsiteX0" fmla="*/ 776817 w 1574799"/>
              <a:gd name="connsiteY0" fmla="*/ 0 h 4616449"/>
              <a:gd name="connsiteX1" fmla="*/ 797982 w 1574799"/>
              <a:gd name="connsiteY1" fmla="*/ 0 h 4616449"/>
              <a:gd name="connsiteX2" fmla="*/ 1574799 w 1574799"/>
              <a:gd name="connsiteY2" fmla="*/ 776817 h 4616449"/>
              <a:gd name="connsiteX3" fmla="*/ 1574799 w 1574799"/>
              <a:gd name="connsiteY3" fmla="*/ 3839632 h 4616449"/>
              <a:gd name="connsiteX4" fmla="*/ 797982 w 1574799"/>
              <a:gd name="connsiteY4" fmla="*/ 4616449 h 4616449"/>
              <a:gd name="connsiteX5" fmla="*/ 776817 w 1574799"/>
              <a:gd name="connsiteY5" fmla="*/ 4616449 h 4616449"/>
              <a:gd name="connsiteX6" fmla="*/ 0 w 1574799"/>
              <a:gd name="connsiteY6" fmla="*/ 3839632 h 4616449"/>
              <a:gd name="connsiteX7" fmla="*/ 0 w 1574799"/>
              <a:gd name="connsiteY7" fmla="*/ 776817 h 4616449"/>
              <a:gd name="connsiteX8" fmla="*/ 776817 w 1574799"/>
              <a:gd name="connsiteY8" fmla="*/ 0 h 461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799" h="4616449">
                <a:moveTo>
                  <a:pt x="776817" y="0"/>
                </a:moveTo>
                <a:lnTo>
                  <a:pt x="797982" y="0"/>
                </a:lnTo>
                <a:cubicBezTo>
                  <a:pt x="1227006" y="0"/>
                  <a:pt x="1574799" y="347793"/>
                  <a:pt x="1574799" y="776817"/>
                </a:cubicBezTo>
                <a:lnTo>
                  <a:pt x="1574799" y="3839632"/>
                </a:lnTo>
                <a:cubicBezTo>
                  <a:pt x="1574799" y="4268656"/>
                  <a:pt x="1227006" y="4616449"/>
                  <a:pt x="797982" y="4616449"/>
                </a:cubicBezTo>
                <a:lnTo>
                  <a:pt x="776817" y="4616449"/>
                </a:lnTo>
                <a:cubicBezTo>
                  <a:pt x="347793" y="4616449"/>
                  <a:pt x="0" y="4268656"/>
                  <a:pt x="0" y="3839632"/>
                </a:cubicBezTo>
                <a:lnTo>
                  <a:pt x="0" y="776817"/>
                </a:lnTo>
                <a:cubicBezTo>
                  <a:pt x="0" y="347793"/>
                  <a:pt x="347793" y="0"/>
                  <a:pt x="776817" y="0"/>
                </a:cubicBezTo>
                <a:close/>
              </a:path>
            </a:pathLst>
          </a:custGeom>
          <a:blipFill>
            <a:blip r:embed="rId10"/>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390900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026-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156307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FE17C5FF-0BB6-D8D6-AE85-A08D4A9073E9}"/>
              </a:ext>
            </a:extLst>
          </p:cNvPr>
          <p:cNvSpPr>
            <a:spLocks noGrp="1"/>
          </p:cNvSpPr>
          <p:nvPr>
            <p:ph type="pic" sz="quarter" idx="14" hasCustomPrompt="1"/>
          </p:nvPr>
        </p:nvSpPr>
        <p:spPr>
          <a:xfrm>
            <a:off x="0" y="486127"/>
            <a:ext cx="2957208" cy="5885746"/>
          </a:xfrm>
          <a:custGeom>
            <a:avLst/>
            <a:gdLst>
              <a:gd name="connsiteX0" fmla="*/ 0 w 2957208"/>
              <a:gd name="connsiteY0" fmla="*/ 0 h 5885746"/>
              <a:gd name="connsiteX1" fmla="*/ 14335 w 2957208"/>
              <a:gd name="connsiteY1" fmla="*/ 0 h 5885746"/>
              <a:gd name="connsiteX2" fmla="*/ 2957208 w 2957208"/>
              <a:gd name="connsiteY2" fmla="*/ 2942873 h 5885746"/>
              <a:gd name="connsiteX3" fmla="*/ 2957207 w 2957208"/>
              <a:gd name="connsiteY3" fmla="*/ 2942873 h 5885746"/>
              <a:gd name="connsiteX4" fmla="*/ 14334 w 2957208"/>
              <a:gd name="connsiteY4" fmla="*/ 5885746 h 5885746"/>
              <a:gd name="connsiteX5" fmla="*/ 0 w 2957208"/>
              <a:gd name="connsiteY5" fmla="*/ 5885746 h 588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7208" h="5885746">
                <a:moveTo>
                  <a:pt x="0" y="0"/>
                </a:moveTo>
                <a:lnTo>
                  <a:pt x="14335" y="0"/>
                </a:lnTo>
                <a:cubicBezTo>
                  <a:pt x="1639639" y="0"/>
                  <a:pt x="2957208" y="1317569"/>
                  <a:pt x="2957208" y="2942873"/>
                </a:cubicBezTo>
                <a:lnTo>
                  <a:pt x="2957207" y="2942873"/>
                </a:lnTo>
                <a:cubicBezTo>
                  <a:pt x="2957207" y="4568177"/>
                  <a:pt x="1639638" y="5885746"/>
                  <a:pt x="14334" y="5885746"/>
                </a:cubicBezTo>
                <a:lnTo>
                  <a:pt x="0" y="5885746"/>
                </a:ln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26" name="Freeform: Shape 25">
            <a:extLst>
              <a:ext uri="{FF2B5EF4-FFF2-40B4-BE49-F238E27FC236}">
                <a16:creationId xmlns:a16="http://schemas.microsoft.com/office/drawing/2014/main" id="{6FB998AD-8D30-E11E-F31A-9DB440E709B9}"/>
              </a:ext>
            </a:extLst>
          </p:cNvPr>
          <p:cNvSpPr/>
          <p:nvPr userDrawn="1"/>
        </p:nvSpPr>
        <p:spPr>
          <a:xfrm>
            <a:off x="10285918" y="1515906"/>
            <a:ext cx="1906082" cy="3826188"/>
          </a:xfrm>
          <a:custGeom>
            <a:avLst/>
            <a:gdLst>
              <a:gd name="connsiteX0" fmla="*/ 1906082 w 1906082"/>
              <a:gd name="connsiteY0" fmla="*/ 0 h 3826188"/>
              <a:gd name="connsiteX1" fmla="*/ 1906082 w 1906082"/>
              <a:gd name="connsiteY1" fmla="*/ 3826188 h 3826188"/>
              <a:gd name="connsiteX2" fmla="*/ 1717826 w 1906082"/>
              <a:gd name="connsiteY2" fmla="*/ 3816682 h 3826188"/>
              <a:gd name="connsiteX3" fmla="*/ 0 w 1906082"/>
              <a:gd name="connsiteY3" fmla="*/ 1913094 h 3826188"/>
              <a:gd name="connsiteX4" fmla="*/ 1717826 w 1906082"/>
              <a:gd name="connsiteY4" fmla="*/ 9506 h 3826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082" h="3826188">
                <a:moveTo>
                  <a:pt x="1906082" y="0"/>
                </a:moveTo>
                <a:lnTo>
                  <a:pt x="1906082" y="3826188"/>
                </a:lnTo>
                <a:lnTo>
                  <a:pt x="1717826" y="3816682"/>
                </a:lnTo>
                <a:cubicBezTo>
                  <a:pt x="752949" y="3718694"/>
                  <a:pt x="0" y="2903825"/>
                  <a:pt x="0" y="1913094"/>
                </a:cubicBezTo>
                <a:cubicBezTo>
                  <a:pt x="0" y="922364"/>
                  <a:pt x="752949" y="107495"/>
                  <a:pt x="1717826" y="950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28" name="Graphic 27">
            <a:extLst>
              <a:ext uri="{FF2B5EF4-FFF2-40B4-BE49-F238E27FC236}">
                <a16:creationId xmlns:a16="http://schemas.microsoft.com/office/drawing/2014/main" id="{4698F2DD-4D97-8D7A-5BEC-E5396E6DFD14}"/>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9360095" y="611533"/>
            <a:ext cx="2212298" cy="399963"/>
          </a:xfrm>
          <a:prstGeom prst="rect">
            <a:avLst/>
          </a:prstGeom>
        </p:spPr>
      </p:pic>
      <p:sp>
        <p:nvSpPr>
          <p:cNvPr id="31" name="Subtitle 2">
            <a:extLst>
              <a:ext uri="{FF2B5EF4-FFF2-40B4-BE49-F238E27FC236}">
                <a16:creationId xmlns:a16="http://schemas.microsoft.com/office/drawing/2014/main" id="{584AC4A0-A7FD-554D-C5E0-580CC43AD9E3}"/>
              </a:ext>
            </a:extLst>
          </p:cNvPr>
          <p:cNvSpPr>
            <a:spLocks noGrp="1"/>
          </p:cNvSpPr>
          <p:nvPr>
            <p:ph type="subTitle" idx="1" hasCustomPrompt="1"/>
          </p:nvPr>
        </p:nvSpPr>
        <p:spPr>
          <a:xfrm>
            <a:off x="3467100" y="22574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40" name="Title 1">
            <a:extLst>
              <a:ext uri="{FF2B5EF4-FFF2-40B4-BE49-F238E27FC236}">
                <a16:creationId xmlns:a16="http://schemas.microsoft.com/office/drawing/2014/main" id="{555A42D2-18FC-DFFB-5DB3-DF592BF30F91}"/>
              </a:ext>
            </a:extLst>
          </p:cNvPr>
          <p:cNvSpPr>
            <a:spLocks noGrp="1"/>
          </p:cNvSpPr>
          <p:nvPr>
            <p:ph type="title" hasCustomPrompt="1"/>
          </p:nvPr>
        </p:nvSpPr>
        <p:spPr bwMode="white">
          <a:xfrm>
            <a:off x="3467100" y="2844800"/>
            <a:ext cx="6324600" cy="2171700"/>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Tree>
    <p:extLst>
      <p:ext uri="{BB962C8B-B14F-4D97-AF65-F5344CB8AC3E}">
        <p14:creationId xmlns:p14="http://schemas.microsoft.com/office/powerpoint/2010/main" val="42977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2026-03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7499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4F340A53-0350-F53E-7D51-923BC4C86D0A}"/>
              </a:ext>
            </a:extLst>
          </p:cNvPr>
          <p:cNvSpPr>
            <a:spLocks noGrp="1"/>
          </p:cNvSpPr>
          <p:nvPr>
            <p:ph type="pic" sz="quarter" idx="14" hasCustomPrompt="1"/>
          </p:nvPr>
        </p:nvSpPr>
        <p:spPr>
          <a:xfrm>
            <a:off x="7301581" y="0"/>
            <a:ext cx="4890421" cy="4391066"/>
          </a:xfrm>
          <a:custGeom>
            <a:avLst/>
            <a:gdLst>
              <a:gd name="connsiteX0" fmla="*/ 1083662 w 4890421"/>
              <a:gd name="connsiteY0" fmla="*/ 0 h 4391066"/>
              <a:gd name="connsiteX1" fmla="*/ 4890421 w 4890421"/>
              <a:gd name="connsiteY1" fmla="*/ 0 h 4391066"/>
              <a:gd name="connsiteX2" fmla="*/ 4890421 w 4890421"/>
              <a:gd name="connsiteY2" fmla="*/ 2808049 h 4391066"/>
              <a:gd name="connsiteX3" fmla="*/ 3992391 w 4890421"/>
              <a:gd name="connsiteY3" fmla="*/ 3706080 h 4391066"/>
              <a:gd name="connsiteX4" fmla="*/ 684986 w 4890421"/>
              <a:gd name="connsiteY4" fmla="*/ 3706080 h 4391066"/>
              <a:gd name="connsiteX5" fmla="*/ 684986 w 4890421"/>
              <a:gd name="connsiteY5" fmla="*/ 398676 h 439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0421" h="4391066">
                <a:moveTo>
                  <a:pt x="1083662" y="0"/>
                </a:moveTo>
                <a:lnTo>
                  <a:pt x="4890421" y="0"/>
                </a:lnTo>
                <a:lnTo>
                  <a:pt x="4890421" y="2808049"/>
                </a:lnTo>
                <a:lnTo>
                  <a:pt x="3992391" y="3706080"/>
                </a:lnTo>
                <a:cubicBezTo>
                  <a:pt x="3079076" y="4619395"/>
                  <a:pt x="1598301" y="4619395"/>
                  <a:pt x="684986" y="3706080"/>
                </a:cubicBezTo>
                <a:cubicBezTo>
                  <a:pt x="-228328" y="2792765"/>
                  <a:pt x="-228328" y="1311990"/>
                  <a:pt x="684986" y="398676"/>
                </a:cubicBez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10" name="Freeform: Shape 9">
            <a:extLst>
              <a:ext uri="{FF2B5EF4-FFF2-40B4-BE49-F238E27FC236}">
                <a16:creationId xmlns:a16="http://schemas.microsoft.com/office/drawing/2014/main" id="{6B9159B2-9CF1-9E05-5FA7-5B81E7F195E7}"/>
              </a:ext>
            </a:extLst>
          </p:cNvPr>
          <p:cNvSpPr/>
          <p:nvPr userDrawn="1"/>
        </p:nvSpPr>
        <p:spPr>
          <a:xfrm>
            <a:off x="486075" y="5000653"/>
            <a:ext cx="4077476" cy="1857348"/>
          </a:xfrm>
          <a:custGeom>
            <a:avLst/>
            <a:gdLst>
              <a:gd name="connsiteX0" fmla="*/ 2507608 w 4077476"/>
              <a:gd name="connsiteY0" fmla="*/ 0 h 1857348"/>
              <a:gd name="connsiteX1" fmla="*/ 3617672 w 4077476"/>
              <a:gd name="connsiteY1" fmla="*/ 459804 h 1857348"/>
              <a:gd name="connsiteX2" fmla="*/ 4077476 w 4077476"/>
              <a:gd name="connsiteY2" fmla="*/ 1569868 h 1857348"/>
              <a:gd name="connsiteX3" fmla="*/ 4049922 w 4077476"/>
              <a:gd name="connsiteY3" fmla="*/ 1857348 h 1857348"/>
              <a:gd name="connsiteX4" fmla="*/ 0 w 4077476"/>
              <a:gd name="connsiteY4" fmla="*/ 1857348 h 1857348"/>
              <a:gd name="connsiteX5" fmla="*/ 1397545 w 4077476"/>
              <a:gd name="connsiteY5" fmla="*/ 459804 h 1857348"/>
              <a:gd name="connsiteX6" fmla="*/ 2507608 w 4077476"/>
              <a:gd name="connsiteY6" fmla="*/ 0 h 185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7476" h="1857348">
                <a:moveTo>
                  <a:pt x="2507608" y="0"/>
                </a:moveTo>
                <a:cubicBezTo>
                  <a:pt x="2909372" y="0"/>
                  <a:pt x="3311136" y="153268"/>
                  <a:pt x="3617672" y="459804"/>
                </a:cubicBezTo>
                <a:cubicBezTo>
                  <a:pt x="3924208" y="766340"/>
                  <a:pt x="4077476" y="1168104"/>
                  <a:pt x="4077476" y="1569868"/>
                </a:cubicBezTo>
                <a:lnTo>
                  <a:pt x="4049922" y="1857348"/>
                </a:lnTo>
                <a:lnTo>
                  <a:pt x="0" y="1857348"/>
                </a:lnTo>
                <a:lnTo>
                  <a:pt x="1397545" y="459804"/>
                </a:lnTo>
                <a:cubicBezTo>
                  <a:pt x="1704080" y="153268"/>
                  <a:pt x="2105844" y="0"/>
                  <a:pt x="250760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Subtitle 2">
            <a:extLst>
              <a:ext uri="{FF2B5EF4-FFF2-40B4-BE49-F238E27FC236}">
                <a16:creationId xmlns:a16="http://schemas.microsoft.com/office/drawing/2014/main" id="{C31F9952-3096-5EB4-195E-E111EF3DA746}"/>
              </a:ext>
            </a:extLst>
          </p:cNvPr>
          <p:cNvSpPr>
            <a:spLocks noGrp="1"/>
          </p:cNvSpPr>
          <p:nvPr>
            <p:ph type="subTitle" idx="1" hasCustomPrompt="1"/>
          </p:nvPr>
        </p:nvSpPr>
        <p:spPr>
          <a:xfrm>
            <a:off x="560269" y="8096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5" name="Title 1">
            <a:extLst>
              <a:ext uri="{FF2B5EF4-FFF2-40B4-BE49-F238E27FC236}">
                <a16:creationId xmlns:a16="http://schemas.microsoft.com/office/drawing/2014/main" id="{B5279600-C9F1-CF2F-5C8E-97EEA785D158}"/>
              </a:ext>
            </a:extLst>
          </p:cNvPr>
          <p:cNvSpPr>
            <a:spLocks noGrp="1"/>
          </p:cNvSpPr>
          <p:nvPr>
            <p:ph type="title" hasCustomPrompt="1"/>
          </p:nvPr>
        </p:nvSpPr>
        <p:spPr bwMode="white">
          <a:xfrm>
            <a:off x="560269" y="1308100"/>
            <a:ext cx="6324600" cy="2171700"/>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pic>
        <p:nvPicPr>
          <p:cNvPr id="6" name="Graphic 5">
            <a:extLst>
              <a:ext uri="{FF2B5EF4-FFF2-40B4-BE49-F238E27FC236}">
                <a16:creationId xmlns:a16="http://schemas.microsoft.com/office/drawing/2014/main" id="{EC8615EA-924C-6B9D-68EB-D8BBB5ECB831}"/>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9360095" y="5843933"/>
            <a:ext cx="2212298" cy="399963"/>
          </a:xfrm>
          <a:prstGeom prst="rect">
            <a:avLst/>
          </a:prstGeom>
        </p:spPr>
      </p:pic>
    </p:spTree>
    <p:extLst>
      <p:ext uri="{BB962C8B-B14F-4D97-AF65-F5344CB8AC3E}">
        <p14:creationId xmlns:p14="http://schemas.microsoft.com/office/powerpoint/2010/main" val="80206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2026-04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71741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0054152A-0AC2-B35F-B3CA-D6B593C009A8}"/>
              </a:ext>
            </a:extLst>
          </p:cNvPr>
          <p:cNvSpPr>
            <a:spLocks noGrp="1"/>
          </p:cNvSpPr>
          <p:nvPr>
            <p:ph type="pic" sz="quarter" idx="14" hasCustomPrompt="1"/>
          </p:nvPr>
        </p:nvSpPr>
        <p:spPr>
          <a:xfrm>
            <a:off x="622300" y="673100"/>
            <a:ext cx="10909300" cy="2463800"/>
          </a:xfrm>
          <a:custGeom>
            <a:avLst/>
            <a:gdLst>
              <a:gd name="connsiteX0" fmla="*/ 1231900 w 10909300"/>
              <a:gd name="connsiteY0" fmla="*/ 0 h 2463800"/>
              <a:gd name="connsiteX1" fmla="*/ 9677400 w 10909300"/>
              <a:gd name="connsiteY1" fmla="*/ 0 h 2463800"/>
              <a:gd name="connsiteX2" fmla="*/ 10909300 w 10909300"/>
              <a:gd name="connsiteY2" fmla="*/ 1231900 h 2463800"/>
              <a:gd name="connsiteX3" fmla="*/ 9677400 w 10909300"/>
              <a:gd name="connsiteY3" fmla="*/ 2463800 h 2463800"/>
              <a:gd name="connsiteX4" fmla="*/ 1231900 w 10909300"/>
              <a:gd name="connsiteY4" fmla="*/ 2463800 h 2463800"/>
              <a:gd name="connsiteX5" fmla="*/ 0 w 10909300"/>
              <a:gd name="connsiteY5" fmla="*/ 1231900 h 2463800"/>
              <a:gd name="connsiteX6" fmla="*/ 1231900 w 10909300"/>
              <a:gd name="connsiteY6"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09300" h="2463800">
                <a:moveTo>
                  <a:pt x="1231900" y="0"/>
                </a:moveTo>
                <a:lnTo>
                  <a:pt x="9677400" y="0"/>
                </a:lnTo>
                <a:cubicBezTo>
                  <a:pt x="10357760" y="0"/>
                  <a:pt x="10909300" y="551540"/>
                  <a:pt x="10909300" y="1231900"/>
                </a:cubicBezTo>
                <a:cubicBezTo>
                  <a:pt x="10909300" y="1912260"/>
                  <a:pt x="10357760" y="2463800"/>
                  <a:pt x="9677400" y="2463800"/>
                </a:cubicBezTo>
                <a:lnTo>
                  <a:pt x="1231900" y="2463800"/>
                </a:lnTo>
                <a:cubicBezTo>
                  <a:pt x="551540" y="2463800"/>
                  <a:pt x="0" y="1912260"/>
                  <a:pt x="0" y="1231900"/>
                </a:cubicBezTo>
                <a:cubicBezTo>
                  <a:pt x="0" y="551540"/>
                  <a:pt x="551540" y="0"/>
                  <a:pt x="1231900" y="0"/>
                </a:cubicBez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pic>
        <p:nvPicPr>
          <p:cNvPr id="28" name="Graphic 27">
            <a:extLst>
              <a:ext uri="{FF2B5EF4-FFF2-40B4-BE49-F238E27FC236}">
                <a16:creationId xmlns:a16="http://schemas.microsoft.com/office/drawing/2014/main" id="{4698F2DD-4D97-8D7A-5BEC-E5396E6DFD14}"/>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9360095" y="5843933"/>
            <a:ext cx="2212298" cy="399963"/>
          </a:xfrm>
          <a:prstGeom prst="rect">
            <a:avLst/>
          </a:prstGeom>
        </p:spPr>
      </p:pic>
      <p:sp>
        <p:nvSpPr>
          <p:cNvPr id="40" name="Title 1">
            <a:extLst>
              <a:ext uri="{FF2B5EF4-FFF2-40B4-BE49-F238E27FC236}">
                <a16:creationId xmlns:a16="http://schemas.microsoft.com/office/drawing/2014/main" id="{555A42D2-18FC-DFFB-5DB3-DF592BF30F91}"/>
              </a:ext>
            </a:extLst>
          </p:cNvPr>
          <p:cNvSpPr>
            <a:spLocks noGrp="1"/>
          </p:cNvSpPr>
          <p:nvPr>
            <p:ph type="title" hasCustomPrompt="1"/>
          </p:nvPr>
        </p:nvSpPr>
        <p:spPr bwMode="white">
          <a:xfrm>
            <a:off x="1703173" y="3657600"/>
            <a:ext cx="8785654" cy="1446550"/>
          </a:xfrm>
          <a:prstGeom prst="rect">
            <a:avLst/>
          </a:prstGeom>
        </p:spPr>
        <p:txBody>
          <a:bodyPr vert="horz" anchor="t" anchorCtr="0">
            <a:noAutofit/>
          </a:bodyPr>
          <a:lstStyle>
            <a:lvl1pPr algn="l">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a:t>
            </a:r>
            <a:br>
              <a:rPr lang="en-US"/>
            </a:br>
            <a:r>
              <a:rPr lang="en-US"/>
              <a:t>Sans Light sentence case</a:t>
            </a:r>
          </a:p>
        </p:txBody>
      </p:sp>
    </p:spTree>
    <p:extLst>
      <p:ext uri="{BB962C8B-B14F-4D97-AF65-F5344CB8AC3E}">
        <p14:creationId xmlns:p14="http://schemas.microsoft.com/office/powerpoint/2010/main" val="262183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2026-05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70668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C64657C8-34AC-81B6-5C51-BB17F9686E24}"/>
              </a:ext>
            </a:extLst>
          </p:cNvPr>
          <p:cNvSpPr/>
          <p:nvPr userDrawn="1"/>
        </p:nvSpPr>
        <p:spPr>
          <a:xfrm rot="5400000">
            <a:off x="-17144" y="2760344"/>
            <a:ext cx="4114801" cy="4080511"/>
          </a:xfrm>
          <a:custGeom>
            <a:avLst/>
            <a:gdLst>
              <a:gd name="connsiteX0" fmla="*/ 0 w 4114801"/>
              <a:gd name="connsiteY0" fmla="*/ 4080511 h 4080511"/>
              <a:gd name="connsiteX1" fmla="*/ 0 w 4114801"/>
              <a:gd name="connsiteY1" fmla="*/ 2051686 h 4080511"/>
              <a:gd name="connsiteX2" fmla="*/ 2051686 w 4114801"/>
              <a:gd name="connsiteY2" fmla="*/ 0 h 4080511"/>
              <a:gd name="connsiteX3" fmla="*/ 2063115 w 4114801"/>
              <a:gd name="connsiteY3" fmla="*/ 0 h 4080511"/>
              <a:gd name="connsiteX4" fmla="*/ 4114801 w 4114801"/>
              <a:gd name="connsiteY4" fmla="*/ 2051686 h 4080511"/>
              <a:gd name="connsiteX5" fmla="*/ 4114800 w 4114801"/>
              <a:gd name="connsiteY5" fmla="*/ 4080511 h 408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4801" h="4080511">
                <a:moveTo>
                  <a:pt x="0" y="4080511"/>
                </a:moveTo>
                <a:lnTo>
                  <a:pt x="0" y="2051686"/>
                </a:lnTo>
                <a:cubicBezTo>
                  <a:pt x="0" y="918571"/>
                  <a:pt x="918571" y="0"/>
                  <a:pt x="2051686" y="0"/>
                </a:cubicBezTo>
                <a:lnTo>
                  <a:pt x="2063115" y="0"/>
                </a:lnTo>
                <a:cubicBezTo>
                  <a:pt x="3196230" y="0"/>
                  <a:pt x="4114801" y="918571"/>
                  <a:pt x="4114801" y="2051686"/>
                </a:cubicBezTo>
                <a:lnTo>
                  <a:pt x="4114800" y="4080511"/>
                </a:lnTo>
                <a:close/>
              </a:path>
            </a:pathLst>
          </a:custGeom>
          <a:gradFill flip="none" rotWithShape="1">
            <a:gsLst>
              <a:gs pos="65000">
                <a:srgbClr val="140A42"/>
              </a:gs>
              <a:gs pos="0">
                <a:srgbClr val="00CCFF"/>
              </a:gs>
            </a:gsLst>
            <a:lin ang="8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23" name="Graphic 22">
            <a:extLst>
              <a:ext uri="{FF2B5EF4-FFF2-40B4-BE49-F238E27FC236}">
                <a16:creationId xmlns:a16="http://schemas.microsoft.com/office/drawing/2014/main" id="{194BBB78-5FF7-C366-70FD-3AF06FA9E09B}"/>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25" name="Title 1">
            <a:extLst>
              <a:ext uri="{FF2B5EF4-FFF2-40B4-BE49-F238E27FC236}">
                <a16:creationId xmlns:a16="http://schemas.microsoft.com/office/drawing/2014/main" id="{5FE5ABEB-7B35-8213-C6F0-6497298925D8}"/>
              </a:ext>
            </a:extLst>
          </p:cNvPr>
          <p:cNvSpPr>
            <a:spLocks noGrp="1"/>
          </p:cNvSpPr>
          <p:nvPr userDrawn="1">
            <p:ph type="title" hasCustomPrompt="1"/>
          </p:nvPr>
        </p:nvSpPr>
        <p:spPr bwMode="white">
          <a:xfrm>
            <a:off x="6948370" y="2594609"/>
            <a:ext cx="4624024" cy="2739391"/>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Sans Light sentence case</a:t>
            </a:r>
          </a:p>
        </p:txBody>
      </p:sp>
      <p:sp>
        <p:nvSpPr>
          <p:cNvPr id="13" name="Picture Placeholder 12">
            <a:extLst>
              <a:ext uri="{FF2B5EF4-FFF2-40B4-BE49-F238E27FC236}">
                <a16:creationId xmlns:a16="http://schemas.microsoft.com/office/drawing/2014/main" id="{6A254D77-8314-1D63-56AD-419C890F5396}"/>
              </a:ext>
            </a:extLst>
          </p:cNvPr>
          <p:cNvSpPr>
            <a:spLocks noGrp="1"/>
          </p:cNvSpPr>
          <p:nvPr>
            <p:ph type="pic" sz="quarter" idx="16" hasCustomPrompt="1"/>
          </p:nvPr>
        </p:nvSpPr>
        <p:spPr>
          <a:xfrm>
            <a:off x="0" y="0"/>
            <a:ext cx="6327139" cy="5552111"/>
          </a:xfrm>
          <a:custGeom>
            <a:avLst/>
            <a:gdLst>
              <a:gd name="connsiteX0" fmla="*/ 0 w 6327139"/>
              <a:gd name="connsiteY0" fmla="*/ 0 h 5552111"/>
              <a:gd name="connsiteX1" fmla="*/ 6327139 w 6327139"/>
              <a:gd name="connsiteY1" fmla="*/ 0 h 5552111"/>
              <a:gd name="connsiteX2" fmla="*/ 6327139 w 6327139"/>
              <a:gd name="connsiteY2" fmla="*/ 2377111 h 5552111"/>
              <a:gd name="connsiteX3" fmla="*/ 3152139 w 6327139"/>
              <a:gd name="connsiteY3" fmla="*/ 5552111 h 5552111"/>
              <a:gd name="connsiteX4" fmla="*/ 13723 w 6327139"/>
              <a:gd name="connsiteY4" fmla="*/ 2860632 h 5552111"/>
              <a:gd name="connsiteX5" fmla="*/ 0 w 6327139"/>
              <a:gd name="connsiteY5" fmla="*/ 2752636 h 555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7139" h="5552111">
                <a:moveTo>
                  <a:pt x="0" y="0"/>
                </a:moveTo>
                <a:lnTo>
                  <a:pt x="6327139" y="0"/>
                </a:lnTo>
                <a:lnTo>
                  <a:pt x="6327139" y="2377111"/>
                </a:lnTo>
                <a:cubicBezTo>
                  <a:pt x="6327139" y="4130615"/>
                  <a:pt x="4905643" y="5552111"/>
                  <a:pt x="3152139" y="5552111"/>
                </a:cubicBezTo>
                <a:cubicBezTo>
                  <a:pt x="1563027" y="5552111"/>
                  <a:pt x="246589" y="4384652"/>
                  <a:pt x="13723" y="2860632"/>
                </a:cubicBezTo>
                <a:lnTo>
                  <a:pt x="0" y="2752636"/>
                </a:lnTo>
                <a:close/>
              </a:path>
            </a:pathLst>
          </a:custGeom>
          <a:blipFill>
            <a:blip r:embed="rId6"/>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9" name="Text Placeholder 8">
            <a:extLst>
              <a:ext uri="{FF2B5EF4-FFF2-40B4-BE49-F238E27FC236}">
                <a16:creationId xmlns:a16="http://schemas.microsoft.com/office/drawing/2014/main" id="{88296AAA-9AC5-C0EC-9897-4E4D0D105DAE}"/>
              </a:ext>
            </a:extLst>
          </p:cNvPr>
          <p:cNvSpPr>
            <a:spLocks noGrp="1"/>
          </p:cNvSpPr>
          <p:nvPr>
            <p:ph type="body" sz="quarter" idx="20" hasCustomPrompt="1"/>
          </p:nvPr>
        </p:nvSpPr>
        <p:spPr>
          <a:xfrm>
            <a:off x="0" y="2743200"/>
            <a:ext cx="4080512" cy="2808911"/>
          </a:xfrm>
          <a:custGeom>
            <a:avLst/>
            <a:gdLst>
              <a:gd name="connsiteX0" fmla="*/ 0 w 4080512"/>
              <a:gd name="connsiteY0" fmla="*/ 0 h 2808911"/>
              <a:gd name="connsiteX1" fmla="*/ 2028826 w 4080512"/>
              <a:gd name="connsiteY1" fmla="*/ 0 h 2808911"/>
              <a:gd name="connsiteX2" fmla="*/ 4080512 w 4080512"/>
              <a:gd name="connsiteY2" fmla="*/ 2051686 h 2808911"/>
              <a:gd name="connsiteX3" fmla="*/ 4080512 w 4080512"/>
              <a:gd name="connsiteY3" fmla="*/ 2063115 h 2808911"/>
              <a:gd name="connsiteX4" fmla="*/ 3988272 w 4080512"/>
              <a:gd name="connsiteY4" fmla="*/ 2673224 h 2808911"/>
              <a:gd name="connsiteX5" fmla="*/ 3978625 w 4080512"/>
              <a:gd name="connsiteY5" fmla="*/ 2699582 h 2808911"/>
              <a:gd name="connsiteX6" fmla="*/ 3945622 w 4080512"/>
              <a:gd name="connsiteY6" fmla="*/ 2708954 h 2808911"/>
              <a:gd name="connsiteX7" fmla="*/ 3152140 w 4080512"/>
              <a:gd name="connsiteY7" fmla="*/ 2808911 h 2808911"/>
              <a:gd name="connsiteX8" fmla="*/ 13723 w 4080512"/>
              <a:gd name="connsiteY8" fmla="*/ 117432 h 2808911"/>
              <a:gd name="connsiteX9" fmla="*/ 0 w 4080512"/>
              <a:gd name="connsiteY9" fmla="*/ 9436 h 280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0512" h="2808911">
                <a:moveTo>
                  <a:pt x="0" y="0"/>
                </a:moveTo>
                <a:lnTo>
                  <a:pt x="2028826" y="0"/>
                </a:lnTo>
                <a:cubicBezTo>
                  <a:pt x="3161941" y="0"/>
                  <a:pt x="4080513" y="918572"/>
                  <a:pt x="4080512" y="2051686"/>
                </a:cubicBezTo>
                <a:lnTo>
                  <a:pt x="4080512" y="2063115"/>
                </a:lnTo>
                <a:cubicBezTo>
                  <a:pt x="4080512" y="2275574"/>
                  <a:pt x="4048219" y="2480491"/>
                  <a:pt x="3988272" y="2673224"/>
                </a:cubicBezTo>
                <a:lnTo>
                  <a:pt x="3978625" y="2699582"/>
                </a:lnTo>
                <a:lnTo>
                  <a:pt x="3945622" y="2708954"/>
                </a:lnTo>
                <a:cubicBezTo>
                  <a:pt x="3692005" y="2774207"/>
                  <a:pt x="3426125" y="2808911"/>
                  <a:pt x="3152140" y="2808911"/>
                </a:cubicBezTo>
                <a:cubicBezTo>
                  <a:pt x="1563027" y="2808911"/>
                  <a:pt x="246589" y="1641452"/>
                  <a:pt x="13723" y="117432"/>
                </a:cubicBezTo>
                <a:lnTo>
                  <a:pt x="0" y="9436"/>
                </a:lnTo>
                <a:close/>
              </a:path>
            </a:pathLst>
          </a:custGeom>
          <a:solidFill>
            <a:srgbClr val="00CC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None/>
              <a:defRPr lang="en-US" sz="1600" dirty="0"/>
            </a:lvl1pPr>
          </a:lstStyle>
          <a:p>
            <a:pPr marL="0" lvl="0"/>
            <a:r>
              <a:rPr lang="en-US"/>
              <a:t> </a:t>
            </a:r>
          </a:p>
        </p:txBody>
      </p:sp>
      <p:grpSp>
        <p:nvGrpSpPr>
          <p:cNvPr id="12" name="Group 11">
            <a:extLst>
              <a:ext uri="{FF2B5EF4-FFF2-40B4-BE49-F238E27FC236}">
                <a16:creationId xmlns:a16="http://schemas.microsoft.com/office/drawing/2014/main" id="{13E3113A-26C0-984B-11CB-789A7AFB2ED7}"/>
              </a:ext>
            </a:extLst>
          </p:cNvPr>
          <p:cNvGrpSpPr/>
          <p:nvPr userDrawn="1"/>
        </p:nvGrpSpPr>
        <p:grpSpPr>
          <a:xfrm>
            <a:off x="12323965" y="3876462"/>
            <a:ext cx="2089689" cy="3212677"/>
            <a:chOff x="12323965" y="3876462"/>
            <a:chExt cx="2089689" cy="3212677"/>
          </a:xfrm>
        </p:grpSpPr>
        <p:sp>
          <p:nvSpPr>
            <p:cNvPr id="14" name="Rectangle 13">
              <a:extLst>
                <a:ext uri="{FF2B5EF4-FFF2-40B4-BE49-F238E27FC236}">
                  <a16:creationId xmlns:a16="http://schemas.microsoft.com/office/drawing/2014/main" id="{99302882-B07A-5399-657A-08126A085FAA}"/>
                </a:ext>
              </a:extLst>
            </p:cNvPr>
            <p:cNvSpPr/>
            <p:nvPr/>
          </p:nvSpPr>
          <p:spPr>
            <a:xfrm>
              <a:off x="12323965" y="3876462"/>
              <a:ext cx="2089689" cy="3212677"/>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Instructions to change the image follow below steps:</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1:</a:t>
              </a:r>
              <a:r>
                <a:rPr kumimoji="0" lang="en-US" sz="900" b="0" i="0" u="none" strike="noStrike" kern="1200" cap="none" spc="0" normalizeH="0" baseline="0" noProof="0">
                  <a:ln>
                    <a:noFill/>
                  </a:ln>
                  <a:solidFill>
                    <a:srgbClr val="FFFFFF"/>
                  </a:solidFill>
                  <a:effectLst/>
                  <a:uLnTx/>
                  <a:uFillTx/>
                  <a:latin typeface="Noto Sans"/>
                  <a:ea typeface="+mn-ea"/>
                  <a:cs typeface="+mn-cs"/>
                </a:rPr>
                <a:t> Please move the masked shapes from top of the image placeholder</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2:</a:t>
              </a:r>
              <a:r>
                <a:rPr kumimoji="0" lang="en-US" sz="900" b="0" i="0" u="none" strike="noStrike" kern="1200" cap="none" spc="0" normalizeH="0" baseline="0" noProof="0">
                  <a:ln>
                    <a:noFill/>
                  </a:ln>
                  <a:solidFill>
                    <a:srgbClr val="FFFFFF"/>
                  </a:solidFill>
                  <a:effectLst/>
                  <a:uLnTx/>
                  <a:uFillTx/>
                  <a:latin typeface="Noto Sans"/>
                  <a:ea typeface="+mn-ea"/>
                  <a:cs typeface="+mn-cs"/>
                </a:rPr>
                <a:t> Click on the </a:t>
              </a:r>
              <a:br>
                <a:rPr kumimoji="0" lang="en-US" sz="900" b="0" i="0" u="none" strike="noStrike" kern="1200" cap="none" spc="0" normalizeH="0" baseline="0" noProof="0">
                  <a:ln>
                    <a:noFill/>
                  </a:ln>
                  <a:solidFill>
                    <a:srgbClr val="FFFFFF"/>
                  </a:solidFill>
                  <a:effectLst/>
                  <a:uLnTx/>
                  <a:uFillTx/>
                  <a:latin typeface="Noto Sans"/>
                  <a:ea typeface="+mn-ea"/>
                  <a:cs typeface="+mn-cs"/>
                </a:rPr>
              </a:br>
              <a:r>
                <a:rPr kumimoji="0" lang="en-US" sz="900" b="0" i="0" u="none" strike="noStrike" kern="1200" cap="none" spc="0" normalizeH="0" baseline="0" noProof="0">
                  <a:ln>
                    <a:noFill/>
                  </a:ln>
                  <a:solidFill>
                    <a:srgbClr val="FFFFFF"/>
                  </a:solidFill>
                  <a:effectLst/>
                  <a:uLnTx/>
                  <a:uFillTx/>
                  <a:latin typeface="Noto Sans"/>
                  <a:ea typeface="+mn-ea"/>
                  <a:cs typeface="+mn-cs"/>
                </a:rPr>
                <a:t>image icon </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3:</a:t>
              </a:r>
              <a:r>
                <a:rPr kumimoji="0" lang="en-US" sz="900" b="0" i="0" u="none" strike="noStrike" kern="1200" cap="none" spc="0" normalizeH="0" baseline="0" noProof="0">
                  <a:ln>
                    <a:noFill/>
                  </a:ln>
                  <a:solidFill>
                    <a:srgbClr val="FFFFFF"/>
                  </a:solidFill>
                  <a:effectLst/>
                  <a:uLnTx/>
                  <a:uFillTx/>
                  <a:latin typeface="Noto Sans"/>
                  <a:ea typeface="+mn-ea"/>
                  <a:cs typeface="+mn-cs"/>
                </a:rPr>
                <a:t> Select the image to be replaced and then click on Insert option</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4:</a:t>
              </a:r>
              <a:r>
                <a:rPr kumimoji="0" lang="en-US" sz="900" b="0" i="0" u="none" strike="noStrike" kern="1200" cap="none" spc="0" normalizeH="0" baseline="0" noProof="0">
                  <a:ln>
                    <a:noFill/>
                  </a:ln>
                  <a:solidFill>
                    <a:srgbClr val="FFFFFF"/>
                  </a:solidFill>
                  <a:effectLst/>
                  <a:uLnTx/>
                  <a:uFillTx/>
                  <a:latin typeface="Noto Sans"/>
                  <a:ea typeface="+mn-ea"/>
                  <a:cs typeface="+mn-cs"/>
                </a:rPr>
                <a:t> Once the image is replaced, Goto </a:t>
              </a:r>
              <a:br>
                <a:rPr kumimoji="0" lang="en-US" sz="900" b="0" i="0" u="none" strike="noStrike" kern="1200" cap="none" spc="0" normalizeH="0" baseline="0" noProof="0">
                  <a:ln>
                    <a:noFill/>
                  </a:ln>
                  <a:solidFill>
                    <a:srgbClr val="FFFFFF"/>
                  </a:solidFill>
                  <a:effectLst/>
                  <a:uLnTx/>
                  <a:uFillTx/>
                  <a:latin typeface="Noto Sans"/>
                  <a:ea typeface="+mn-ea"/>
                  <a:cs typeface="+mn-cs"/>
                </a:rPr>
              </a:br>
              <a:r>
                <a:rPr kumimoji="0" lang="en-US" sz="900" b="0" i="0" u="none" strike="noStrike" kern="1200" cap="none" spc="0" normalizeH="0" baseline="0" noProof="0">
                  <a:ln>
                    <a:noFill/>
                  </a:ln>
                  <a:solidFill>
                    <a:srgbClr val="FFFFFF"/>
                  </a:solidFill>
                  <a:effectLst/>
                  <a:uLnTx/>
                  <a:uFillTx/>
                  <a:latin typeface="Noto Sans"/>
                  <a:ea typeface="+mn-ea"/>
                  <a:cs typeface="+mn-cs"/>
                </a:rPr>
                <a:t>Home =&gt; Reset option</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900" b="1" i="0" u="none" strike="noStrike" kern="1200" cap="none" spc="0" normalizeH="0" baseline="0" noProof="0">
                <a:ln>
                  <a:noFill/>
                </a:ln>
                <a:solidFill>
                  <a:srgbClr val="FFFFFF"/>
                </a:solidFill>
                <a:effectLst/>
                <a:uLnTx/>
                <a:uFillTx/>
                <a:latin typeface="Noto Sans"/>
                <a:ea typeface="+mn-ea"/>
                <a:cs typeface="+mn-cs"/>
              </a:endParaRP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FFFFFF"/>
                </a:solidFill>
                <a:effectLst/>
                <a:uLnTx/>
                <a:uFillTx/>
                <a:latin typeface="Noto Sans"/>
                <a:ea typeface="+mn-ea"/>
                <a:cs typeface="+mn-cs"/>
              </a:endParaRP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5:</a:t>
              </a:r>
              <a:r>
                <a:rPr kumimoji="0" lang="en-US" sz="900" b="0" i="0" u="none" strike="noStrike" kern="1200" cap="none" spc="0" normalizeH="0" baseline="0" noProof="0">
                  <a:ln>
                    <a:noFill/>
                  </a:ln>
                  <a:solidFill>
                    <a:srgbClr val="FFFFFF"/>
                  </a:solidFill>
                  <a:effectLst/>
                  <a:uLnTx/>
                  <a:uFillTx/>
                  <a:latin typeface="Noto Sans"/>
                  <a:ea typeface="+mn-ea"/>
                  <a:cs typeface="+mn-cs"/>
                </a:rPr>
                <a:t> Shape/masked  layers will be readjusted on the slide and ready to use</a:t>
              </a:r>
            </a:p>
          </p:txBody>
        </p:sp>
        <p:pic>
          <p:nvPicPr>
            <p:cNvPr id="15" name="Picture 14">
              <a:extLst>
                <a:ext uri="{FF2B5EF4-FFF2-40B4-BE49-F238E27FC236}">
                  <a16:creationId xmlns:a16="http://schemas.microsoft.com/office/drawing/2014/main" id="{2CC58985-0C3C-097C-1F60-A1A44B3F677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694135" y="4756344"/>
              <a:ext cx="197126" cy="174381"/>
            </a:xfrm>
            <a:prstGeom prst="rect">
              <a:avLst/>
            </a:prstGeom>
          </p:spPr>
        </p:pic>
        <p:pic>
          <p:nvPicPr>
            <p:cNvPr id="16" name="Picture 15">
              <a:extLst>
                <a:ext uri="{FF2B5EF4-FFF2-40B4-BE49-F238E27FC236}">
                  <a16:creationId xmlns:a16="http://schemas.microsoft.com/office/drawing/2014/main" id="{B04BF919-0125-F0D1-D738-4F4B0976D726}"/>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13834532" y="5786295"/>
              <a:ext cx="491067" cy="213105"/>
            </a:xfrm>
            <a:custGeom>
              <a:avLst/>
              <a:gdLst>
                <a:gd name="connsiteX0" fmla="*/ 0 w 538480"/>
                <a:gd name="connsiteY0" fmla="*/ 0 h 233680"/>
                <a:gd name="connsiteX1" fmla="*/ 538480 w 538480"/>
                <a:gd name="connsiteY1" fmla="*/ 0 h 233680"/>
                <a:gd name="connsiteX2" fmla="*/ 538480 w 538480"/>
                <a:gd name="connsiteY2" fmla="*/ 233680 h 233680"/>
                <a:gd name="connsiteX3" fmla="*/ 0 w 538480"/>
                <a:gd name="connsiteY3" fmla="*/ 233680 h 233680"/>
              </a:gdLst>
              <a:ahLst/>
              <a:cxnLst>
                <a:cxn ang="0">
                  <a:pos x="connsiteX0" y="connsiteY0"/>
                </a:cxn>
                <a:cxn ang="0">
                  <a:pos x="connsiteX1" y="connsiteY1"/>
                </a:cxn>
                <a:cxn ang="0">
                  <a:pos x="connsiteX2" y="connsiteY2"/>
                </a:cxn>
                <a:cxn ang="0">
                  <a:pos x="connsiteX3" y="connsiteY3"/>
                </a:cxn>
              </a:cxnLst>
              <a:rect l="l" t="t" r="r" b="b"/>
              <a:pathLst>
                <a:path w="538480" h="233680">
                  <a:moveTo>
                    <a:pt x="0" y="0"/>
                  </a:moveTo>
                  <a:lnTo>
                    <a:pt x="538480" y="0"/>
                  </a:lnTo>
                  <a:lnTo>
                    <a:pt x="538480" y="233680"/>
                  </a:lnTo>
                  <a:lnTo>
                    <a:pt x="0" y="233680"/>
                  </a:lnTo>
                  <a:close/>
                </a:path>
              </a:pathLst>
            </a:custGeom>
          </p:spPr>
        </p:pic>
        <p:grpSp>
          <p:nvGrpSpPr>
            <p:cNvPr id="17" name="Group 16">
              <a:extLst>
                <a:ext uri="{FF2B5EF4-FFF2-40B4-BE49-F238E27FC236}">
                  <a16:creationId xmlns:a16="http://schemas.microsoft.com/office/drawing/2014/main" id="{3D3F27F7-BE73-4095-86A6-D508C1A94F63}"/>
                </a:ext>
              </a:extLst>
            </p:cNvPr>
            <p:cNvGrpSpPr/>
            <p:nvPr userDrawn="1"/>
          </p:nvGrpSpPr>
          <p:grpSpPr>
            <a:xfrm>
              <a:off x="12598400" y="6054514"/>
              <a:ext cx="833967" cy="541456"/>
              <a:chOff x="12585700" y="6121400"/>
              <a:chExt cx="833967" cy="541456"/>
            </a:xfrm>
          </p:grpSpPr>
          <p:pic>
            <p:nvPicPr>
              <p:cNvPr id="18" name="Picture 2">
                <a:extLst>
                  <a:ext uri="{FF2B5EF4-FFF2-40B4-BE49-F238E27FC236}">
                    <a16:creationId xmlns:a16="http://schemas.microsoft.com/office/drawing/2014/main" id="{D15BDCEA-34E9-D41E-A765-98D13F56C2E5}"/>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a:fillRect/>
              </a:stretch>
            </p:blipFill>
            <p:spPr bwMode="auto">
              <a:xfrm>
                <a:off x="12585700" y="6121400"/>
                <a:ext cx="833967" cy="54145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49A0D4E4-097B-6261-3752-47CD008405BE}"/>
                  </a:ext>
                </a:extLst>
              </p:cNvPr>
              <p:cNvSpPr/>
              <p:nvPr/>
            </p:nvSpPr>
            <p:spPr>
              <a:xfrm>
                <a:off x="12699270" y="6154738"/>
                <a:ext cx="226156" cy="91385"/>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0" name="Rectangle 19">
                <a:extLst>
                  <a:ext uri="{FF2B5EF4-FFF2-40B4-BE49-F238E27FC236}">
                    <a16:creationId xmlns:a16="http://schemas.microsoft.com/office/drawing/2014/main" id="{4A461E1A-178C-C568-796D-F6D8764F4046}"/>
                  </a:ext>
                </a:extLst>
              </p:cNvPr>
              <p:cNvSpPr/>
              <p:nvPr userDrawn="1"/>
            </p:nvSpPr>
            <p:spPr>
              <a:xfrm>
                <a:off x="13179219" y="6412700"/>
                <a:ext cx="147839" cy="102400"/>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grpSp>
      </p:grpSp>
    </p:spTree>
    <p:extLst>
      <p:ext uri="{BB962C8B-B14F-4D97-AF65-F5344CB8AC3E}">
        <p14:creationId xmlns:p14="http://schemas.microsoft.com/office/powerpoint/2010/main" val="170851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2026-06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42645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Freeform: Shape 31">
            <a:extLst>
              <a:ext uri="{FF2B5EF4-FFF2-40B4-BE49-F238E27FC236}">
                <a16:creationId xmlns:a16="http://schemas.microsoft.com/office/drawing/2014/main" id="{0309296F-DACA-9046-F9F0-2407339F5BBF}"/>
              </a:ext>
            </a:extLst>
          </p:cNvPr>
          <p:cNvSpPr/>
          <p:nvPr userDrawn="1"/>
        </p:nvSpPr>
        <p:spPr>
          <a:xfrm>
            <a:off x="0" y="241300"/>
            <a:ext cx="11861800" cy="6362700"/>
          </a:xfrm>
          <a:custGeom>
            <a:avLst/>
            <a:gdLst>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 name="connsiteX6" fmla="*/ 91440 w 11861800"/>
              <a:gd name="connsiteY6" fmla="*/ 91440 h 6362700"/>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61800" h="6362700">
                <a:moveTo>
                  <a:pt x="0" y="0"/>
                </a:moveTo>
                <a:lnTo>
                  <a:pt x="11042602" y="0"/>
                </a:lnTo>
                <a:cubicBezTo>
                  <a:pt x="11495033" y="0"/>
                  <a:pt x="11861800" y="366767"/>
                  <a:pt x="11861800" y="819198"/>
                </a:cubicBezTo>
                <a:lnTo>
                  <a:pt x="11861800" y="5543502"/>
                </a:lnTo>
                <a:cubicBezTo>
                  <a:pt x="11861800" y="5995933"/>
                  <a:pt x="11495033" y="6362700"/>
                  <a:pt x="11042602" y="6362700"/>
                </a:cubicBezTo>
                <a:lnTo>
                  <a:pt x="0" y="636270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3" name="Freeform: Shape 22">
            <a:extLst>
              <a:ext uri="{FF2B5EF4-FFF2-40B4-BE49-F238E27FC236}">
                <a16:creationId xmlns:a16="http://schemas.microsoft.com/office/drawing/2014/main" id="{008C8038-FA73-08C5-C7EC-459DEC5181D5}"/>
              </a:ext>
            </a:extLst>
          </p:cNvPr>
          <p:cNvSpPr/>
          <p:nvPr userDrawn="1"/>
        </p:nvSpPr>
        <p:spPr>
          <a:xfrm rot="2700000">
            <a:off x="9238214" y="-735198"/>
            <a:ext cx="2460591" cy="4778211"/>
          </a:xfrm>
          <a:custGeom>
            <a:avLst/>
            <a:gdLst>
              <a:gd name="connsiteX0" fmla="*/ 0 w 2460591"/>
              <a:gd name="connsiteY0" fmla="*/ 1280424 h 4778211"/>
              <a:gd name="connsiteX1" fmla="*/ 1280424 w 2460591"/>
              <a:gd name="connsiteY1" fmla="*/ 0 h 4778211"/>
              <a:gd name="connsiteX2" fmla="*/ 2460591 w 2460591"/>
              <a:gd name="connsiteY2" fmla="*/ 1180167 h 4778211"/>
              <a:gd name="connsiteX3" fmla="*/ 2460591 w 2460591"/>
              <a:gd name="connsiteY3" fmla="*/ 3547915 h 4778211"/>
              <a:gd name="connsiteX4" fmla="*/ 1230295 w 2460591"/>
              <a:gd name="connsiteY4" fmla="*/ 4778211 h 4778211"/>
              <a:gd name="connsiteX5" fmla="*/ 1230296 w 2460591"/>
              <a:gd name="connsiteY5" fmla="*/ 4778210 h 4778211"/>
              <a:gd name="connsiteX6" fmla="*/ 0 w 2460591"/>
              <a:gd name="connsiteY6" fmla="*/ 3547914 h 477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0591" h="4778211">
                <a:moveTo>
                  <a:pt x="0" y="1280424"/>
                </a:moveTo>
                <a:lnTo>
                  <a:pt x="1280424" y="0"/>
                </a:lnTo>
                <a:lnTo>
                  <a:pt x="2460591" y="1180167"/>
                </a:lnTo>
                <a:lnTo>
                  <a:pt x="2460591" y="3547915"/>
                </a:lnTo>
                <a:cubicBezTo>
                  <a:pt x="2460591" y="4227389"/>
                  <a:pt x="1909769" y="4778211"/>
                  <a:pt x="1230295" y="4778211"/>
                </a:cubicBezTo>
                <a:lnTo>
                  <a:pt x="1230296" y="4778210"/>
                </a:lnTo>
                <a:cubicBezTo>
                  <a:pt x="550822" y="4778210"/>
                  <a:pt x="0" y="4227388"/>
                  <a:pt x="0" y="354791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7" name="Rectangle: Rounded Corners 6">
            <a:extLst>
              <a:ext uri="{FF2B5EF4-FFF2-40B4-BE49-F238E27FC236}">
                <a16:creationId xmlns:a16="http://schemas.microsoft.com/office/drawing/2014/main" id="{0A6F5794-85A7-17A2-FFC2-4D48EE025E27}"/>
              </a:ext>
            </a:extLst>
          </p:cNvPr>
          <p:cNvSpPr/>
          <p:nvPr userDrawn="1"/>
        </p:nvSpPr>
        <p:spPr>
          <a:xfrm rot="2700000">
            <a:off x="9018425" y="1722637"/>
            <a:ext cx="1400920" cy="3088994"/>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1" name="Freeform: Shape 20">
            <a:extLst>
              <a:ext uri="{FF2B5EF4-FFF2-40B4-BE49-F238E27FC236}">
                <a16:creationId xmlns:a16="http://schemas.microsoft.com/office/drawing/2014/main" id="{00DF1DF1-E612-7259-00E2-0E94AA9CD634}"/>
              </a:ext>
            </a:extLst>
          </p:cNvPr>
          <p:cNvSpPr/>
          <p:nvPr userDrawn="1"/>
        </p:nvSpPr>
        <p:spPr>
          <a:xfrm rot="2700000">
            <a:off x="11090780" y="1102947"/>
            <a:ext cx="573932" cy="2880691"/>
          </a:xfrm>
          <a:custGeom>
            <a:avLst/>
            <a:gdLst>
              <a:gd name="connsiteX0" fmla="*/ 0 w 573932"/>
              <a:gd name="connsiteY0" fmla="*/ 0 h 2880691"/>
              <a:gd name="connsiteX1" fmla="*/ 573932 w 573932"/>
              <a:gd name="connsiteY1" fmla="*/ 573932 h 2880691"/>
              <a:gd name="connsiteX2" fmla="*/ 573932 w 573932"/>
              <a:gd name="connsiteY2" fmla="*/ 2593725 h 2880691"/>
              <a:gd name="connsiteX3" fmla="*/ 286966 w 573932"/>
              <a:gd name="connsiteY3" fmla="*/ 2880691 h 2880691"/>
              <a:gd name="connsiteX4" fmla="*/ 0 w 573932"/>
              <a:gd name="connsiteY4" fmla="*/ 2593725 h 2880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932" h="2880691">
                <a:moveTo>
                  <a:pt x="0" y="0"/>
                </a:moveTo>
                <a:lnTo>
                  <a:pt x="573932" y="573932"/>
                </a:lnTo>
                <a:lnTo>
                  <a:pt x="573932" y="2593725"/>
                </a:lnTo>
                <a:cubicBezTo>
                  <a:pt x="573932" y="2752212"/>
                  <a:pt x="445453" y="2880691"/>
                  <a:pt x="286966" y="2880691"/>
                </a:cubicBezTo>
                <a:cubicBezTo>
                  <a:pt x="128479" y="2880691"/>
                  <a:pt x="0" y="2752212"/>
                  <a:pt x="0" y="2593725"/>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9" name="Graphic 8">
            <a:extLst>
              <a:ext uri="{FF2B5EF4-FFF2-40B4-BE49-F238E27FC236}">
                <a16:creationId xmlns:a16="http://schemas.microsoft.com/office/drawing/2014/main" id="{A32A4BBE-9AC6-9A23-A558-3095FF713B79}"/>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26120" y="5218685"/>
            <a:ext cx="2212298" cy="399963"/>
          </a:xfrm>
          <a:prstGeom prst="rect">
            <a:avLst/>
          </a:prstGeom>
        </p:spPr>
      </p:pic>
      <p:sp>
        <p:nvSpPr>
          <p:cNvPr id="10" name="Title 1">
            <a:extLst>
              <a:ext uri="{FF2B5EF4-FFF2-40B4-BE49-F238E27FC236}">
                <a16:creationId xmlns:a16="http://schemas.microsoft.com/office/drawing/2014/main" id="{FD57E1A5-6398-744B-9D89-B5FC950E8582}"/>
              </a:ext>
            </a:extLst>
          </p:cNvPr>
          <p:cNvSpPr>
            <a:spLocks noGrp="1"/>
          </p:cNvSpPr>
          <p:nvPr>
            <p:ph type="title" hasCustomPrompt="1"/>
          </p:nvPr>
        </p:nvSpPr>
        <p:spPr bwMode="white">
          <a:xfrm>
            <a:off x="560269" y="1265342"/>
            <a:ext cx="5650031" cy="2087458"/>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
        <p:nvSpPr>
          <p:cNvPr id="11" name="Subtitle 2">
            <a:extLst>
              <a:ext uri="{FF2B5EF4-FFF2-40B4-BE49-F238E27FC236}">
                <a16:creationId xmlns:a16="http://schemas.microsoft.com/office/drawing/2014/main" id="{3D3BA533-3ADD-8D51-053C-1D0D9AD3232B}"/>
              </a:ext>
            </a:extLst>
          </p:cNvPr>
          <p:cNvSpPr>
            <a:spLocks noGrp="1"/>
          </p:cNvSpPr>
          <p:nvPr>
            <p:ph type="subTitle" idx="1" hasCustomPrompt="1"/>
          </p:nvPr>
        </p:nvSpPr>
        <p:spPr>
          <a:xfrm>
            <a:off x="560269" y="767271"/>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2" name="Picture Placeholder 41">
            <a:extLst>
              <a:ext uri="{FF2B5EF4-FFF2-40B4-BE49-F238E27FC236}">
                <a16:creationId xmlns:a16="http://schemas.microsoft.com/office/drawing/2014/main" id="{646C28D9-E3F6-9E2B-04BE-29A79EA6668D}"/>
              </a:ext>
            </a:extLst>
          </p:cNvPr>
          <p:cNvSpPr>
            <a:spLocks noGrp="1"/>
          </p:cNvSpPr>
          <p:nvPr>
            <p:ph type="pic" sz="quarter" idx="14" hasCustomPrompt="1"/>
          </p:nvPr>
        </p:nvSpPr>
        <p:spPr>
          <a:xfrm>
            <a:off x="8667751" y="3414409"/>
            <a:ext cx="3194049" cy="3189591"/>
          </a:xfrm>
          <a:prstGeom prst="roundRect">
            <a:avLst>
              <a:gd name="adj" fmla="val 24829"/>
            </a:avLst>
          </a:pr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71708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43959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Top Corners Rounded 5">
            <a:extLst>
              <a:ext uri="{FF2B5EF4-FFF2-40B4-BE49-F238E27FC236}">
                <a16:creationId xmlns:a16="http://schemas.microsoft.com/office/drawing/2014/main" id="{06A038E8-64AE-8880-6663-5B5585D30CCB}"/>
              </a:ext>
            </a:extLst>
          </p:cNvPr>
          <p:cNvSpPr/>
          <p:nvPr userDrawn="1"/>
        </p:nvSpPr>
        <p:spPr>
          <a:xfrm rot="5400000">
            <a:off x="2133600" y="-1543050"/>
            <a:ext cx="5676900" cy="9944100"/>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Freeform: Shape 9">
            <a:extLst>
              <a:ext uri="{FF2B5EF4-FFF2-40B4-BE49-F238E27FC236}">
                <a16:creationId xmlns:a16="http://schemas.microsoft.com/office/drawing/2014/main" id="{330374AA-A7E2-AECE-1458-73409259AA40}"/>
              </a:ext>
            </a:extLst>
          </p:cNvPr>
          <p:cNvSpPr/>
          <p:nvPr userDrawn="1"/>
        </p:nvSpPr>
        <p:spPr>
          <a:xfrm>
            <a:off x="2" y="589788"/>
            <a:ext cx="2853043" cy="5678424"/>
          </a:xfrm>
          <a:custGeom>
            <a:avLst/>
            <a:gdLst>
              <a:gd name="connsiteX0" fmla="*/ 0 w 2853043"/>
              <a:gd name="connsiteY0" fmla="*/ 0 h 5678424"/>
              <a:gd name="connsiteX1" fmla="*/ 13830 w 2853043"/>
              <a:gd name="connsiteY1" fmla="*/ 0 h 5678424"/>
              <a:gd name="connsiteX2" fmla="*/ 2853043 w 2853043"/>
              <a:gd name="connsiteY2" fmla="*/ 2839212 h 5678424"/>
              <a:gd name="connsiteX3" fmla="*/ 2853042 w 2853043"/>
              <a:gd name="connsiteY3" fmla="*/ 2839212 h 5678424"/>
              <a:gd name="connsiteX4" fmla="*/ 13829 w 2853043"/>
              <a:gd name="connsiteY4" fmla="*/ 5678424 h 5678424"/>
              <a:gd name="connsiteX5" fmla="*/ 0 w 2853043"/>
              <a:gd name="connsiteY5" fmla="*/ 5678424 h 567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3043" h="5678424">
                <a:moveTo>
                  <a:pt x="0" y="0"/>
                </a:moveTo>
                <a:lnTo>
                  <a:pt x="13830" y="0"/>
                </a:lnTo>
                <a:cubicBezTo>
                  <a:pt x="1581884" y="0"/>
                  <a:pt x="2853043" y="1271159"/>
                  <a:pt x="2853043" y="2839212"/>
                </a:cubicBezTo>
                <a:lnTo>
                  <a:pt x="2853042" y="2839212"/>
                </a:lnTo>
                <a:cubicBezTo>
                  <a:pt x="2853042" y="4407266"/>
                  <a:pt x="1581883" y="5678424"/>
                  <a:pt x="13829" y="5678424"/>
                </a:cubicBezTo>
                <a:lnTo>
                  <a:pt x="0" y="5678424"/>
                </a:lnTo>
                <a:close/>
              </a:path>
            </a:pathLst>
          </a:custGeom>
          <a:gradFill flip="none" rotWithShape="1">
            <a:gsLst>
              <a:gs pos="0">
                <a:srgbClr val="3E747E"/>
              </a:gs>
              <a:gs pos="98000">
                <a:srgbClr val="6CE5C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5" name="Graphic 4">
            <a:extLst>
              <a:ext uri="{FF2B5EF4-FFF2-40B4-BE49-F238E27FC236}">
                <a16:creationId xmlns:a16="http://schemas.microsoft.com/office/drawing/2014/main" id="{581C33A8-1F18-8162-5652-8392E5AF9164}"/>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9360095" y="5843933"/>
            <a:ext cx="2212298" cy="399963"/>
          </a:xfrm>
          <a:prstGeom prst="rect">
            <a:avLst/>
          </a:prstGeom>
        </p:spPr>
      </p:pic>
      <p:sp>
        <p:nvSpPr>
          <p:cNvPr id="14" name="Title 1">
            <a:extLst>
              <a:ext uri="{FF2B5EF4-FFF2-40B4-BE49-F238E27FC236}">
                <a16:creationId xmlns:a16="http://schemas.microsoft.com/office/drawing/2014/main" id="{4411A8A4-6024-50CD-FEB3-D5754242D804}"/>
              </a:ext>
            </a:extLst>
          </p:cNvPr>
          <p:cNvSpPr>
            <a:spLocks noGrp="1"/>
          </p:cNvSpPr>
          <p:nvPr>
            <p:ph type="title" hasCustomPrompt="1"/>
          </p:nvPr>
        </p:nvSpPr>
        <p:spPr bwMode="white">
          <a:xfrm>
            <a:off x="3354269" y="2400302"/>
            <a:ext cx="5446831" cy="2057398"/>
          </a:xfrm>
          <a:prstGeom prst="rect">
            <a:avLst/>
          </a:prstGeom>
        </p:spPr>
        <p:txBody>
          <a:bodyPr vert="horz" anchor="t" anchorCtr="0"/>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Tree>
    <p:extLst>
      <p:ext uri="{BB962C8B-B14F-4D97-AF65-F5344CB8AC3E}">
        <p14:creationId xmlns:p14="http://schemas.microsoft.com/office/powerpoint/2010/main" val="349291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2026-08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48081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6D66F840-DC3F-98E2-1515-EBA85FF8AB6E}"/>
              </a:ext>
            </a:extLst>
          </p:cNvPr>
          <p:cNvSpPr/>
          <p:nvPr userDrawn="1"/>
        </p:nvSpPr>
        <p:spPr>
          <a:xfrm>
            <a:off x="0"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grpSp>
        <p:nvGrpSpPr>
          <p:cNvPr id="33" name="Group 32">
            <a:extLst>
              <a:ext uri="{FF2B5EF4-FFF2-40B4-BE49-F238E27FC236}">
                <a16:creationId xmlns:a16="http://schemas.microsoft.com/office/drawing/2014/main" id="{E3F9D131-ED47-159F-D2D8-EE9600953C46}"/>
              </a:ext>
            </a:extLst>
          </p:cNvPr>
          <p:cNvGrpSpPr/>
          <p:nvPr userDrawn="1"/>
        </p:nvGrpSpPr>
        <p:grpSpPr>
          <a:xfrm>
            <a:off x="6291548" y="469901"/>
            <a:ext cx="5651999" cy="5905499"/>
            <a:chOff x="-3636639" y="711200"/>
            <a:chExt cx="6563187" cy="6857555"/>
          </a:xfrm>
        </p:grpSpPr>
        <p:sp>
          <p:nvSpPr>
            <p:cNvPr id="8" name="Freeform: Shape 7">
              <a:extLst>
                <a:ext uri="{FF2B5EF4-FFF2-40B4-BE49-F238E27FC236}">
                  <a16:creationId xmlns:a16="http://schemas.microsoft.com/office/drawing/2014/main" id="{1B0CD13D-716D-C239-E3F7-94F356E4BDD1}"/>
                </a:ext>
              </a:extLst>
            </p:cNvPr>
            <p:cNvSpPr/>
            <p:nvPr/>
          </p:nvSpPr>
          <p:spPr>
            <a:xfrm>
              <a:off x="-2915180" y="711200"/>
              <a:ext cx="920466" cy="920466"/>
            </a:xfrm>
            <a:custGeom>
              <a:avLst/>
              <a:gdLst>
                <a:gd name="connsiteX0" fmla="*/ 920467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6"/>
                    <a:pt x="460233" y="920466"/>
                  </a:cubicBezTo>
                  <a:cubicBezTo>
                    <a:pt x="206053" y="920466"/>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9" name="Freeform: Shape 8">
              <a:extLst>
                <a:ext uri="{FF2B5EF4-FFF2-40B4-BE49-F238E27FC236}">
                  <a16:creationId xmlns:a16="http://schemas.microsoft.com/office/drawing/2014/main" id="{D8E56412-5E8B-A1F9-6893-9684E967775D}"/>
                </a:ext>
              </a:extLst>
            </p:cNvPr>
            <p:cNvSpPr/>
            <p:nvPr/>
          </p:nvSpPr>
          <p:spPr>
            <a:xfrm>
              <a:off x="-1246696" y="711200"/>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2 h 920392"/>
                <a:gd name="connsiteX4" fmla="*/ 460233 w 1666338"/>
                <a:gd name="connsiteY4" fmla="*/ 920392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5" y="920392"/>
                    <a:pt x="1206105" y="920392"/>
                  </a:cubicBezTo>
                  <a:lnTo>
                    <a:pt x="460233" y="920392"/>
                  </a:lnTo>
                  <a:cubicBezTo>
                    <a:pt x="206053" y="920392"/>
                    <a:pt x="0" y="714339"/>
                    <a:pt x="0" y="460159"/>
                  </a:cubicBezTo>
                  <a:lnTo>
                    <a:pt x="0" y="460233"/>
                  </a:lnTo>
                  <a:cubicBezTo>
                    <a:pt x="0" y="206053"/>
                    <a:pt x="206053" y="0"/>
                    <a:pt x="460233" y="0"/>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0" name="Freeform: Shape 9">
              <a:extLst>
                <a:ext uri="{FF2B5EF4-FFF2-40B4-BE49-F238E27FC236}">
                  <a16:creationId xmlns:a16="http://schemas.microsoft.com/office/drawing/2014/main" id="{04C4114B-28B5-5F88-4DC0-2E450A0C1E15}"/>
                </a:ext>
              </a:extLst>
            </p:cNvPr>
            <p:cNvSpPr/>
            <p:nvPr/>
          </p:nvSpPr>
          <p:spPr>
            <a:xfrm>
              <a:off x="-1246770" y="711200"/>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1" name="Freeform: Shape 10">
              <a:extLst>
                <a:ext uri="{FF2B5EF4-FFF2-40B4-BE49-F238E27FC236}">
                  <a16:creationId xmlns:a16="http://schemas.microsoft.com/office/drawing/2014/main" id="{32AEE555-A49B-9B6E-955F-DA38BEC6E48D}"/>
                </a:ext>
              </a:extLst>
            </p:cNvPr>
            <p:cNvSpPr/>
            <p:nvPr/>
          </p:nvSpPr>
          <p:spPr>
            <a:xfrm>
              <a:off x="1228546" y="711200"/>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2" name="Freeform: Shape 11">
              <a:extLst>
                <a:ext uri="{FF2B5EF4-FFF2-40B4-BE49-F238E27FC236}">
                  <a16:creationId xmlns:a16="http://schemas.microsoft.com/office/drawing/2014/main" id="{B97164CF-FD44-445F-654A-F40CBDDCA5F8}"/>
                </a:ext>
              </a:extLst>
            </p:cNvPr>
            <p:cNvSpPr/>
            <p:nvPr/>
          </p:nvSpPr>
          <p:spPr>
            <a:xfrm>
              <a:off x="-413526" y="1632332"/>
              <a:ext cx="1666338" cy="920392"/>
            </a:xfrm>
            <a:custGeom>
              <a:avLst/>
              <a:gdLst>
                <a:gd name="connsiteX0" fmla="*/ 1206106 w 1666338"/>
                <a:gd name="connsiteY0" fmla="*/ 0 h 920392"/>
                <a:gd name="connsiteX1" fmla="*/ 1666339 w 1666338"/>
                <a:gd name="connsiteY1" fmla="*/ 460233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3"/>
                  </a:cubicBezTo>
                  <a:lnTo>
                    <a:pt x="1666339" y="460159"/>
                  </a:lnTo>
                  <a:cubicBezTo>
                    <a:pt x="1666339" y="714339"/>
                    <a:pt x="1460286" y="920393"/>
                    <a:pt x="1206106" y="920393"/>
                  </a:cubicBezTo>
                  <a:lnTo>
                    <a:pt x="460233" y="920393"/>
                  </a:lnTo>
                  <a:cubicBezTo>
                    <a:pt x="206053" y="920393"/>
                    <a:pt x="0" y="714339"/>
                    <a:pt x="0" y="460159"/>
                  </a:cubicBezTo>
                  <a:lnTo>
                    <a:pt x="0" y="460233"/>
                  </a:lnTo>
                  <a:cubicBezTo>
                    <a:pt x="0" y="206053"/>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3" name="Freeform: Shape 12">
              <a:extLst>
                <a:ext uri="{FF2B5EF4-FFF2-40B4-BE49-F238E27FC236}">
                  <a16:creationId xmlns:a16="http://schemas.microsoft.com/office/drawing/2014/main" id="{78501A8E-B988-B0A4-38C2-E875AACF00F3}"/>
                </a:ext>
              </a:extLst>
            </p:cNvPr>
            <p:cNvSpPr/>
            <p:nvPr/>
          </p:nvSpPr>
          <p:spPr>
            <a:xfrm>
              <a:off x="308153" y="1632258"/>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4" name="Freeform: Shape 13">
              <a:extLst>
                <a:ext uri="{FF2B5EF4-FFF2-40B4-BE49-F238E27FC236}">
                  <a16:creationId xmlns:a16="http://schemas.microsoft.com/office/drawing/2014/main" id="{EE634FCA-D671-8E4E-FB65-176D5753BD81}"/>
                </a:ext>
              </a:extLst>
            </p:cNvPr>
            <p:cNvSpPr/>
            <p:nvPr/>
          </p:nvSpPr>
          <p:spPr>
            <a:xfrm>
              <a:off x="611252" y="2552724"/>
              <a:ext cx="2315296" cy="920392"/>
            </a:xfrm>
            <a:custGeom>
              <a:avLst/>
              <a:gdLst>
                <a:gd name="connsiteX0" fmla="*/ 1855063 w 2315296"/>
                <a:gd name="connsiteY0" fmla="*/ 0 h 920392"/>
                <a:gd name="connsiteX1" fmla="*/ 2315297 w 2315296"/>
                <a:gd name="connsiteY1" fmla="*/ 460233 h 920392"/>
                <a:gd name="connsiteX2" fmla="*/ 2315297 w 2315296"/>
                <a:gd name="connsiteY2" fmla="*/ 460159 h 920392"/>
                <a:gd name="connsiteX3" fmla="*/ 1855063 w 2315296"/>
                <a:gd name="connsiteY3" fmla="*/ 920392 h 920392"/>
                <a:gd name="connsiteX4" fmla="*/ 460233 w 2315296"/>
                <a:gd name="connsiteY4" fmla="*/ 920392 h 920392"/>
                <a:gd name="connsiteX5" fmla="*/ 0 w 2315296"/>
                <a:gd name="connsiteY5" fmla="*/ 460159 h 920392"/>
                <a:gd name="connsiteX6" fmla="*/ 0 w 2315296"/>
                <a:gd name="connsiteY6" fmla="*/ 460233 h 920392"/>
                <a:gd name="connsiteX7" fmla="*/ 460233 w 2315296"/>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5296" h="920392">
                  <a:moveTo>
                    <a:pt x="1855063" y="0"/>
                  </a:moveTo>
                  <a:cubicBezTo>
                    <a:pt x="2109243" y="0"/>
                    <a:pt x="2315297" y="206053"/>
                    <a:pt x="2315297" y="460233"/>
                  </a:cubicBezTo>
                  <a:lnTo>
                    <a:pt x="2315297" y="460159"/>
                  </a:lnTo>
                  <a:cubicBezTo>
                    <a:pt x="2315297" y="714339"/>
                    <a:pt x="2109243" y="920392"/>
                    <a:pt x="1855063" y="920392"/>
                  </a:cubicBezTo>
                  <a:lnTo>
                    <a:pt x="460233" y="920392"/>
                  </a:lnTo>
                  <a:cubicBezTo>
                    <a:pt x="206054" y="920392"/>
                    <a:pt x="0" y="714339"/>
                    <a:pt x="0" y="460159"/>
                  </a:cubicBezTo>
                  <a:lnTo>
                    <a:pt x="0" y="460233"/>
                  </a:lnTo>
                  <a:cubicBezTo>
                    <a:pt x="0" y="206053"/>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5" name="Freeform: Shape 14">
              <a:extLst>
                <a:ext uri="{FF2B5EF4-FFF2-40B4-BE49-F238E27FC236}">
                  <a16:creationId xmlns:a16="http://schemas.microsoft.com/office/drawing/2014/main" id="{D924FC20-7D0D-869C-E9B7-7B299C8191A2}"/>
                </a:ext>
              </a:extLst>
            </p:cNvPr>
            <p:cNvSpPr/>
            <p:nvPr/>
          </p:nvSpPr>
          <p:spPr>
            <a:xfrm>
              <a:off x="1228546" y="3473117"/>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6" name="Freeform: Shape 15">
              <a:extLst>
                <a:ext uri="{FF2B5EF4-FFF2-40B4-BE49-F238E27FC236}">
                  <a16:creationId xmlns:a16="http://schemas.microsoft.com/office/drawing/2014/main" id="{9D97B7C2-D247-4CB8-F5BE-35AB2F63072A}"/>
                </a:ext>
              </a:extLst>
            </p:cNvPr>
            <p:cNvSpPr/>
            <p:nvPr/>
          </p:nvSpPr>
          <p:spPr>
            <a:xfrm>
              <a:off x="1228620" y="4398096"/>
              <a:ext cx="1697928" cy="920392"/>
            </a:xfrm>
            <a:custGeom>
              <a:avLst/>
              <a:gdLst>
                <a:gd name="connsiteX0" fmla="*/ 1250642 w 1697928"/>
                <a:gd name="connsiteY0" fmla="*/ 0 h 920392"/>
                <a:gd name="connsiteX1" fmla="*/ 1697929 w 1697928"/>
                <a:gd name="connsiteY1" fmla="*/ 447287 h 920392"/>
                <a:gd name="connsiteX2" fmla="*/ 1697929 w 1697928"/>
                <a:gd name="connsiteY2" fmla="*/ 473106 h 920392"/>
                <a:gd name="connsiteX3" fmla="*/ 1250642 w 1697928"/>
                <a:gd name="connsiteY3" fmla="*/ 920393 h 920392"/>
                <a:gd name="connsiteX4" fmla="*/ 447286 w 1697928"/>
                <a:gd name="connsiteY4" fmla="*/ 920393 h 920392"/>
                <a:gd name="connsiteX5" fmla="*/ 0 w 1697928"/>
                <a:gd name="connsiteY5" fmla="*/ 473106 h 920392"/>
                <a:gd name="connsiteX6" fmla="*/ 0 w 1697928"/>
                <a:gd name="connsiteY6" fmla="*/ 447287 h 920392"/>
                <a:gd name="connsiteX7" fmla="*/ 447286 w 169792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928" h="920392">
                  <a:moveTo>
                    <a:pt x="1250642" y="0"/>
                  </a:moveTo>
                  <a:cubicBezTo>
                    <a:pt x="1497671" y="0"/>
                    <a:pt x="1697929" y="200257"/>
                    <a:pt x="1697929" y="447287"/>
                  </a:cubicBezTo>
                  <a:lnTo>
                    <a:pt x="1697929" y="473106"/>
                  </a:lnTo>
                  <a:cubicBezTo>
                    <a:pt x="1697929" y="720135"/>
                    <a:pt x="1497672" y="920393"/>
                    <a:pt x="1250642" y="920393"/>
                  </a:cubicBezTo>
                  <a:lnTo>
                    <a:pt x="447286" y="920393"/>
                  </a:lnTo>
                  <a:cubicBezTo>
                    <a:pt x="200257" y="920393"/>
                    <a:pt x="0" y="720136"/>
                    <a:pt x="0" y="473106"/>
                  </a:cubicBezTo>
                  <a:lnTo>
                    <a:pt x="0" y="447287"/>
                  </a:lnTo>
                  <a:cubicBezTo>
                    <a:pt x="0" y="200257"/>
                    <a:pt x="200257" y="0"/>
                    <a:pt x="447286" y="0"/>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7" name="Freeform: Shape 16">
              <a:extLst>
                <a:ext uri="{FF2B5EF4-FFF2-40B4-BE49-F238E27FC236}">
                  <a16:creationId xmlns:a16="http://schemas.microsoft.com/office/drawing/2014/main" id="{6A346994-B426-203A-07D5-80547C708E56}"/>
                </a:ext>
              </a:extLst>
            </p:cNvPr>
            <p:cNvSpPr/>
            <p:nvPr/>
          </p:nvSpPr>
          <p:spPr>
            <a:xfrm>
              <a:off x="698919" y="5323001"/>
              <a:ext cx="1687275" cy="920392"/>
            </a:xfrm>
            <a:custGeom>
              <a:avLst/>
              <a:gdLst>
                <a:gd name="connsiteX0" fmla="*/ 1227042 w 1687275"/>
                <a:gd name="connsiteY0" fmla="*/ 0 h 920392"/>
                <a:gd name="connsiteX1" fmla="*/ 1687276 w 1687275"/>
                <a:gd name="connsiteY1" fmla="*/ 460233 h 920392"/>
                <a:gd name="connsiteX2" fmla="*/ 1687276 w 1687275"/>
                <a:gd name="connsiteY2" fmla="*/ 460159 h 920392"/>
                <a:gd name="connsiteX3" fmla="*/ 1227042 w 1687275"/>
                <a:gd name="connsiteY3" fmla="*/ 920393 h 920392"/>
                <a:gd name="connsiteX4" fmla="*/ 460233 w 1687275"/>
                <a:gd name="connsiteY4" fmla="*/ 920393 h 920392"/>
                <a:gd name="connsiteX5" fmla="*/ 0 w 1687275"/>
                <a:gd name="connsiteY5" fmla="*/ 460159 h 920392"/>
                <a:gd name="connsiteX6" fmla="*/ 0 w 1687275"/>
                <a:gd name="connsiteY6" fmla="*/ 460233 h 920392"/>
                <a:gd name="connsiteX7" fmla="*/ 460233 w 1687275"/>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7275" h="920392">
                  <a:moveTo>
                    <a:pt x="1227042" y="0"/>
                  </a:moveTo>
                  <a:cubicBezTo>
                    <a:pt x="1481222" y="0"/>
                    <a:pt x="1687276" y="206053"/>
                    <a:pt x="1687276" y="460233"/>
                  </a:cubicBezTo>
                  <a:lnTo>
                    <a:pt x="1687276" y="460159"/>
                  </a:lnTo>
                  <a:cubicBezTo>
                    <a:pt x="1687276" y="714339"/>
                    <a:pt x="1481222" y="920393"/>
                    <a:pt x="1227042" y="920393"/>
                  </a:cubicBezTo>
                  <a:lnTo>
                    <a:pt x="460233" y="920393"/>
                  </a:lnTo>
                  <a:cubicBezTo>
                    <a:pt x="206054" y="920393"/>
                    <a:pt x="0" y="714339"/>
                    <a:pt x="0" y="460159"/>
                  </a:cubicBezTo>
                  <a:lnTo>
                    <a:pt x="0" y="460233"/>
                  </a:lnTo>
                  <a:cubicBezTo>
                    <a:pt x="0" y="206054"/>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8" name="Freeform: Shape 17">
              <a:extLst>
                <a:ext uri="{FF2B5EF4-FFF2-40B4-BE49-F238E27FC236}">
                  <a16:creationId xmlns:a16="http://schemas.microsoft.com/office/drawing/2014/main" id="{515C3DCF-B310-DBED-FE6D-0455460C74D5}"/>
                </a:ext>
              </a:extLst>
            </p:cNvPr>
            <p:cNvSpPr/>
            <p:nvPr/>
          </p:nvSpPr>
          <p:spPr>
            <a:xfrm>
              <a:off x="1228546" y="6477320"/>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9" name="Freeform: Shape 18">
              <a:extLst>
                <a:ext uri="{FF2B5EF4-FFF2-40B4-BE49-F238E27FC236}">
                  <a16:creationId xmlns:a16="http://schemas.microsoft.com/office/drawing/2014/main" id="{BEFF6048-5617-D6BF-9EBC-40116B532B38}"/>
                </a:ext>
              </a:extLst>
            </p:cNvPr>
            <p:cNvSpPr/>
            <p:nvPr/>
          </p:nvSpPr>
          <p:spPr>
            <a:xfrm>
              <a:off x="308153" y="6477320"/>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4"/>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0" name="Freeform: Shape 19">
              <a:extLst>
                <a:ext uri="{FF2B5EF4-FFF2-40B4-BE49-F238E27FC236}">
                  <a16:creationId xmlns:a16="http://schemas.microsoft.com/office/drawing/2014/main" id="{60AC4BC1-7BB5-461D-4186-57D7CB424A62}"/>
                </a:ext>
              </a:extLst>
            </p:cNvPr>
            <p:cNvSpPr/>
            <p:nvPr/>
          </p:nvSpPr>
          <p:spPr>
            <a:xfrm rot="5400000">
              <a:off x="-783170" y="3639906"/>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2 h 920392"/>
                <a:gd name="connsiteX4" fmla="*/ 460233 w 1666338"/>
                <a:gd name="connsiteY4" fmla="*/ 920392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6" y="920392"/>
                    <a:pt x="1206105" y="920392"/>
                  </a:cubicBezTo>
                  <a:lnTo>
                    <a:pt x="460233" y="920392"/>
                  </a:lnTo>
                  <a:cubicBezTo>
                    <a:pt x="206053" y="920392"/>
                    <a:pt x="0" y="714339"/>
                    <a:pt x="0" y="460159"/>
                  </a:cubicBezTo>
                  <a:lnTo>
                    <a:pt x="0" y="460233"/>
                  </a:lnTo>
                  <a:cubicBezTo>
                    <a:pt x="0" y="206053"/>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1" name="Freeform: Shape 20">
              <a:extLst>
                <a:ext uri="{FF2B5EF4-FFF2-40B4-BE49-F238E27FC236}">
                  <a16:creationId xmlns:a16="http://schemas.microsoft.com/office/drawing/2014/main" id="{326CC3A3-6381-6772-A88F-6A1C877E2CD2}"/>
                </a:ext>
              </a:extLst>
            </p:cNvPr>
            <p:cNvSpPr/>
            <p:nvPr/>
          </p:nvSpPr>
          <p:spPr>
            <a:xfrm>
              <a:off x="-413526" y="4012879"/>
              <a:ext cx="920466" cy="920466"/>
            </a:xfrm>
            <a:custGeom>
              <a:avLst/>
              <a:gdLst>
                <a:gd name="connsiteX0" fmla="*/ 920467 w 920466"/>
                <a:gd name="connsiteY0" fmla="*/ 460233 h 920466"/>
                <a:gd name="connsiteX1" fmla="*/ 460234 w 920466"/>
                <a:gd name="connsiteY1" fmla="*/ 920467 h 920466"/>
                <a:gd name="connsiteX2" fmla="*/ 0 w 920466"/>
                <a:gd name="connsiteY2" fmla="*/ 460233 h 920466"/>
                <a:gd name="connsiteX3" fmla="*/ 460234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4" y="920467"/>
                  </a:cubicBezTo>
                  <a:cubicBezTo>
                    <a:pt x="206054" y="920467"/>
                    <a:pt x="0" y="714413"/>
                    <a:pt x="0" y="460233"/>
                  </a:cubicBezTo>
                  <a:cubicBezTo>
                    <a:pt x="0" y="206054"/>
                    <a:pt x="206054" y="0"/>
                    <a:pt x="460234" y="0"/>
                  </a:cubicBezTo>
                  <a:cubicBezTo>
                    <a:pt x="714413" y="0"/>
                    <a:pt x="920467" y="206054"/>
                    <a:pt x="920467"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2" name="Freeform: Shape 21">
              <a:extLst>
                <a:ext uri="{FF2B5EF4-FFF2-40B4-BE49-F238E27FC236}">
                  <a16:creationId xmlns:a16="http://schemas.microsoft.com/office/drawing/2014/main" id="{487F3FD4-7F0C-7B88-D5D7-A9B1D4E7EDCD}"/>
                </a:ext>
              </a:extLst>
            </p:cNvPr>
            <p:cNvSpPr/>
            <p:nvPr/>
          </p:nvSpPr>
          <p:spPr>
            <a:xfrm>
              <a:off x="-410197"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3" name="Freeform: Shape 22">
              <a:extLst>
                <a:ext uri="{FF2B5EF4-FFF2-40B4-BE49-F238E27FC236}">
                  <a16:creationId xmlns:a16="http://schemas.microsoft.com/office/drawing/2014/main" id="{4719D077-291C-F22B-E91D-1D74A19CCC20}"/>
                </a:ext>
              </a:extLst>
            </p:cNvPr>
            <p:cNvSpPr/>
            <p:nvPr/>
          </p:nvSpPr>
          <p:spPr>
            <a:xfrm>
              <a:off x="-1330590" y="4957611"/>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4"/>
                    <a:pt x="206054" y="0"/>
                    <a:pt x="460233" y="0"/>
                  </a:cubicBezTo>
                  <a:cubicBezTo>
                    <a:pt x="714413" y="0"/>
                    <a:pt x="920467" y="206053"/>
                    <a:pt x="920467"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4" name="Freeform: Shape 23">
              <a:extLst>
                <a:ext uri="{FF2B5EF4-FFF2-40B4-BE49-F238E27FC236}">
                  <a16:creationId xmlns:a16="http://schemas.microsoft.com/office/drawing/2014/main" id="{F26E80CF-7709-6FA0-986E-0B101C62C03D}"/>
                </a:ext>
              </a:extLst>
            </p:cNvPr>
            <p:cNvSpPr/>
            <p:nvPr/>
          </p:nvSpPr>
          <p:spPr>
            <a:xfrm rot="5400000">
              <a:off x="-1701861" y="6275316"/>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5" y="920393"/>
                    <a:pt x="1206105" y="920393"/>
                  </a:cubicBezTo>
                  <a:lnTo>
                    <a:pt x="460233" y="920393"/>
                  </a:lnTo>
                  <a:cubicBezTo>
                    <a:pt x="206053" y="920393"/>
                    <a:pt x="0" y="714339"/>
                    <a:pt x="0" y="460159"/>
                  </a:cubicBezTo>
                  <a:lnTo>
                    <a:pt x="0" y="460233"/>
                  </a:lnTo>
                  <a:cubicBezTo>
                    <a:pt x="0" y="206054"/>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5" name="Freeform: Shape 24">
              <a:extLst>
                <a:ext uri="{FF2B5EF4-FFF2-40B4-BE49-F238E27FC236}">
                  <a16:creationId xmlns:a16="http://schemas.microsoft.com/office/drawing/2014/main" id="{B1CA37FA-E05D-BBA4-0924-E5B6CE13357E}"/>
                </a:ext>
              </a:extLst>
            </p:cNvPr>
            <p:cNvSpPr/>
            <p:nvPr/>
          </p:nvSpPr>
          <p:spPr>
            <a:xfrm>
              <a:off x="-1332291" y="6648289"/>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6" name="Freeform: Shape 25">
              <a:extLst>
                <a:ext uri="{FF2B5EF4-FFF2-40B4-BE49-F238E27FC236}">
                  <a16:creationId xmlns:a16="http://schemas.microsoft.com/office/drawing/2014/main" id="{88C4B006-C207-FFD1-7D5E-2BCAFC191975}"/>
                </a:ext>
              </a:extLst>
            </p:cNvPr>
            <p:cNvSpPr/>
            <p:nvPr/>
          </p:nvSpPr>
          <p:spPr>
            <a:xfrm rot="16200000">
              <a:off x="-2625657" y="6275316"/>
              <a:ext cx="1666338" cy="920392"/>
            </a:xfrm>
            <a:custGeom>
              <a:avLst/>
              <a:gdLst>
                <a:gd name="connsiteX0" fmla="*/ 1206106 w 1666338"/>
                <a:gd name="connsiteY0" fmla="*/ 0 h 920392"/>
                <a:gd name="connsiteX1" fmla="*/ 1666339 w 1666338"/>
                <a:gd name="connsiteY1" fmla="*/ 460233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3"/>
                  </a:cubicBezTo>
                  <a:lnTo>
                    <a:pt x="1666339" y="460159"/>
                  </a:lnTo>
                  <a:cubicBezTo>
                    <a:pt x="1666339" y="714339"/>
                    <a:pt x="1460285" y="920393"/>
                    <a:pt x="1206106" y="920393"/>
                  </a:cubicBezTo>
                  <a:lnTo>
                    <a:pt x="460233" y="920393"/>
                  </a:lnTo>
                  <a:cubicBezTo>
                    <a:pt x="206053" y="920393"/>
                    <a:pt x="0" y="714339"/>
                    <a:pt x="0" y="460159"/>
                  </a:cubicBezTo>
                  <a:lnTo>
                    <a:pt x="0" y="460233"/>
                  </a:lnTo>
                  <a:cubicBezTo>
                    <a:pt x="0" y="206054"/>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7" name="Freeform: Shape 26">
              <a:extLst>
                <a:ext uri="{FF2B5EF4-FFF2-40B4-BE49-F238E27FC236}">
                  <a16:creationId xmlns:a16="http://schemas.microsoft.com/office/drawing/2014/main" id="{44342DBC-543F-A8A9-8804-2A87D9DA9EFA}"/>
                </a:ext>
              </a:extLst>
            </p:cNvPr>
            <p:cNvSpPr/>
            <p:nvPr/>
          </p:nvSpPr>
          <p:spPr>
            <a:xfrm>
              <a:off x="-2249355" y="5902343"/>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3" y="920467"/>
                    <a:pt x="0" y="714413"/>
                    <a:pt x="0" y="460233"/>
                  </a:cubicBezTo>
                  <a:cubicBezTo>
                    <a:pt x="0" y="206054"/>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8" name="Freeform: Shape 27">
              <a:extLst>
                <a:ext uri="{FF2B5EF4-FFF2-40B4-BE49-F238E27FC236}">
                  <a16:creationId xmlns:a16="http://schemas.microsoft.com/office/drawing/2014/main" id="{2F9A21E2-93C4-EF96-F88C-C69F3E89C47D}"/>
                </a:ext>
              </a:extLst>
            </p:cNvPr>
            <p:cNvSpPr/>
            <p:nvPr/>
          </p:nvSpPr>
          <p:spPr>
            <a:xfrm>
              <a:off x="-2055673" y="3191029"/>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9" name="Freeform: Shape 28">
              <a:extLst>
                <a:ext uri="{FF2B5EF4-FFF2-40B4-BE49-F238E27FC236}">
                  <a16:creationId xmlns:a16="http://schemas.microsoft.com/office/drawing/2014/main" id="{A4C5232E-9DFD-3B3E-A3CF-ADE7F35CE79C}"/>
                </a:ext>
              </a:extLst>
            </p:cNvPr>
            <p:cNvSpPr/>
            <p:nvPr/>
          </p:nvSpPr>
          <p:spPr>
            <a:xfrm>
              <a:off x="-2972737" y="3191029"/>
              <a:ext cx="920466" cy="920466"/>
            </a:xfrm>
            <a:custGeom>
              <a:avLst/>
              <a:gdLst>
                <a:gd name="connsiteX0" fmla="*/ 920467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6"/>
                    <a:pt x="460233" y="920466"/>
                  </a:cubicBezTo>
                  <a:cubicBezTo>
                    <a:pt x="206053" y="920466"/>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30" name="Freeform: Shape 29">
              <a:extLst>
                <a:ext uri="{FF2B5EF4-FFF2-40B4-BE49-F238E27FC236}">
                  <a16:creationId xmlns:a16="http://schemas.microsoft.com/office/drawing/2014/main" id="{EE1A87EC-7FA0-AB16-D7AB-58663762D703}"/>
                </a:ext>
              </a:extLst>
            </p:cNvPr>
            <p:cNvSpPr/>
            <p:nvPr/>
          </p:nvSpPr>
          <p:spPr>
            <a:xfrm rot="5400000">
              <a:off x="-4006282" y="4584638"/>
              <a:ext cx="1666338" cy="920392"/>
            </a:xfrm>
            <a:custGeom>
              <a:avLst/>
              <a:gdLst>
                <a:gd name="connsiteX0" fmla="*/ 1206106 w 1666338"/>
                <a:gd name="connsiteY0" fmla="*/ 0 h 920392"/>
                <a:gd name="connsiteX1" fmla="*/ 1666339 w 1666338"/>
                <a:gd name="connsiteY1" fmla="*/ 460234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4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4"/>
                  </a:cubicBezTo>
                  <a:lnTo>
                    <a:pt x="1666339" y="460159"/>
                  </a:lnTo>
                  <a:cubicBezTo>
                    <a:pt x="1666339" y="714339"/>
                    <a:pt x="1460285" y="920393"/>
                    <a:pt x="1206106" y="920393"/>
                  </a:cubicBezTo>
                  <a:lnTo>
                    <a:pt x="460233" y="920393"/>
                  </a:lnTo>
                  <a:cubicBezTo>
                    <a:pt x="206053" y="920393"/>
                    <a:pt x="0" y="714339"/>
                    <a:pt x="0" y="460159"/>
                  </a:cubicBezTo>
                  <a:lnTo>
                    <a:pt x="0" y="460234"/>
                  </a:lnTo>
                  <a:cubicBezTo>
                    <a:pt x="0" y="206054"/>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31" name="Freeform: Shape 30">
              <a:extLst>
                <a:ext uri="{FF2B5EF4-FFF2-40B4-BE49-F238E27FC236}">
                  <a16:creationId xmlns:a16="http://schemas.microsoft.com/office/drawing/2014/main" id="{0C601C84-B052-D8A7-105C-A9C65E32CC8C}"/>
                </a:ext>
              </a:extLst>
            </p:cNvPr>
            <p:cNvSpPr/>
            <p:nvPr/>
          </p:nvSpPr>
          <p:spPr>
            <a:xfrm>
              <a:off x="-3636639"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32" name="Freeform: Shape 31">
              <a:extLst>
                <a:ext uri="{FF2B5EF4-FFF2-40B4-BE49-F238E27FC236}">
                  <a16:creationId xmlns:a16="http://schemas.microsoft.com/office/drawing/2014/main" id="{9C6E5C72-8486-1E66-04A7-D91B736D0636}"/>
                </a:ext>
              </a:extLst>
            </p:cNvPr>
            <p:cNvSpPr/>
            <p:nvPr/>
          </p:nvSpPr>
          <p:spPr>
            <a:xfrm>
              <a:off x="-2712917"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grpSp>
      <p:sp>
        <p:nvSpPr>
          <p:cNvPr id="34" name="Title 1">
            <a:extLst>
              <a:ext uri="{FF2B5EF4-FFF2-40B4-BE49-F238E27FC236}">
                <a16:creationId xmlns:a16="http://schemas.microsoft.com/office/drawing/2014/main" id="{88E0F4A3-D638-A7B8-4A93-B69D33864EF9}"/>
              </a:ext>
            </a:extLst>
          </p:cNvPr>
          <p:cNvSpPr>
            <a:spLocks noGrp="1"/>
          </p:cNvSpPr>
          <p:nvPr>
            <p:ph type="title" hasCustomPrompt="1"/>
          </p:nvPr>
        </p:nvSpPr>
        <p:spPr bwMode="white">
          <a:xfrm>
            <a:off x="560269" y="3381727"/>
            <a:ext cx="5419102" cy="2079273"/>
          </a:xfrm>
          <a:prstGeom prst="rect">
            <a:avLst/>
          </a:prstGeom>
        </p:spPr>
        <p:txBody>
          <a:bodyPr vert="horz" anchor="t" anchorCtr="0"/>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
        <p:nvSpPr>
          <p:cNvPr id="38" name="Subtitle 2">
            <a:extLst>
              <a:ext uri="{FF2B5EF4-FFF2-40B4-BE49-F238E27FC236}">
                <a16:creationId xmlns:a16="http://schemas.microsoft.com/office/drawing/2014/main" id="{07C91505-163B-33AB-6F26-775FAE512906}"/>
              </a:ext>
            </a:extLst>
          </p:cNvPr>
          <p:cNvSpPr>
            <a:spLocks noGrp="1"/>
          </p:cNvSpPr>
          <p:nvPr>
            <p:ph type="subTitle" idx="1" hasCustomPrompt="1"/>
          </p:nvPr>
        </p:nvSpPr>
        <p:spPr>
          <a:xfrm>
            <a:off x="560269" y="28289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41" name="Graphic 40">
            <a:extLst>
              <a:ext uri="{FF2B5EF4-FFF2-40B4-BE49-F238E27FC236}">
                <a16:creationId xmlns:a16="http://schemas.microsoft.com/office/drawing/2014/main" id="{05880F7E-2EF9-500F-8C65-8AE5422B47D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0042" y="611533"/>
            <a:ext cx="2212298" cy="399963"/>
          </a:xfrm>
          <a:prstGeom prst="rect">
            <a:avLst/>
          </a:prstGeom>
        </p:spPr>
      </p:pic>
    </p:spTree>
    <p:extLst>
      <p:ext uri="{BB962C8B-B14F-4D97-AF65-F5344CB8AC3E}">
        <p14:creationId xmlns:p14="http://schemas.microsoft.com/office/powerpoint/2010/main" val="327302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2026-01 - IQVI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0FB1EB-886A-6250-1720-BF969FB7A49D}"/>
              </a:ext>
            </a:extLst>
          </p:cNvPr>
          <p:cNvGraphicFramePr>
            <a:graphicFrameLocks noChangeAspect="1"/>
          </p:cNvGraphicFramePr>
          <p:nvPr userDrawn="1">
            <p:custDataLst>
              <p:tags r:id="rId1"/>
            </p:custDataLst>
            <p:extLst>
              <p:ext uri="{D42A27DB-BD31-4B8C-83A1-F6EECF244321}">
                <p14:modId xmlns:p14="http://schemas.microsoft.com/office/powerpoint/2010/main" val="3929380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A0FB1EB-886A-6250-1720-BF969FB7A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FA43C2D8-91E1-D523-C303-80C76AB672E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sp>
        <p:nvSpPr>
          <p:cNvPr id="26" name="Picture Placeholder 25">
            <a:extLst>
              <a:ext uri="{FF2B5EF4-FFF2-40B4-BE49-F238E27FC236}">
                <a16:creationId xmlns:a16="http://schemas.microsoft.com/office/drawing/2014/main" id="{C5206E26-8F1D-9E77-06A9-3E52BE359D6E}"/>
              </a:ext>
            </a:extLst>
          </p:cNvPr>
          <p:cNvSpPr>
            <a:spLocks noGrp="1"/>
          </p:cNvSpPr>
          <p:nvPr>
            <p:ph type="pic" sz="quarter" idx="14" hasCustomPrompt="1"/>
          </p:nvPr>
        </p:nvSpPr>
        <p:spPr>
          <a:xfrm>
            <a:off x="9231744" y="480060"/>
            <a:ext cx="2960256" cy="5891813"/>
          </a:xfrm>
          <a:custGeom>
            <a:avLst/>
            <a:gdLst>
              <a:gd name="connsiteX0" fmla="*/ 2945906 w 2960256"/>
              <a:gd name="connsiteY0" fmla="*/ 0 h 5891813"/>
              <a:gd name="connsiteX1" fmla="*/ 2960256 w 2960256"/>
              <a:gd name="connsiteY1" fmla="*/ 0 h 5891813"/>
              <a:gd name="connsiteX2" fmla="*/ 2960256 w 2960256"/>
              <a:gd name="connsiteY2" fmla="*/ 5891813 h 5891813"/>
              <a:gd name="connsiteX3" fmla="*/ 2945907 w 2960256"/>
              <a:gd name="connsiteY3" fmla="*/ 5891813 h 5891813"/>
              <a:gd name="connsiteX4" fmla="*/ 1 w 2960256"/>
              <a:gd name="connsiteY4" fmla="*/ 2945907 h 5891813"/>
              <a:gd name="connsiteX5" fmla="*/ 0 w 2960256"/>
              <a:gd name="connsiteY5" fmla="*/ 2945907 h 5891813"/>
              <a:gd name="connsiteX6" fmla="*/ 2945906 w 2960256"/>
              <a:gd name="connsiteY6" fmla="*/ 0 h 589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256" h="5891813">
                <a:moveTo>
                  <a:pt x="2945906" y="0"/>
                </a:moveTo>
                <a:lnTo>
                  <a:pt x="2960256" y="0"/>
                </a:lnTo>
                <a:lnTo>
                  <a:pt x="2960256" y="5891813"/>
                </a:lnTo>
                <a:lnTo>
                  <a:pt x="2945907" y="5891813"/>
                </a:lnTo>
                <a:cubicBezTo>
                  <a:pt x="1318928" y="5891813"/>
                  <a:pt x="1" y="4572886"/>
                  <a:pt x="1" y="2945907"/>
                </a:cubicBezTo>
                <a:lnTo>
                  <a:pt x="0" y="2945907"/>
                </a:lnTo>
                <a:cubicBezTo>
                  <a:pt x="0" y="1318927"/>
                  <a:pt x="1318927" y="0"/>
                  <a:pt x="2945906" y="0"/>
                </a:cubicBezTo>
                <a:close/>
              </a:path>
            </a:pathLst>
          </a:cu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729468" y="2705249"/>
            <a:ext cx="8109732" cy="1441434"/>
          </a:xfrm>
          <a:prstGeom prst="rect">
            <a:avLst/>
          </a:prstGeom>
          <a:noFill/>
        </p:spPr>
        <p:txBody>
          <a:bodyPr vert="horz" anchor="ctr" anchorCtr="0">
            <a:noAutofit/>
          </a:bodyPr>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Closing slides are 44pt Noto Sans Light sentence case</a:t>
            </a:r>
          </a:p>
        </p:txBody>
      </p:sp>
      <p:pic>
        <p:nvPicPr>
          <p:cNvPr id="4" name="Graphic 3">
            <a:extLst>
              <a:ext uri="{FF2B5EF4-FFF2-40B4-BE49-F238E27FC236}">
                <a16:creationId xmlns:a16="http://schemas.microsoft.com/office/drawing/2014/main" id="{A8AC6ABD-4638-0FE9-9EFB-87A913DE552B}"/>
              </a:ext>
            </a:extLst>
          </p:cNvPr>
          <p:cNvPicPr>
            <a:picLocks/>
          </p:cNvPicPr>
          <p:nvPr userDrawn="1"/>
        </p:nvPicPr>
        <p:blipFill>
          <a:blip>
            <a:extLst>
              <a:ext uri="{96DAC541-7B7A-43D3-8B79-37D633B846F1}">
                <asvg:svgBlip xmlns:asvg="http://schemas.microsoft.com/office/drawing/2016/SVG/main" r:embed="rId7"/>
              </a:ext>
            </a:extLst>
          </a:blip>
          <a:stretch>
            <a:fillRect/>
          </a:stretch>
        </p:blipFill>
        <p:spPr>
          <a:xfrm>
            <a:off x="710042" y="5757573"/>
            <a:ext cx="2212298" cy="399963"/>
          </a:xfrm>
          <a:prstGeom prst="rect">
            <a:avLst/>
          </a:prstGeom>
        </p:spPr>
      </p:pic>
    </p:spTree>
    <p:extLst>
      <p:ext uri="{BB962C8B-B14F-4D97-AF65-F5344CB8AC3E}">
        <p14:creationId xmlns:p14="http://schemas.microsoft.com/office/powerpoint/2010/main" val="11119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2026-02 - IQVIA">
    <p:bg>
      <p:bgPr>
        <a:solidFill>
          <a:srgbClr val="2B3A4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0FB1EB-886A-6250-1720-BF969FB7A49D}"/>
              </a:ext>
            </a:extLst>
          </p:cNvPr>
          <p:cNvGraphicFramePr>
            <a:graphicFrameLocks noChangeAspect="1"/>
          </p:cNvGraphicFramePr>
          <p:nvPr userDrawn="1">
            <p:custDataLst>
              <p:tags r:id="rId1"/>
            </p:custDataLst>
            <p:extLst>
              <p:ext uri="{D42A27DB-BD31-4B8C-83A1-F6EECF244321}">
                <p14:modId xmlns:p14="http://schemas.microsoft.com/office/powerpoint/2010/main" val="3219584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A0FB1EB-886A-6250-1720-BF969FB7A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DFA0D13-DE2C-0B2E-321B-37575593958C}"/>
              </a:ext>
            </a:extLst>
          </p:cNvPr>
          <p:cNvSpPr/>
          <p:nvPr userDrawn="1"/>
        </p:nvSpPr>
        <p:spPr>
          <a:xfrm>
            <a:off x="0" y="0"/>
            <a:ext cx="12192000" cy="6858000"/>
          </a:xfrm>
          <a:prstGeom prst="rect">
            <a:avLst/>
          </a:prstGeom>
          <a:solidFill>
            <a:schemeClr val="tx2"/>
          </a:solid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729468" y="2367171"/>
            <a:ext cx="6471432" cy="2123658"/>
          </a:xfrm>
          <a:prstGeom prst="rect">
            <a:avLst/>
          </a:prstGeom>
          <a:noFill/>
        </p:spPr>
        <p:txBody>
          <a:bodyPr vert="horz" anchor="ctr" anchorCtr="0">
            <a:noAutofit/>
          </a:bodyPr>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Closing slides are </a:t>
            </a:r>
            <a:br>
              <a:rPr lang="en-US"/>
            </a:br>
            <a:r>
              <a:rPr lang="en-US"/>
              <a:t>44pt Noto Sans Light sentence case</a:t>
            </a:r>
          </a:p>
        </p:txBody>
      </p:sp>
      <p:pic>
        <p:nvPicPr>
          <p:cNvPr id="5" name="Graphic 4">
            <a:extLst>
              <a:ext uri="{FF2B5EF4-FFF2-40B4-BE49-F238E27FC236}">
                <a16:creationId xmlns:a16="http://schemas.microsoft.com/office/drawing/2014/main" id="{FE7BBED7-1DCF-E62E-3826-549F8362CD9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5909973"/>
            <a:ext cx="2212298" cy="399963"/>
          </a:xfrm>
          <a:prstGeom prst="rect">
            <a:avLst/>
          </a:prstGeom>
        </p:spPr>
      </p:pic>
      <p:sp>
        <p:nvSpPr>
          <p:cNvPr id="13" name="Rectangle: Top Corners Rounded 12">
            <a:extLst>
              <a:ext uri="{FF2B5EF4-FFF2-40B4-BE49-F238E27FC236}">
                <a16:creationId xmlns:a16="http://schemas.microsoft.com/office/drawing/2014/main" id="{0E99BEF8-B37E-D639-B8AE-389ED1C2F410}"/>
              </a:ext>
            </a:extLst>
          </p:cNvPr>
          <p:cNvSpPr/>
          <p:nvPr userDrawn="1"/>
        </p:nvSpPr>
        <p:spPr>
          <a:xfrm rot="16200000" flipH="1">
            <a:off x="9687544" y="2143688"/>
            <a:ext cx="2514566" cy="2494346"/>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
        <p:nvSpPr>
          <p:cNvPr id="17" name="Freeform: Shape 16">
            <a:extLst>
              <a:ext uri="{FF2B5EF4-FFF2-40B4-BE49-F238E27FC236}">
                <a16:creationId xmlns:a16="http://schemas.microsoft.com/office/drawing/2014/main" id="{57E1F127-38D3-D9EB-971C-A039C20BDB56}"/>
              </a:ext>
            </a:extLst>
          </p:cNvPr>
          <p:cNvSpPr/>
          <p:nvPr userDrawn="1"/>
        </p:nvSpPr>
        <p:spPr>
          <a:xfrm flipH="1">
            <a:off x="8321628" y="0"/>
            <a:ext cx="3867268" cy="3850111"/>
          </a:xfrm>
          <a:custGeom>
            <a:avLst/>
            <a:gdLst>
              <a:gd name="connsiteX0" fmla="*/ 3867268 w 3867268"/>
              <a:gd name="connsiteY0" fmla="*/ 0 h 3850111"/>
              <a:gd name="connsiteX1" fmla="*/ 0 w 3867268"/>
              <a:gd name="connsiteY1" fmla="*/ 0 h 3850111"/>
              <a:gd name="connsiteX2" fmla="*/ 0 w 3867268"/>
              <a:gd name="connsiteY2" fmla="*/ 457200 h 3850111"/>
              <a:gd name="connsiteX3" fmla="*/ 0 w 3867268"/>
              <a:gd name="connsiteY3" fmla="*/ 1672128 h 3850111"/>
              <a:gd name="connsiteX4" fmla="*/ 0 w 3867268"/>
              <a:gd name="connsiteY4" fmla="*/ 2129328 h 3850111"/>
              <a:gd name="connsiteX5" fmla="*/ 26183 w 3867268"/>
              <a:gd name="connsiteY5" fmla="*/ 2300888 h 3850111"/>
              <a:gd name="connsiteX6" fmla="*/ 1927016 w 3867268"/>
              <a:gd name="connsiteY6" fmla="*/ 3850111 h 3850111"/>
              <a:gd name="connsiteX7" fmla="*/ 3867268 w 3867268"/>
              <a:gd name="connsiteY7" fmla="*/ 1909860 h 3850111"/>
              <a:gd name="connsiteX8" fmla="*/ 3867268 w 3867268"/>
              <a:gd name="connsiteY8" fmla="*/ 1452659 h 3850111"/>
              <a:gd name="connsiteX9" fmla="*/ 3867268 w 3867268"/>
              <a:gd name="connsiteY9" fmla="*/ 457200 h 385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7268" h="3850111">
                <a:moveTo>
                  <a:pt x="3867268" y="0"/>
                </a:moveTo>
                <a:lnTo>
                  <a:pt x="0" y="0"/>
                </a:lnTo>
                <a:lnTo>
                  <a:pt x="0" y="457200"/>
                </a:lnTo>
                <a:lnTo>
                  <a:pt x="0" y="1672128"/>
                </a:lnTo>
                <a:lnTo>
                  <a:pt x="0" y="2129328"/>
                </a:lnTo>
                <a:lnTo>
                  <a:pt x="26183" y="2300888"/>
                </a:lnTo>
                <a:cubicBezTo>
                  <a:pt x="207105" y="3185028"/>
                  <a:pt x="989391" y="3850111"/>
                  <a:pt x="1927016" y="3850111"/>
                </a:cubicBezTo>
                <a:cubicBezTo>
                  <a:pt x="2998588" y="3850111"/>
                  <a:pt x="3867268" y="2981431"/>
                  <a:pt x="3867268" y="1909860"/>
                </a:cubicBezTo>
                <a:lnTo>
                  <a:pt x="3867268" y="1452659"/>
                </a:lnTo>
                <a:lnTo>
                  <a:pt x="3867268" y="457200"/>
                </a:lnTo>
                <a:close/>
              </a:path>
            </a:pathLst>
          </a:custGeom>
          <a:gradFill>
            <a:gsLst>
              <a:gs pos="75000">
                <a:srgbClr val="140A42"/>
              </a:gs>
              <a:gs pos="0">
                <a:srgbClr val="00CCFF"/>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
        <p:nvSpPr>
          <p:cNvPr id="15" name="Freeform: Shape 14">
            <a:extLst>
              <a:ext uri="{FF2B5EF4-FFF2-40B4-BE49-F238E27FC236}">
                <a16:creationId xmlns:a16="http://schemas.microsoft.com/office/drawing/2014/main" id="{E50B38AA-2B30-B9A6-A77B-73C8C2812053}"/>
              </a:ext>
            </a:extLst>
          </p:cNvPr>
          <p:cNvSpPr/>
          <p:nvPr userDrawn="1"/>
        </p:nvSpPr>
        <p:spPr>
          <a:xfrm rot="16200000" flipH="1">
            <a:off x="10086560" y="1744672"/>
            <a:ext cx="1716534" cy="2494346"/>
          </a:xfrm>
          <a:custGeom>
            <a:avLst/>
            <a:gdLst>
              <a:gd name="connsiteX0" fmla="*/ 0 w 2808911"/>
              <a:gd name="connsiteY0" fmla="*/ 4081711 h 4081711"/>
              <a:gd name="connsiteX1" fmla="*/ 0 w 2808911"/>
              <a:gd name="connsiteY1" fmla="*/ 2051686 h 4081711"/>
              <a:gd name="connsiteX2" fmla="*/ 2051686 w 2808911"/>
              <a:gd name="connsiteY2" fmla="*/ 0 h 4081711"/>
              <a:gd name="connsiteX3" fmla="*/ 2063115 w 2808911"/>
              <a:gd name="connsiteY3" fmla="*/ 0 h 4081711"/>
              <a:gd name="connsiteX4" fmla="*/ 2673224 w 2808911"/>
              <a:gd name="connsiteY4" fmla="*/ 92240 h 4081711"/>
              <a:gd name="connsiteX5" fmla="*/ 2699582 w 2808911"/>
              <a:gd name="connsiteY5" fmla="*/ 101887 h 4081711"/>
              <a:gd name="connsiteX6" fmla="*/ 2708954 w 2808911"/>
              <a:gd name="connsiteY6" fmla="*/ 134890 h 4081711"/>
              <a:gd name="connsiteX7" fmla="*/ 2808911 w 2808911"/>
              <a:gd name="connsiteY7" fmla="*/ 928372 h 4081711"/>
              <a:gd name="connsiteX8" fmla="*/ 117432 w 2808911"/>
              <a:gd name="connsiteY8" fmla="*/ 4066789 h 4081711"/>
              <a:gd name="connsiteX9" fmla="*/ 0 w 2808911"/>
              <a:gd name="connsiteY9" fmla="*/ 4081711 h 408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8911" h="4081711">
                <a:moveTo>
                  <a:pt x="0" y="4081711"/>
                </a:moveTo>
                <a:lnTo>
                  <a:pt x="0" y="2051686"/>
                </a:lnTo>
                <a:cubicBezTo>
                  <a:pt x="0" y="918571"/>
                  <a:pt x="918572" y="-1"/>
                  <a:pt x="2051686" y="0"/>
                </a:cubicBezTo>
                <a:lnTo>
                  <a:pt x="2063115" y="0"/>
                </a:lnTo>
                <a:cubicBezTo>
                  <a:pt x="2275574" y="0"/>
                  <a:pt x="2480491" y="32293"/>
                  <a:pt x="2673224" y="92240"/>
                </a:cubicBezTo>
                <a:lnTo>
                  <a:pt x="2699582" y="101887"/>
                </a:lnTo>
                <a:lnTo>
                  <a:pt x="2708954" y="134890"/>
                </a:lnTo>
                <a:cubicBezTo>
                  <a:pt x="2774207" y="388507"/>
                  <a:pt x="2808911" y="654387"/>
                  <a:pt x="2808911" y="928372"/>
                </a:cubicBezTo>
                <a:cubicBezTo>
                  <a:pt x="2808911" y="2517485"/>
                  <a:pt x="1641452" y="3833923"/>
                  <a:pt x="117432" y="4066789"/>
                </a:cubicBezTo>
                <a:lnTo>
                  <a:pt x="0" y="408171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Tree>
    <p:extLst>
      <p:ext uri="{BB962C8B-B14F-4D97-AF65-F5344CB8AC3E}">
        <p14:creationId xmlns:p14="http://schemas.microsoft.com/office/powerpoint/2010/main" val="396278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18862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2026-08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605589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DA3FDF07-2EE4-1BD3-7BBF-76F0E37FCF2D}"/>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1" name="Freeform: Shape 30">
            <a:extLst>
              <a:ext uri="{FF2B5EF4-FFF2-40B4-BE49-F238E27FC236}">
                <a16:creationId xmlns:a16="http://schemas.microsoft.com/office/drawing/2014/main" id="{4594B7A1-4047-AFA3-498E-DD5DFA54DCB6}"/>
              </a:ext>
            </a:extLst>
          </p:cNvPr>
          <p:cNvSpPr/>
          <p:nvPr userDrawn="1"/>
        </p:nvSpPr>
        <p:spPr>
          <a:xfrm flipH="1">
            <a:off x="6258210" y="-1"/>
            <a:ext cx="5943600" cy="3791372"/>
          </a:xfrm>
          <a:custGeom>
            <a:avLst/>
            <a:gdLst>
              <a:gd name="connsiteX0" fmla="*/ 4047914 w 5943600"/>
              <a:gd name="connsiteY0" fmla="*/ 0 h 3791372"/>
              <a:gd name="connsiteX1" fmla="*/ 0 w 5943600"/>
              <a:gd name="connsiteY1" fmla="*/ 0 h 3791372"/>
              <a:gd name="connsiteX2" fmla="*/ 0 w 5943600"/>
              <a:gd name="connsiteY2" fmla="*/ 3791371 h 3791372"/>
              <a:gd name="connsiteX3" fmla="*/ 4047913 w 5943600"/>
              <a:gd name="connsiteY3" fmla="*/ 3791372 h 3791372"/>
              <a:gd name="connsiteX4" fmla="*/ 5943599 w 5943600"/>
              <a:gd name="connsiteY4" fmla="*/ 1895686 h 3791372"/>
              <a:gd name="connsiteX5" fmla="*/ 5943600 w 5943600"/>
              <a:gd name="connsiteY5" fmla="*/ 1895686 h 3791372"/>
              <a:gd name="connsiteX6" fmla="*/ 4047914 w 5943600"/>
              <a:gd name="connsiteY6" fmla="*/ 0 h 379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3600" h="3791372">
                <a:moveTo>
                  <a:pt x="4047914" y="0"/>
                </a:moveTo>
                <a:lnTo>
                  <a:pt x="0" y="0"/>
                </a:lnTo>
                <a:lnTo>
                  <a:pt x="0" y="3791371"/>
                </a:lnTo>
                <a:lnTo>
                  <a:pt x="4047913" y="3791372"/>
                </a:lnTo>
                <a:cubicBezTo>
                  <a:pt x="5094871" y="3791372"/>
                  <a:pt x="5943599" y="2942644"/>
                  <a:pt x="5943599" y="1895686"/>
                </a:cubicBezTo>
                <a:lnTo>
                  <a:pt x="5943600" y="1895686"/>
                </a:lnTo>
                <a:cubicBezTo>
                  <a:pt x="5943600" y="848728"/>
                  <a:pt x="5094872" y="0"/>
                  <a:pt x="4047914" y="0"/>
                </a:cubicBezTo>
                <a:close/>
              </a:path>
            </a:pathLst>
          </a:custGeom>
          <a:gradFill>
            <a:gsLst>
              <a:gs pos="75000">
                <a:srgbClr val="140A42"/>
              </a:gs>
              <a:gs pos="0">
                <a:srgbClr val="0DEFC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33" name="Graphic 32">
            <a:extLst>
              <a:ext uri="{FF2B5EF4-FFF2-40B4-BE49-F238E27FC236}">
                <a16:creationId xmlns:a16="http://schemas.microsoft.com/office/drawing/2014/main" id="{D98071B0-0BAC-CCBF-C8F1-4A3F454908D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652788" y="3098800"/>
            <a:ext cx="8979180" cy="3765875"/>
          </a:xfrm>
          <a:prstGeom prst="rect">
            <a:avLst/>
          </a:prstGeom>
        </p:spPr>
      </p:pic>
      <p:pic>
        <p:nvPicPr>
          <p:cNvPr id="25" name="Graphic 24">
            <a:extLst>
              <a:ext uri="{FF2B5EF4-FFF2-40B4-BE49-F238E27FC236}">
                <a16:creationId xmlns:a16="http://schemas.microsoft.com/office/drawing/2014/main" id="{81C40449-60F0-140A-3AD1-82ADF3046D44}"/>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36" name="TextBox 35">
            <a:extLst>
              <a:ext uri="{FF2B5EF4-FFF2-40B4-BE49-F238E27FC236}">
                <a16:creationId xmlns:a16="http://schemas.microsoft.com/office/drawing/2014/main" id="{87DE9C2D-C400-713C-8A35-AA4AC7DED97F}"/>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sp>
        <p:nvSpPr>
          <p:cNvPr id="2" name="Text Placeholder 21">
            <a:extLst>
              <a:ext uri="{FF2B5EF4-FFF2-40B4-BE49-F238E27FC236}">
                <a16:creationId xmlns:a16="http://schemas.microsoft.com/office/drawing/2014/main" id="{860022E3-44E7-94B3-673D-7A83DC626D61}"/>
              </a:ext>
            </a:extLst>
          </p:cNvPr>
          <p:cNvSpPr>
            <a:spLocks noGrp="1"/>
          </p:cNvSpPr>
          <p:nvPr>
            <p:ph type="body" sz="quarter" idx="11" hasCustomPrompt="1"/>
          </p:nvPr>
        </p:nvSpPr>
        <p:spPr>
          <a:xfrm>
            <a:off x="560269" y="370087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4" name="Title 1">
            <a:extLst>
              <a:ext uri="{FF2B5EF4-FFF2-40B4-BE49-F238E27FC236}">
                <a16:creationId xmlns:a16="http://schemas.microsoft.com/office/drawing/2014/main" id="{B8700D2F-0738-919B-C35D-CB0DEA2A88A0}"/>
              </a:ext>
            </a:extLst>
          </p:cNvPr>
          <p:cNvSpPr>
            <a:spLocks noGrp="1"/>
          </p:cNvSpPr>
          <p:nvPr>
            <p:ph type="ctrTitle" hasCustomPrompt="1"/>
          </p:nvPr>
        </p:nvSpPr>
        <p:spPr>
          <a:xfrm>
            <a:off x="560269" y="1439889"/>
            <a:ext cx="484993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5" name="Subtitle 2">
            <a:extLst>
              <a:ext uri="{FF2B5EF4-FFF2-40B4-BE49-F238E27FC236}">
                <a16:creationId xmlns:a16="http://schemas.microsoft.com/office/drawing/2014/main" id="{C3A1FE95-0855-D501-FF26-012CD590C28C}"/>
              </a:ext>
            </a:extLst>
          </p:cNvPr>
          <p:cNvSpPr>
            <a:spLocks noGrp="1"/>
          </p:cNvSpPr>
          <p:nvPr>
            <p:ph type="subTitle" idx="1" hasCustomPrompt="1"/>
          </p:nvPr>
        </p:nvSpPr>
        <p:spPr>
          <a:xfrm>
            <a:off x="560269" y="4540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6" name="Text Placeholder 13">
            <a:extLst>
              <a:ext uri="{FF2B5EF4-FFF2-40B4-BE49-F238E27FC236}">
                <a16:creationId xmlns:a16="http://schemas.microsoft.com/office/drawing/2014/main" id="{2D8CDC11-4E82-CC71-FA89-59B33D5F4A95}"/>
              </a:ext>
            </a:extLst>
          </p:cNvPr>
          <p:cNvSpPr>
            <a:spLocks noGrp="1"/>
          </p:cNvSpPr>
          <p:nvPr>
            <p:ph type="body" sz="quarter" idx="17" hasCustomPrompt="1"/>
          </p:nvPr>
        </p:nvSpPr>
        <p:spPr>
          <a:xfrm>
            <a:off x="560269" y="490812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107135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ver 2024-02 - IQVIA">
    <p:bg>
      <p:bgPr>
        <a:solidFill>
          <a:schemeClr val="bg1"/>
        </a:soli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4080424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3828065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282269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ver 2024-05-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2447047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ver 2024-06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441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Co-Brand 2024-01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2662456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Co-Brand 2024-02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18" name="Freeform: Shape 17">
            <a:extLst>
              <a:ext uri="{FF2B5EF4-FFF2-40B4-BE49-F238E27FC236}">
                <a16:creationId xmlns:a16="http://schemas.microsoft.com/office/drawing/2014/main" id="{D7711C25-1E32-D856-3159-AA194B0AE59F}"/>
              </a:ext>
            </a:extLst>
          </p:cNvPr>
          <p:cNvSpPr/>
          <p:nvPr userDrawn="1"/>
        </p:nvSpPr>
        <p:spPr>
          <a:xfrm rot="-2700000">
            <a:off x="7890787" y="-1101899"/>
            <a:ext cx="3375142" cy="3358615"/>
          </a:xfrm>
          <a:custGeom>
            <a:avLst/>
            <a:gdLst>
              <a:gd name="connsiteX0" fmla="*/ 824841 w 3375142"/>
              <a:gd name="connsiteY0" fmla="*/ 0 h 3358615"/>
              <a:gd name="connsiteX1" fmla="*/ 3375142 w 3375142"/>
              <a:gd name="connsiteY1" fmla="*/ 2550301 h 3358615"/>
              <a:gd name="connsiteX2" fmla="*/ 3375142 w 3375142"/>
              <a:gd name="connsiteY2" fmla="*/ 2834570 h 3358615"/>
              <a:gd name="connsiteX3" fmla="*/ 2851097 w 3375142"/>
              <a:gd name="connsiteY3" fmla="*/ 3358615 h 3358615"/>
              <a:gd name="connsiteX4" fmla="*/ 524045 w 3375142"/>
              <a:gd name="connsiteY4" fmla="*/ 3358615 h 3358615"/>
              <a:gd name="connsiteX5" fmla="*/ 0 w 3375142"/>
              <a:gd name="connsiteY5" fmla="*/ 2834570 h 3358615"/>
              <a:gd name="connsiteX6" fmla="*/ 0 w 3375142"/>
              <a:gd name="connsiteY6" fmla="*/ 524045 h 3358615"/>
              <a:gd name="connsiteX7" fmla="*/ 524045 w 3375142"/>
              <a:gd name="connsiteY7" fmla="*/ 0 h 3358615"/>
              <a:gd name="connsiteX0" fmla="*/ 3375142 w 3466582"/>
              <a:gd name="connsiteY0" fmla="*/ 2550301 h 3358615"/>
              <a:gd name="connsiteX1" fmla="*/ 3375142 w 3466582"/>
              <a:gd name="connsiteY1" fmla="*/ 2834570 h 3358615"/>
              <a:gd name="connsiteX2" fmla="*/ 2851097 w 3466582"/>
              <a:gd name="connsiteY2" fmla="*/ 3358615 h 3358615"/>
              <a:gd name="connsiteX3" fmla="*/ 524045 w 3466582"/>
              <a:gd name="connsiteY3" fmla="*/ 3358615 h 3358615"/>
              <a:gd name="connsiteX4" fmla="*/ 0 w 3466582"/>
              <a:gd name="connsiteY4" fmla="*/ 2834570 h 3358615"/>
              <a:gd name="connsiteX5" fmla="*/ 0 w 3466582"/>
              <a:gd name="connsiteY5" fmla="*/ 524045 h 3358615"/>
              <a:gd name="connsiteX6" fmla="*/ 524045 w 3466582"/>
              <a:gd name="connsiteY6" fmla="*/ 0 h 3358615"/>
              <a:gd name="connsiteX7" fmla="*/ 824841 w 3466582"/>
              <a:gd name="connsiteY7" fmla="*/ 0 h 3358615"/>
              <a:gd name="connsiteX8" fmla="*/ 3466582 w 3466582"/>
              <a:gd name="connsiteY8" fmla="*/ 2641741 h 3358615"/>
              <a:gd name="connsiteX0" fmla="*/ 3375142 w 3375142"/>
              <a:gd name="connsiteY0" fmla="*/ 2550301 h 3358615"/>
              <a:gd name="connsiteX1" fmla="*/ 3375142 w 3375142"/>
              <a:gd name="connsiteY1" fmla="*/ 2834570 h 3358615"/>
              <a:gd name="connsiteX2" fmla="*/ 2851097 w 3375142"/>
              <a:gd name="connsiteY2" fmla="*/ 3358615 h 3358615"/>
              <a:gd name="connsiteX3" fmla="*/ 524045 w 3375142"/>
              <a:gd name="connsiteY3" fmla="*/ 3358615 h 3358615"/>
              <a:gd name="connsiteX4" fmla="*/ 0 w 3375142"/>
              <a:gd name="connsiteY4" fmla="*/ 2834570 h 3358615"/>
              <a:gd name="connsiteX5" fmla="*/ 0 w 3375142"/>
              <a:gd name="connsiteY5" fmla="*/ 524045 h 3358615"/>
              <a:gd name="connsiteX6" fmla="*/ 524045 w 3375142"/>
              <a:gd name="connsiteY6" fmla="*/ 0 h 3358615"/>
              <a:gd name="connsiteX7" fmla="*/ 824841 w 3375142"/>
              <a:gd name="connsiteY7" fmla="*/ 0 h 335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5142" h="3358615">
                <a:moveTo>
                  <a:pt x="3375142" y="2550301"/>
                </a:moveTo>
                <a:lnTo>
                  <a:pt x="3375142" y="2834570"/>
                </a:lnTo>
                <a:cubicBezTo>
                  <a:pt x="3375142" y="3123992"/>
                  <a:pt x="3140519" y="3358615"/>
                  <a:pt x="2851097" y="3358615"/>
                </a:cubicBezTo>
                <a:lnTo>
                  <a:pt x="524045" y="3358615"/>
                </a:lnTo>
                <a:cubicBezTo>
                  <a:pt x="234623" y="3358615"/>
                  <a:pt x="0" y="3123992"/>
                  <a:pt x="0" y="2834570"/>
                </a:cubicBezTo>
                <a:lnTo>
                  <a:pt x="0" y="524045"/>
                </a:lnTo>
                <a:cubicBezTo>
                  <a:pt x="0" y="234623"/>
                  <a:pt x="234623" y="0"/>
                  <a:pt x="524045" y="0"/>
                </a:cubicBezTo>
                <a:lnTo>
                  <a:pt x="824841"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3" name="Freeform: Shape 12">
            <a:extLst>
              <a:ext uri="{FF2B5EF4-FFF2-40B4-BE49-F238E27FC236}">
                <a16:creationId xmlns:a16="http://schemas.microsoft.com/office/drawing/2014/main" id="{7C9A477D-265C-9608-FDB2-0CC08A6EB248}"/>
              </a:ext>
            </a:extLst>
          </p:cNvPr>
          <p:cNvSpPr/>
          <p:nvPr userDrawn="1"/>
        </p:nvSpPr>
        <p:spPr>
          <a:xfrm rot="-2700000">
            <a:off x="8628149" y="-1411464"/>
            <a:ext cx="3721275" cy="4628377"/>
          </a:xfrm>
          <a:custGeom>
            <a:avLst/>
            <a:gdLst>
              <a:gd name="connsiteX0" fmla="*/ 823095 w 3721275"/>
              <a:gd name="connsiteY0" fmla="*/ 0 h 4628377"/>
              <a:gd name="connsiteX1" fmla="*/ 3721275 w 3721275"/>
              <a:gd name="connsiteY1" fmla="*/ 2898181 h 4628377"/>
              <a:gd name="connsiteX2" fmla="*/ 1991079 w 3721275"/>
              <a:gd name="connsiteY2" fmla="*/ 4628377 h 4628377"/>
              <a:gd name="connsiteX3" fmla="*/ 648536 w 3721275"/>
              <a:gd name="connsiteY3" fmla="*/ 4628377 h 4628377"/>
              <a:gd name="connsiteX4" fmla="*/ 0 w 3721275"/>
              <a:gd name="connsiteY4" fmla="*/ 3979841 h 4628377"/>
              <a:gd name="connsiteX5" fmla="*/ 0 w 3721275"/>
              <a:gd name="connsiteY5" fmla="*/ 648536 h 4628377"/>
              <a:gd name="connsiteX6" fmla="*/ 648536 w 3721275"/>
              <a:gd name="connsiteY6" fmla="*/ 0 h 462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1275" h="4628377">
                <a:moveTo>
                  <a:pt x="823095" y="0"/>
                </a:moveTo>
                <a:lnTo>
                  <a:pt x="3721275" y="2898181"/>
                </a:lnTo>
                <a:lnTo>
                  <a:pt x="1991079" y="4628377"/>
                </a:lnTo>
                <a:lnTo>
                  <a:pt x="648536" y="4628377"/>
                </a:lnTo>
                <a:cubicBezTo>
                  <a:pt x="290359" y="4628377"/>
                  <a:pt x="0" y="4338018"/>
                  <a:pt x="0" y="3979841"/>
                </a:cubicBezTo>
                <a:lnTo>
                  <a:pt x="0" y="648536"/>
                </a:lnTo>
                <a:cubicBezTo>
                  <a:pt x="0" y="290359"/>
                  <a:pt x="290359" y="0"/>
                  <a:pt x="64853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377392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Co-Brand 2024-03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93076B7C-F202-996E-7DFF-5D02CB251F3F}"/>
              </a:ext>
            </a:extLst>
          </p:cNvPr>
          <p:cNvSpPr/>
          <p:nvPr userDrawn="1"/>
        </p:nvSpPr>
        <p:spPr>
          <a:xfrm rot="2700000">
            <a:off x="10287508" y="-38027"/>
            <a:ext cx="2386306" cy="3251042"/>
          </a:xfrm>
          <a:custGeom>
            <a:avLst/>
            <a:gdLst>
              <a:gd name="connsiteX0" fmla="*/ 0 w 2386306"/>
              <a:gd name="connsiteY0" fmla="*/ 573618 h 3251042"/>
              <a:gd name="connsiteX1" fmla="*/ 573618 w 2386306"/>
              <a:gd name="connsiteY1" fmla="*/ 0 h 3251042"/>
              <a:gd name="connsiteX2" fmla="*/ 2386306 w 2386306"/>
              <a:gd name="connsiteY2" fmla="*/ 1812689 h 3251042"/>
              <a:gd name="connsiteX3" fmla="*/ 2386306 w 2386306"/>
              <a:gd name="connsiteY3" fmla="*/ 2894719 h 3251042"/>
              <a:gd name="connsiteX4" fmla="*/ 2029983 w 2386306"/>
              <a:gd name="connsiteY4" fmla="*/ 3251042 h 3251042"/>
              <a:gd name="connsiteX5" fmla="*/ 356323 w 2386306"/>
              <a:gd name="connsiteY5" fmla="*/ 3251042 h 3251042"/>
              <a:gd name="connsiteX6" fmla="*/ 0 w 2386306"/>
              <a:gd name="connsiteY6" fmla="*/ 2894719 h 325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6306" h="3251042">
                <a:moveTo>
                  <a:pt x="0" y="573618"/>
                </a:moveTo>
                <a:lnTo>
                  <a:pt x="573618" y="0"/>
                </a:lnTo>
                <a:lnTo>
                  <a:pt x="2386306" y="1812689"/>
                </a:lnTo>
                <a:lnTo>
                  <a:pt x="2386306" y="2894719"/>
                </a:lnTo>
                <a:cubicBezTo>
                  <a:pt x="2386306" y="3091511"/>
                  <a:pt x="2226775" y="3251042"/>
                  <a:pt x="2029983" y="3251042"/>
                </a:cubicBezTo>
                <a:lnTo>
                  <a:pt x="356323" y="3251042"/>
                </a:lnTo>
                <a:cubicBezTo>
                  <a:pt x="159531" y="3251042"/>
                  <a:pt x="0" y="3091511"/>
                  <a:pt x="0" y="289471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Freeform: Shape 5">
            <a:extLst>
              <a:ext uri="{FF2B5EF4-FFF2-40B4-BE49-F238E27FC236}">
                <a16:creationId xmlns:a16="http://schemas.microsoft.com/office/drawing/2014/main" id="{1CF6A970-AE29-6F75-C4C8-B187F617CAEC}"/>
              </a:ext>
            </a:extLst>
          </p:cNvPr>
          <p:cNvSpPr/>
          <p:nvPr userDrawn="1"/>
        </p:nvSpPr>
        <p:spPr>
          <a:xfrm rot="2700000">
            <a:off x="10132011" y="1200350"/>
            <a:ext cx="2806378" cy="2807032"/>
          </a:xfrm>
          <a:custGeom>
            <a:avLst/>
            <a:gdLst>
              <a:gd name="connsiteX0" fmla="*/ 93508 w 2806378"/>
              <a:gd name="connsiteY0" fmla="*/ 93507 h 2807032"/>
              <a:gd name="connsiteX1" fmla="*/ 319254 w 2806378"/>
              <a:gd name="connsiteY1" fmla="*/ 0 h 2807032"/>
              <a:gd name="connsiteX2" fmla="*/ 928529 w 2806378"/>
              <a:gd name="connsiteY2" fmla="*/ 0 h 2807032"/>
              <a:gd name="connsiteX3" fmla="*/ 2806378 w 2806378"/>
              <a:gd name="connsiteY3" fmla="*/ 1877849 h 2807032"/>
              <a:gd name="connsiteX4" fmla="*/ 2806378 w 2806378"/>
              <a:gd name="connsiteY4" fmla="*/ 2487778 h 2807032"/>
              <a:gd name="connsiteX5" fmla="*/ 2487124 w 2806378"/>
              <a:gd name="connsiteY5" fmla="*/ 2807032 h 2807032"/>
              <a:gd name="connsiteX6" fmla="*/ 319254 w 2806378"/>
              <a:gd name="connsiteY6" fmla="*/ 2807032 h 2807032"/>
              <a:gd name="connsiteX7" fmla="*/ 0 w 2806378"/>
              <a:gd name="connsiteY7" fmla="*/ 2487778 h 2807032"/>
              <a:gd name="connsiteX8" fmla="*/ 0 w 2806378"/>
              <a:gd name="connsiteY8" fmla="*/ 319254 h 2807032"/>
              <a:gd name="connsiteX9" fmla="*/ 93508 w 2806378"/>
              <a:gd name="connsiteY9" fmla="*/ 93507 h 280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378" h="2807032">
                <a:moveTo>
                  <a:pt x="93508" y="93507"/>
                </a:moveTo>
                <a:cubicBezTo>
                  <a:pt x="151281" y="35733"/>
                  <a:pt x="231095" y="0"/>
                  <a:pt x="319254" y="0"/>
                </a:cubicBezTo>
                <a:lnTo>
                  <a:pt x="928529" y="0"/>
                </a:lnTo>
                <a:lnTo>
                  <a:pt x="2806378" y="1877849"/>
                </a:lnTo>
                <a:lnTo>
                  <a:pt x="2806378" y="2487778"/>
                </a:lnTo>
                <a:cubicBezTo>
                  <a:pt x="2806378" y="2664097"/>
                  <a:pt x="2663443" y="2807032"/>
                  <a:pt x="2487124" y="2807032"/>
                </a:cubicBezTo>
                <a:lnTo>
                  <a:pt x="319254" y="2807032"/>
                </a:lnTo>
                <a:cubicBezTo>
                  <a:pt x="142935" y="2807032"/>
                  <a:pt x="0" y="2664097"/>
                  <a:pt x="0" y="2487778"/>
                </a:cubicBezTo>
                <a:lnTo>
                  <a:pt x="0" y="319254"/>
                </a:lnTo>
                <a:cubicBezTo>
                  <a:pt x="0" y="231094"/>
                  <a:pt x="35734" y="151281"/>
                  <a:pt x="93508" y="9350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C595510-407A-9229-034C-83CA1804EAD4}"/>
              </a:ext>
            </a:extLst>
          </p:cNvPr>
          <p:cNvSpPr/>
          <p:nvPr userDrawn="1"/>
        </p:nvSpPr>
        <p:spPr>
          <a:xfrm rot="2700000">
            <a:off x="10839088" y="1250954"/>
            <a:ext cx="2705824" cy="2705824"/>
          </a:xfrm>
          <a:custGeom>
            <a:avLst/>
            <a:gdLst>
              <a:gd name="connsiteX0" fmla="*/ 0 w 2705824"/>
              <a:gd name="connsiteY0" fmla="*/ 0 h 2705824"/>
              <a:gd name="connsiteX1" fmla="*/ 2705824 w 2705824"/>
              <a:gd name="connsiteY1" fmla="*/ 2705824 h 2705824"/>
              <a:gd name="connsiteX2" fmla="*/ 306766 w 2705824"/>
              <a:gd name="connsiteY2" fmla="*/ 2705824 h 2705824"/>
              <a:gd name="connsiteX3" fmla="*/ 0 w 2705824"/>
              <a:gd name="connsiteY3" fmla="*/ 2399058 h 2705824"/>
              <a:gd name="connsiteX0" fmla="*/ 2705824 w 2797264"/>
              <a:gd name="connsiteY0" fmla="*/ 2705824 h 2797264"/>
              <a:gd name="connsiteX1" fmla="*/ 306766 w 2797264"/>
              <a:gd name="connsiteY1" fmla="*/ 2705824 h 2797264"/>
              <a:gd name="connsiteX2" fmla="*/ 0 w 2797264"/>
              <a:gd name="connsiteY2" fmla="*/ 2399058 h 2797264"/>
              <a:gd name="connsiteX3" fmla="*/ 0 w 2797264"/>
              <a:gd name="connsiteY3" fmla="*/ 0 h 2797264"/>
              <a:gd name="connsiteX4" fmla="*/ 2797264 w 2797264"/>
              <a:gd name="connsiteY4" fmla="*/ 2797264 h 2797264"/>
              <a:gd name="connsiteX0" fmla="*/ 2705824 w 2705824"/>
              <a:gd name="connsiteY0" fmla="*/ 2705824 h 2705824"/>
              <a:gd name="connsiteX1" fmla="*/ 306766 w 2705824"/>
              <a:gd name="connsiteY1" fmla="*/ 2705824 h 2705824"/>
              <a:gd name="connsiteX2" fmla="*/ 0 w 2705824"/>
              <a:gd name="connsiteY2" fmla="*/ 2399058 h 2705824"/>
              <a:gd name="connsiteX3" fmla="*/ 0 w 2705824"/>
              <a:gd name="connsiteY3" fmla="*/ 0 h 2705824"/>
            </a:gdLst>
            <a:ahLst/>
            <a:cxnLst>
              <a:cxn ang="0">
                <a:pos x="connsiteX0" y="connsiteY0"/>
              </a:cxn>
              <a:cxn ang="0">
                <a:pos x="connsiteX1" y="connsiteY1"/>
              </a:cxn>
              <a:cxn ang="0">
                <a:pos x="connsiteX2" y="connsiteY2"/>
              </a:cxn>
              <a:cxn ang="0">
                <a:pos x="connsiteX3" y="connsiteY3"/>
              </a:cxn>
            </a:cxnLst>
            <a:rect l="l" t="t" r="r" b="b"/>
            <a:pathLst>
              <a:path w="2705824" h="2705824">
                <a:moveTo>
                  <a:pt x="2705824" y="2705824"/>
                </a:moveTo>
                <a:lnTo>
                  <a:pt x="306766" y="2705824"/>
                </a:lnTo>
                <a:cubicBezTo>
                  <a:pt x="137344" y="2705824"/>
                  <a:pt x="0" y="2568480"/>
                  <a:pt x="0" y="2399058"/>
                </a:cubicBezTo>
                <a:lnTo>
                  <a:pt x="0" y="0"/>
                </a:lnTo>
              </a:path>
            </a:pathLst>
          </a:custGeom>
          <a:noFill/>
          <a:ln>
            <a:solidFill>
              <a:srgbClr val="0CEFC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2373449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 Co-Brand 2024-04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userDrawn="1"/>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Freeform: Shape 5">
            <a:extLst>
              <a:ext uri="{FF2B5EF4-FFF2-40B4-BE49-F238E27FC236}">
                <a16:creationId xmlns:a16="http://schemas.microsoft.com/office/drawing/2014/main" id="{7FC2DBB2-A181-4E29-6CCA-A8F30AC33C44}"/>
              </a:ext>
            </a:extLst>
          </p:cNvPr>
          <p:cNvSpPr/>
          <p:nvPr userDrawn="1"/>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7" name="Freeform: Shape 6">
            <a:extLst>
              <a:ext uri="{FF2B5EF4-FFF2-40B4-BE49-F238E27FC236}">
                <a16:creationId xmlns:a16="http://schemas.microsoft.com/office/drawing/2014/main" id="{AFC722F8-9A5C-19E5-0242-1E41CA5B41E8}"/>
              </a:ext>
            </a:extLst>
          </p:cNvPr>
          <p:cNvSpPr/>
          <p:nvPr userDrawn="1"/>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8" name="Freeform: Shape 7">
            <a:extLst>
              <a:ext uri="{FF2B5EF4-FFF2-40B4-BE49-F238E27FC236}">
                <a16:creationId xmlns:a16="http://schemas.microsoft.com/office/drawing/2014/main" id="{461D5A5C-10B5-236E-C5A3-320C49CAC101}"/>
              </a:ext>
            </a:extLst>
          </p:cNvPr>
          <p:cNvSpPr/>
          <p:nvPr userDrawn="1"/>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sp>
        <p:nvSpPr>
          <p:cNvPr id="10" name="Freeform: Shape 9">
            <a:extLst>
              <a:ext uri="{FF2B5EF4-FFF2-40B4-BE49-F238E27FC236}">
                <a16:creationId xmlns:a16="http://schemas.microsoft.com/office/drawing/2014/main" id="{F380E180-0B33-1124-60B3-4CE23784FB15}"/>
              </a:ext>
            </a:extLst>
          </p:cNvPr>
          <p:cNvSpPr/>
          <p:nvPr userDrawn="1"/>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spTree>
    <p:extLst>
      <p:ext uri="{BB962C8B-B14F-4D97-AF65-F5344CB8AC3E}">
        <p14:creationId xmlns:p14="http://schemas.microsoft.com/office/powerpoint/2010/main" val="1928110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50564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2026-09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51896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2562DA74-18F7-19C5-53FC-AD93FC6B5807}"/>
              </a:ext>
            </a:extLst>
          </p:cNvPr>
          <p:cNvSpPr/>
          <p:nvPr userDrawn="1"/>
        </p:nvSpPr>
        <p:spPr>
          <a:xfrm>
            <a:off x="648119" y="2375037"/>
            <a:ext cx="1730943" cy="3819542"/>
          </a:xfrm>
          <a:prstGeom prst="roundRect">
            <a:avLst>
              <a:gd name="adj" fmla="val 49328"/>
            </a:avLst>
          </a:prstGeom>
          <a:gradFill>
            <a:gsLst>
              <a:gs pos="0">
                <a:srgbClr val="6EEAC4"/>
              </a:gs>
              <a:gs pos="4000">
                <a:srgbClr val="69DFBD"/>
              </a:gs>
              <a:gs pos="39000">
                <a:srgbClr val="458588"/>
              </a:gs>
              <a:gs pos="68000">
                <a:srgbClr val="2A4360"/>
              </a:gs>
              <a:gs pos="89000">
                <a:srgbClr val="191A48"/>
              </a:gs>
              <a:gs pos="100000">
                <a:srgbClr val="130B3F"/>
              </a:gs>
            </a:gsLst>
            <a:lin ang="1620000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Subtitle 2">
            <a:extLst>
              <a:ext uri="{FF2B5EF4-FFF2-40B4-BE49-F238E27FC236}">
                <a16:creationId xmlns:a16="http://schemas.microsoft.com/office/drawing/2014/main" id="{4F08590D-7AB4-C9BE-B902-DC26BCDC65AD}"/>
              </a:ext>
            </a:extLst>
          </p:cNvPr>
          <p:cNvSpPr>
            <a:spLocks noGrp="1"/>
          </p:cNvSpPr>
          <p:nvPr>
            <p:ph type="subTitle" idx="1" hasCustomPrompt="1"/>
          </p:nvPr>
        </p:nvSpPr>
        <p:spPr>
          <a:xfrm>
            <a:off x="560269" y="2000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5" name="Picture Placeholder 4">
            <a:extLst>
              <a:ext uri="{FF2B5EF4-FFF2-40B4-BE49-F238E27FC236}">
                <a16:creationId xmlns:a16="http://schemas.microsoft.com/office/drawing/2014/main" id="{FB62F432-FEE6-8978-5F40-FEC041C6C4B4}"/>
              </a:ext>
            </a:extLst>
          </p:cNvPr>
          <p:cNvSpPr>
            <a:spLocks noGrp="1"/>
          </p:cNvSpPr>
          <p:nvPr>
            <p:ph type="pic" sz="quarter" idx="15" hasCustomPrompt="1"/>
          </p:nvPr>
        </p:nvSpPr>
        <p:spPr>
          <a:xfrm>
            <a:off x="648119" y="622721"/>
            <a:ext cx="1728216" cy="1728216"/>
          </a:xfrm>
          <a:prstGeom prst="ellipse">
            <a:avLst/>
          </a:prstGeom>
          <a:blipFill>
            <a:blip r:embed="rId5"/>
            <a:stretch>
              <a:fillRect/>
            </a:stretch>
          </a:blipFill>
          <a:ln>
            <a:no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Rectangle: Rounded Corners 5">
            <a:extLst>
              <a:ext uri="{FF2B5EF4-FFF2-40B4-BE49-F238E27FC236}">
                <a16:creationId xmlns:a16="http://schemas.microsoft.com/office/drawing/2014/main" id="{9E9020F3-8CAD-064C-515D-02A876808C1B}"/>
              </a:ext>
            </a:extLst>
          </p:cNvPr>
          <p:cNvSpPr/>
          <p:nvPr userDrawn="1"/>
        </p:nvSpPr>
        <p:spPr>
          <a:xfrm>
            <a:off x="2379546" y="623569"/>
            <a:ext cx="1730943" cy="3819542"/>
          </a:xfrm>
          <a:prstGeom prst="roundRect">
            <a:avLst>
              <a:gd name="adj" fmla="val 49328"/>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Oval 8">
            <a:extLst>
              <a:ext uri="{FF2B5EF4-FFF2-40B4-BE49-F238E27FC236}">
                <a16:creationId xmlns:a16="http://schemas.microsoft.com/office/drawing/2014/main" id="{07E83114-165C-1322-953A-6186533660A7}"/>
              </a:ext>
            </a:extLst>
          </p:cNvPr>
          <p:cNvSpPr>
            <a:spLocks/>
          </p:cNvSpPr>
          <p:nvPr userDrawn="1"/>
        </p:nvSpPr>
        <p:spPr>
          <a:xfrm>
            <a:off x="648119" y="4478373"/>
            <a:ext cx="1728216" cy="1728216"/>
          </a:xfrm>
          <a:prstGeom prst="ellipse">
            <a:avLst/>
          </a:pr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1" name="Picture Placeholder 20">
            <a:extLst>
              <a:ext uri="{FF2B5EF4-FFF2-40B4-BE49-F238E27FC236}">
                <a16:creationId xmlns:a16="http://schemas.microsoft.com/office/drawing/2014/main" id="{CDF14F0E-00FB-45E7-BA8A-D52C93844BE8}"/>
              </a:ext>
            </a:extLst>
          </p:cNvPr>
          <p:cNvSpPr>
            <a:spLocks noGrp="1"/>
          </p:cNvSpPr>
          <p:nvPr>
            <p:ph type="pic" sz="quarter" idx="14" hasCustomPrompt="1"/>
          </p:nvPr>
        </p:nvSpPr>
        <p:spPr>
          <a:xfrm>
            <a:off x="2384626" y="4456529"/>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22" name="Text Placeholder 21">
            <a:extLst>
              <a:ext uri="{FF2B5EF4-FFF2-40B4-BE49-F238E27FC236}">
                <a16:creationId xmlns:a16="http://schemas.microsoft.com/office/drawing/2014/main" id="{11BE6C84-E2C6-DDB5-A020-1D90363B2454}"/>
              </a:ext>
            </a:extLst>
          </p:cNvPr>
          <p:cNvSpPr>
            <a:spLocks noGrp="1"/>
          </p:cNvSpPr>
          <p:nvPr>
            <p:ph type="body" sz="quarter" idx="11" hasCustomPrompt="1"/>
          </p:nvPr>
        </p:nvSpPr>
        <p:spPr>
          <a:xfrm>
            <a:off x="6324599" y="4556224"/>
            <a:ext cx="5247793"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a:t>
            </a:r>
            <a:br>
              <a:rPr lang="en-US"/>
            </a:br>
            <a:r>
              <a:rPr lang="en-US"/>
              <a:t>sentence case</a:t>
            </a:r>
          </a:p>
        </p:txBody>
      </p:sp>
      <p:sp>
        <p:nvSpPr>
          <p:cNvPr id="23" name="Title 1">
            <a:extLst>
              <a:ext uri="{FF2B5EF4-FFF2-40B4-BE49-F238E27FC236}">
                <a16:creationId xmlns:a16="http://schemas.microsoft.com/office/drawing/2014/main" id="{487CCCF8-1C79-7D58-EE48-AF6A9196C7B9}"/>
              </a:ext>
            </a:extLst>
          </p:cNvPr>
          <p:cNvSpPr>
            <a:spLocks noGrp="1"/>
          </p:cNvSpPr>
          <p:nvPr>
            <p:ph type="ctrTitle" hasCustomPrompt="1"/>
          </p:nvPr>
        </p:nvSpPr>
        <p:spPr>
          <a:xfrm>
            <a:off x="6324599" y="2304759"/>
            <a:ext cx="524779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25" name="TextBox 24">
            <a:extLst>
              <a:ext uri="{FF2B5EF4-FFF2-40B4-BE49-F238E27FC236}">
                <a16:creationId xmlns:a16="http://schemas.microsoft.com/office/drawing/2014/main" id="{85CBFB29-7615-D0CB-3A29-CF41540B999E}"/>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pic>
        <p:nvPicPr>
          <p:cNvPr id="30" name="Graphic 29">
            <a:extLst>
              <a:ext uri="{FF2B5EF4-FFF2-40B4-BE49-F238E27FC236}">
                <a16:creationId xmlns:a16="http://schemas.microsoft.com/office/drawing/2014/main" id="{230B9294-49C2-9A41-4093-3BF610123F60}"/>
              </a:ext>
            </a:extLst>
          </p:cNvPr>
          <p:cNvPicPr>
            <a:picLocks/>
          </p:cNvPicPr>
          <p:nvPr userDrawn="1"/>
        </p:nvPicPr>
        <p:blipFill>
          <a:blip>
            <a:extLst>
              <a:ext uri="{96DAC541-7B7A-43D3-8B79-37D633B846F1}">
                <asvg:svgBlip xmlns:asvg="http://schemas.microsoft.com/office/drawing/2016/SVG/main" r:embed="rId7"/>
              </a:ext>
            </a:extLst>
          </a:blip>
          <a:stretch>
            <a:fillRect/>
          </a:stretch>
        </p:blipFill>
        <p:spPr>
          <a:xfrm>
            <a:off x="9360095" y="611533"/>
            <a:ext cx="2212298" cy="399963"/>
          </a:xfrm>
          <a:prstGeom prst="rect">
            <a:avLst/>
          </a:prstGeom>
        </p:spPr>
      </p:pic>
      <p:sp>
        <p:nvSpPr>
          <p:cNvPr id="11" name="Picture Placeholder 10">
            <a:extLst>
              <a:ext uri="{FF2B5EF4-FFF2-40B4-BE49-F238E27FC236}">
                <a16:creationId xmlns:a16="http://schemas.microsoft.com/office/drawing/2014/main" id="{C5E08318-F3D9-A07C-F68B-384AFC7798EA}"/>
              </a:ext>
            </a:extLst>
          </p:cNvPr>
          <p:cNvSpPr>
            <a:spLocks noGrp="1"/>
          </p:cNvSpPr>
          <p:nvPr>
            <p:ph type="pic" sz="quarter" idx="16" hasCustomPrompt="1"/>
          </p:nvPr>
        </p:nvSpPr>
        <p:spPr>
          <a:xfrm>
            <a:off x="5869518" y="623569"/>
            <a:ext cx="2933699" cy="1431514"/>
          </a:xfrm>
          <a:custGeom>
            <a:avLst/>
            <a:gdLst>
              <a:gd name="connsiteX0" fmla="*/ 715757 w 2933699"/>
              <a:gd name="connsiteY0" fmla="*/ 0 h 1431514"/>
              <a:gd name="connsiteX1" fmla="*/ 2217942 w 2933699"/>
              <a:gd name="connsiteY1" fmla="*/ 0 h 1431514"/>
              <a:gd name="connsiteX2" fmla="*/ 2933699 w 2933699"/>
              <a:gd name="connsiteY2" fmla="*/ 715757 h 1431514"/>
              <a:gd name="connsiteX3" fmla="*/ 2217942 w 2933699"/>
              <a:gd name="connsiteY3" fmla="*/ 1431514 h 1431514"/>
              <a:gd name="connsiteX4" fmla="*/ 715757 w 2933699"/>
              <a:gd name="connsiteY4" fmla="*/ 1431514 h 1431514"/>
              <a:gd name="connsiteX5" fmla="*/ 0 w 2933699"/>
              <a:gd name="connsiteY5" fmla="*/ 715757 h 1431514"/>
              <a:gd name="connsiteX6" fmla="*/ 715757 w 2933699"/>
              <a:gd name="connsiteY6" fmla="*/ 0 h 143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699" h="1431514">
                <a:moveTo>
                  <a:pt x="715757" y="0"/>
                </a:moveTo>
                <a:lnTo>
                  <a:pt x="2217942" y="0"/>
                </a:lnTo>
                <a:cubicBezTo>
                  <a:pt x="2613244" y="0"/>
                  <a:pt x="2933699" y="320455"/>
                  <a:pt x="2933699" y="715757"/>
                </a:cubicBezTo>
                <a:cubicBezTo>
                  <a:pt x="2933699" y="1111059"/>
                  <a:pt x="2613244" y="1431514"/>
                  <a:pt x="2217942" y="1431514"/>
                </a:cubicBezTo>
                <a:lnTo>
                  <a:pt x="715757" y="1431514"/>
                </a:lnTo>
                <a:cubicBezTo>
                  <a:pt x="320456" y="1431514"/>
                  <a:pt x="0" y="1111059"/>
                  <a:pt x="0" y="715757"/>
                </a:cubicBezTo>
                <a:cubicBezTo>
                  <a:pt x="0" y="320455"/>
                  <a:pt x="320456" y="0"/>
                  <a:pt x="715757"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4" name="Text Placeholder 13">
            <a:extLst>
              <a:ext uri="{FF2B5EF4-FFF2-40B4-BE49-F238E27FC236}">
                <a16:creationId xmlns:a16="http://schemas.microsoft.com/office/drawing/2014/main" id="{94211D75-A79E-56DC-E881-52C0CC027566}"/>
              </a:ext>
            </a:extLst>
          </p:cNvPr>
          <p:cNvSpPr>
            <a:spLocks noGrp="1"/>
          </p:cNvSpPr>
          <p:nvPr>
            <p:ph type="body" sz="quarter" idx="17" hasCustomPrompt="1"/>
          </p:nvPr>
        </p:nvSpPr>
        <p:spPr>
          <a:xfrm>
            <a:off x="6324598" y="5753948"/>
            <a:ext cx="5247793" cy="385767"/>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12" name="Graphic 11">
            <a:extLst>
              <a:ext uri="{FF2B5EF4-FFF2-40B4-BE49-F238E27FC236}">
                <a16:creationId xmlns:a16="http://schemas.microsoft.com/office/drawing/2014/main" id="{1CF48BE1-E766-5FA2-D411-8460923A9A1B}"/>
              </a:ext>
            </a:extLst>
          </p:cNvPr>
          <p:cNvPicPr>
            <a:picLocks noChangeAspect="1"/>
          </p:cNvPicPr>
          <p:nvPr userDrawn="1"/>
        </p:nvPicPr>
        <p:blipFill>
          <a:blip>
            <a:extLst>
              <a:ext uri="{96DAC541-7B7A-43D3-8B79-37D633B846F1}">
                <asvg:svgBlip xmlns:asvg="http://schemas.microsoft.com/office/drawing/2016/SVG/main" r:embed="rId9"/>
              </a:ext>
            </a:extLst>
          </a:blip>
          <a:stretch>
            <a:fillRect/>
          </a:stretch>
        </p:blipFill>
        <p:spPr>
          <a:xfrm>
            <a:off x="4110117" y="2770343"/>
            <a:ext cx="1684470" cy="1684470"/>
          </a:xfrm>
          <a:prstGeom prst="rect">
            <a:avLst/>
          </a:prstGeom>
        </p:spPr>
      </p:pic>
      <p:pic>
        <p:nvPicPr>
          <p:cNvPr id="24" name="Graphic 23">
            <a:extLst>
              <a:ext uri="{FF2B5EF4-FFF2-40B4-BE49-F238E27FC236}">
                <a16:creationId xmlns:a16="http://schemas.microsoft.com/office/drawing/2014/main" id="{1E6FE9EC-397D-B942-0236-819BCED1063D}"/>
              </a:ext>
            </a:extLst>
          </p:cNvPr>
          <p:cNvPicPr>
            <a:picLocks noChangeAspect="1"/>
          </p:cNvPicPr>
          <p:nvPr userDrawn="1"/>
        </p:nvPicPr>
        <p:blipFill>
          <a:blip>
            <a:extLst>
              <a:ext uri="{96DAC541-7B7A-43D3-8B79-37D633B846F1}">
                <asvg:svgBlip xmlns:asvg="http://schemas.microsoft.com/office/drawing/2016/SVG/main" r:embed="rId10"/>
              </a:ext>
            </a:extLst>
          </a:blip>
          <a:stretch>
            <a:fillRect/>
          </a:stretch>
        </p:blipFill>
        <p:spPr>
          <a:xfrm>
            <a:off x="4110117" y="623569"/>
            <a:ext cx="1757680" cy="2274646"/>
          </a:xfrm>
          <a:prstGeom prst="rect">
            <a:avLst/>
          </a:prstGeom>
        </p:spPr>
      </p:pic>
    </p:spTree>
    <p:extLst>
      <p:ext uri="{BB962C8B-B14F-4D97-AF65-F5344CB8AC3E}">
        <p14:creationId xmlns:p14="http://schemas.microsoft.com/office/powerpoint/2010/main" val="139057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09463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94211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96505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86262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ver 2026-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2304067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Freeform: Shape 42">
            <a:extLst>
              <a:ext uri="{FF2B5EF4-FFF2-40B4-BE49-F238E27FC236}">
                <a16:creationId xmlns:a16="http://schemas.microsoft.com/office/drawing/2014/main" id="{C8F8E4AD-69DF-58FE-0B96-906A5A61D577}"/>
              </a:ext>
            </a:extLst>
          </p:cNvPr>
          <p:cNvSpPr/>
          <p:nvPr/>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gradFill>
            <a:gsLst>
              <a:gs pos="15000">
                <a:srgbClr val="140B42"/>
              </a:gs>
              <a:gs pos="80000">
                <a:srgbClr val="005587"/>
              </a:gs>
            </a:gsLst>
            <a:lin ang="2700000" scaled="0"/>
          </a:gradFill>
          <a:ln w="12700" cap="flat" cmpd="sng" algn="ctr">
            <a:noFill/>
            <a:prstDash val="solid"/>
            <a:miter lim="800000"/>
          </a:ln>
          <a:effectLst/>
        </p:spPr>
        <p:txBody>
          <a:bodyPr wrap="square" rtlCol="0" anchor="t" anchorCtr="0">
            <a:noAutofit/>
          </a:bodyPr>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10042"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a:t>
            </a:r>
            <a:br>
              <a:rPr lang="en-US" sz="800">
                <a:solidFill>
                  <a:srgbClr val="7FD1EF"/>
                </a:solidFill>
                <a:latin typeface="+mj-lt"/>
                <a:ea typeface="Arial" charset="0"/>
                <a:cs typeface="Arial" charset="0"/>
              </a:rPr>
            </a:br>
            <a:r>
              <a:rPr lang="en-US" sz="800">
                <a:solidFill>
                  <a:srgbClr val="7FD1EF"/>
                </a:solidFill>
                <a:latin typeface="+mj-lt"/>
                <a:ea typeface="Arial" charset="0"/>
                <a:cs typeface="Arial" charset="0"/>
              </a:rPr>
              <a:t>the United States, the European Union, and various other countries. </a:t>
            </a:r>
          </a:p>
        </p:txBody>
      </p:sp>
      <p:sp>
        <p:nvSpPr>
          <p:cNvPr id="29" name="Picture Placeholder 28">
            <a:extLst>
              <a:ext uri="{FF2B5EF4-FFF2-40B4-BE49-F238E27FC236}">
                <a16:creationId xmlns:a16="http://schemas.microsoft.com/office/drawing/2014/main" id="{ABDF996A-067F-C41E-7B0E-6CA1AB5BF3DB}"/>
              </a:ext>
            </a:extLst>
          </p:cNvPr>
          <p:cNvSpPr>
            <a:spLocks noGrp="1"/>
          </p:cNvSpPr>
          <p:nvPr>
            <p:ph type="pic" sz="quarter" idx="16" hasCustomPrompt="1"/>
          </p:nvPr>
        </p:nvSpPr>
        <p:spPr>
          <a:xfrm>
            <a:off x="3165812" y="0"/>
            <a:ext cx="9026188" cy="6858000"/>
          </a:xfrm>
          <a:custGeom>
            <a:avLst/>
            <a:gdLst>
              <a:gd name="connsiteX0" fmla="*/ 0 w 9026188"/>
              <a:gd name="connsiteY0" fmla="*/ 0 h 6858000"/>
              <a:gd name="connsiteX1" fmla="*/ 9026188 w 9026188"/>
              <a:gd name="connsiteY1" fmla="*/ 0 h 6858000"/>
              <a:gd name="connsiteX2" fmla="*/ 9026188 w 9026188"/>
              <a:gd name="connsiteY2" fmla="*/ 6858000 h 6858000"/>
              <a:gd name="connsiteX3" fmla="*/ 0 w 9026188"/>
              <a:gd name="connsiteY3" fmla="*/ 6858000 h 6858000"/>
              <a:gd name="connsiteX4" fmla="*/ 3429000 w 9026188"/>
              <a:gd name="connsiteY4" fmla="*/ 3429000 h 6858000"/>
              <a:gd name="connsiteX5" fmla="*/ 0 w 902618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188" h="6858000">
                <a:moveTo>
                  <a:pt x="0" y="0"/>
                </a:moveTo>
                <a:lnTo>
                  <a:pt x="9026188" y="0"/>
                </a:lnTo>
                <a:lnTo>
                  <a:pt x="9026188" y="6858000"/>
                </a:ln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14" name="Text Placeholder 13">
            <a:extLst>
              <a:ext uri="{FF2B5EF4-FFF2-40B4-BE49-F238E27FC236}">
                <a16:creationId xmlns:a16="http://schemas.microsoft.com/office/drawing/2014/main" id="{C88A32BA-45AE-C130-28F4-09992A9871F3}"/>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406876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ver 2026-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82581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2F88DAF-07DE-80FF-028B-5A5FF467DA01}"/>
              </a:ext>
            </a:extLst>
          </p:cNvPr>
          <p:cNvSpPr/>
          <p:nvPr/>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8E4AD-69DF-58FE-0B96-906A5A61D577}"/>
              </a:ext>
            </a:extLst>
          </p:cNvPr>
          <p:cNvSpPr/>
          <p:nvPr/>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solidFill>
            <a:schemeClr val="bg1"/>
          </a:solidFill>
          <a:ln w="12700" cap="flat" cmpd="sng" algn="ctr">
            <a:noFill/>
            <a:prstDash val="solid"/>
            <a:miter lim="800000"/>
          </a:ln>
          <a:effectLst/>
        </p:spPr>
        <p:txBody>
          <a:bodyPr wrap="square" rtlCol="0" anchor="t" anchorCtr="0">
            <a:noAutofit/>
          </a:bodyPr>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a:t>
            </a:r>
            <a:br>
              <a:rPr lang="en-US" sz="800">
                <a:solidFill>
                  <a:schemeClr val="bg1">
                    <a:lumMod val="50000"/>
                  </a:schemeClr>
                </a:solidFill>
                <a:latin typeface="+mj-lt"/>
                <a:ea typeface="Arial" charset="0"/>
                <a:cs typeface="Arial" charset="0"/>
              </a:rPr>
            </a:br>
            <a:r>
              <a:rPr lang="en-US" sz="800">
                <a:solidFill>
                  <a:schemeClr val="bg1">
                    <a:lumMod val="50000"/>
                  </a:schemeClr>
                </a:solidFill>
                <a:latin typeface="+mj-lt"/>
                <a:ea typeface="Arial" charset="0"/>
                <a:cs typeface="Arial" charset="0"/>
              </a:rPr>
              <a:t>the United States, the European Union, and various other countries. </a:t>
            </a:r>
          </a:p>
        </p:txBody>
      </p:sp>
      <p:sp>
        <p:nvSpPr>
          <p:cNvPr id="38" name="Picture Placeholder 37">
            <a:extLst>
              <a:ext uri="{FF2B5EF4-FFF2-40B4-BE49-F238E27FC236}">
                <a16:creationId xmlns:a16="http://schemas.microsoft.com/office/drawing/2014/main" id="{1B0524C2-AB74-83EE-C93A-A95B62225BD0}"/>
              </a:ext>
            </a:extLst>
          </p:cNvPr>
          <p:cNvSpPr>
            <a:spLocks noGrp="1"/>
          </p:cNvSpPr>
          <p:nvPr>
            <p:ph type="pic" sz="quarter" idx="14" hasCustomPrompt="1"/>
          </p:nvPr>
        </p:nvSpPr>
        <p:spPr>
          <a:xfrm>
            <a:off x="3267412" y="0"/>
            <a:ext cx="6434847" cy="6858000"/>
          </a:xfrm>
          <a:custGeom>
            <a:avLst/>
            <a:gdLst>
              <a:gd name="connsiteX0" fmla="*/ 0 w 6434847"/>
              <a:gd name="connsiteY0" fmla="*/ 0 h 6858000"/>
              <a:gd name="connsiteX1" fmla="*/ 3005847 w 6434847"/>
              <a:gd name="connsiteY1" fmla="*/ 0 h 6858000"/>
              <a:gd name="connsiteX2" fmla="*/ 6434847 w 6434847"/>
              <a:gd name="connsiteY2" fmla="*/ 3429000 h 6858000"/>
              <a:gd name="connsiteX3" fmla="*/ 3005847 w 6434847"/>
              <a:gd name="connsiteY3" fmla="*/ 6858000 h 6858000"/>
              <a:gd name="connsiteX4" fmla="*/ 0 w 6434847"/>
              <a:gd name="connsiteY4" fmla="*/ 6858000 h 6858000"/>
              <a:gd name="connsiteX5" fmla="*/ 3429000 w 6434847"/>
              <a:gd name="connsiteY5" fmla="*/ 3429000 h 6858000"/>
              <a:gd name="connsiteX6" fmla="*/ 0 w 643484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4847" h="6858000">
                <a:moveTo>
                  <a:pt x="0" y="0"/>
                </a:moveTo>
                <a:lnTo>
                  <a:pt x="3005847" y="0"/>
                </a:lnTo>
                <a:cubicBezTo>
                  <a:pt x="4899631" y="0"/>
                  <a:pt x="6434847" y="1535216"/>
                  <a:pt x="6434847" y="3429000"/>
                </a:cubicBezTo>
                <a:cubicBezTo>
                  <a:pt x="6434847" y="5322784"/>
                  <a:pt x="4899631" y="6858000"/>
                  <a:pt x="3005847" y="6858000"/>
                </a:cubicBez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749040" anchor="ctr">
            <a:noAutofit/>
          </a:bodyPr>
          <a:lstStyle>
            <a:lvl1pPr marL="0" indent="0" algn="r">
              <a:buNone/>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9" name="Text Placeholder 13">
            <a:extLst>
              <a:ext uri="{FF2B5EF4-FFF2-40B4-BE49-F238E27FC236}">
                <a16:creationId xmlns:a16="http://schemas.microsoft.com/office/drawing/2014/main" id="{EC55EDFF-03EC-F7FE-A5CE-E9171F0FDEE1}"/>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38173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ver 2026-03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2643414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19149D81-FD4B-DC76-CAF0-EE426536CA3B}"/>
              </a:ext>
            </a:extLst>
          </p:cNvPr>
          <p:cNvSpPr>
            <a:spLocks noGrp="1"/>
          </p:cNvSpPr>
          <p:nvPr>
            <p:ph type="pic" sz="quarter" idx="16" hasCustomPrompt="1"/>
          </p:nvPr>
        </p:nvSpPr>
        <p:spPr>
          <a:xfrm>
            <a:off x="7198473" y="2"/>
            <a:ext cx="4993529" cy="6857999"/>
          </a:xfrm>
          <a:custGeom>
            <a:avLst/>
            <a:gdLst>
              <a:gd name="connsiteX0" fmla="*/ 1703159 w 4993529"/>
              <a:gd name="connsiteY0" fmla="*/ 0 h 6857999"/>
              <a:gd name="connsiteX1" fmla="*/ 4993529 w 4993529"/>
              <a:gd name="connsiteY1" fmla="*/ 0 h 6857999"/>
              <a:gd name="connsiteX2" fmla="*/ 4993529 w 4993529"/>
              <a:gd name="connsiteY2" fmla="*/ 6857999 h 6857999"/>
              <a:gd name="connsiteX3" fmla="*/ 1703166 w 4993529"/>
              <a:gd name="connsiteY3" fmla="*/ 6857999 h 6857999"/>
              <a:gd name="connsiteX4" fmla="*/ 1566432 w 4993529"/>
              <a:gd name="connsiteY4" fmla="*/ 6750547 h 6857999"/>
              <a:gd name="connsiteX5" fmla="*/ 0 w 4993529"/>
              <a:gd name="connsiteY5" fmla="*/ 3428996 h 6857999"/>
              <a:gd name="connsiteX6" fmla="*/ 1566433 w 4993529"/>
              <a:gd name="connsiteY6" fmla="*/ 10744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3529" h="6857999">
                <a:moveTo>
                  <a:pt x="1703159" y="0"/>
                </a:moveTo>
                <a:lnTo>
                  <a:pt x="4993529" y="0"/>
                </a:lnTo>
                <a:lnTo>
                  <a:pt x="4993529" y="6857999"/>
                </a:lnTo>
                <a:lnTo>
                  <a:pt x="1703166" y="6857999"/>
                </a:lnTo>
                <a:lnTo>
                  <a:pt x="1566432" y="6750547"/>
                </a:lnTo>
                <a:cubicBezTo>
                  <a:pt x="609773" y="5961041"/>
                  <a:pt x="0" y="4766229"/>
                  <a:pt x="0" y="3428996"/>
                </a:cubicBezTo>
                <a:cubicBezTo>
                  <a:pt x="1" y="2091763"/>
                  <a:pt x="609775" y="896951"/>
                  <a:pt x="1566433" y="107445"/>
                </a:cubicBezTo>
                <a:close/>
              </a:path>
            </a:pathLst>
          </a:custGeom>
          <a:blipFill>
            <a:blip r:embed="rId5"/>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8" y="3669831"/>
            <a:ext cx="5578912" cy="954942"/>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46909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1383229" y="83754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62" name="Graphic 61">
            <a:extLst>
              <a:ext uri="{FF2B5EF4-FFF2-40B4-BE49-F238E27FC236}">
                <a16:creationId xmlns:a16="http://schemas.microsoft.com/office/drawing/2014/main" id="{734FFF4D-C595-1C02-3284-439FA4259BB6}"/>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17" name="TextBox 16">
            <a:extLst>
              <a:ext uri="{FF2B5EF4-FFF2-40B4-BE49-F238E27FC236}">
                <a16:creationId xmlns:a16="http://schemas.microsoft.com/office/drawing/2014/main" id="{05D16DF4-1248-421F-6EC8-178149D3D334}"/>
              </a:ext>
            </a:extLst>
          </p:cNvPr>
          <p:cNvSpPr txBox="1"/>
          <p:nvPr/>
        </p:nvSpPr>
        <p:spPr bwMode="black">
          <a:xfrm>
            <a:off x="5602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18" name="Rectangle: Top Corners Rounded 17">
            <a:extLst>
              <a:ext uri="{FF2B5EF4-FFF2-40B4-BE49-F238E27FC236}">
                <a16:creationId xmlns:a16="http://schemas.microsoft.com/office/drawing/2014/main" id="{0A5D0DDA-43DE-B7ED-926F-B2A9412B7D7B}"/>
              </a:ext>
            </a:extLst>
          </p:cNvPr>
          <p:cNvSpPr/>
          <p:nvPr/>
        </p:nvSpPr>
        <p:spPr>
          <a:xfrm rot="5400000">
            <a:off x="361950" y="349250"/>
            <a:ext cx="551180" cy="127508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Text Placeholder 13">
            <a:extLst>
              <a:ext uri="{FF2B5EF4-FFF2-40B4-BE49-F238E27FC236}">
                <a16:creationId xmlns:a16="http://schemas.microsoft.com/office/drawing/2014/main" id="{840BC821-F126-C42A-9321-67F78D8191C2}"/>
              </a:ext>
            </a:extLst>
          </p:cNvPr>
          <p:cNvSpPr>
            <a:spLocks noGrp="1"/>
          </p:cNvSpPr>
          <p:nvPr>
            <p:ph type="body" sz="quarter" idx="17" hasCustomPrompt="1"/>
          </p:nvPr>
        </p:nvSpPr>
        <p:spPr>
          <a:xfrm>
            <a:off x="560268" y="4736677"/>
            <a:ext cx="5578912"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199098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ver 2026-04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494448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ADE7A219-BFB8-A500-5B97-DA711CAAB05D}"/>
              </a:ext>
            </a:extLst>
          </p:cNvPr>
          <p:cNvSpPr/>
          <p:nvPr/>
        </p:nvSpPr>
        <p:spPr>
          <a:xfrm>
            <a:off x="-2" y="-1"/>
            <a:ext cx="121920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185957"/>
            <a:ext cx="5198505"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5683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5" name="Graphic 4">
            <a:extLst>
              <a:ext uri="{FF2B5EF4-FFF2-40B4-BE49-F238E27FC236}">
                <a16:creationId xmlns:a16="http://schemas.microsoft.com/office/drawing/2014/main" id="{353F45A5-691A-331A-0A5E-EF9DC3E5E9D0}"/>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710042" y="5757573"/>
            <a:ext cx="2212298" cy="399963"/>
          </a:xfrm>
          <a:prstGeom prst="rect">
            <a:avLst/>
          </a:prstGeom>
        </p:spPr>
      </p:pic>
      <p:sp>
        <p:nvSpPr>
          <p:cNvPr id="21" name="Rectangle: Top Corners Rounded 20">
            <a:extLst>
              <a:ext uri="{FF2B5EF4-FFF2-40B4-BE49-F238E27FC236}">
                <a16:creationId xmlns:a16="http://schemas.microsoft.com/office/drawing/2014/main" id="{990F88C9-134E-565F-6E26-6417D9962BB5}"/>
              </a:ext>
            </a:extLst>
          </p:cNvPr>
          <p:cNvSpPr/>
          <p:nvPr/>
        </p:nvSpPr>
        <p:spPr>
          <a:xfrm rot="5400000">
            <a:off x="1858678" y="1846115"/>
            <a:ext cx="1127091" cy="484445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3696104"/>
            <a:ext cx="4187369" cy="1139792"/>
          </a:xfrm>
          <a:prstGeom prst="rect">
            <a:avLst/>
          </a:prstGeom>
        </p:spPr>
        <p:txBody>
          <a:bodyPr anchor="ctr">
            <a:noAutofit/>
          </a:bodyPr>
          <a:lstStyle>
            <a:lvl1pPr marL="0" indent="0" algn="l">
              <a:lnSpc>
                <a:spcPct val="100000"/>
              </a:lnSpc>
              <a:spcBef>
                <a:spcPts val="0"/>
              </a:spcBef>
              <a:buNone/>
              <a:defRPr sz="2000" b="0" i="0">
                <a:solidFill>
                  <a:schemeClr val="tx2"/>
                </a:solidFill>
                <a:latin typeface="+mj-lt"/>
              </a:defRPr>
            </a:lvl1pPr>
          </a:lstStyle>
          <a:p>
            <a:pPr lvl="0"/>
            <a:r>
              <a:rPr lang="en-US"/>
              <a:t>Subheads are 20pt Noto Sans sentence case</a:t>
            </a:r>
          </a:p>
        </p:txBody>
      </p:sp>
      <p:sp>
        <p:nvSpPr>
          <p:cNvPr id="23" name="TextBox 22">
            <a:extLst>
              <a:ext uri="{FF2B5EF4-FFF2-40B4-BE49-F238E27FC236}">
                <a16:creationId xmlns:a16="http://schemas.microsoft.com/office/drawing/2014/main" id="{740A9D05-7CC8-8C49-7E62-59B4C4A868DE}"/>
              </a:ext>
            </a:extLst>
          </p:cNvPr>
          <p:cNvSpPr txBox="1"/>
          <p:nvPr/>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sp>
        <p:nvSpPr>
          <p:cNvPr id="28" name="Freeform: Shape 27">
            <a:extLst>
              <a:ext uri="{FF2B5EF4-FFF2-40B4-BE49-F238E27FC236}">
                <a16:creationId xmlns:a16="http://schemas.microsoft.com/office/drawing/2014/main" id="{236EA6A8-471B-A5CE-D31B-50ED62AD5F2C}"/>
              </a:ext>
            </a:extLst>
          </p:cNvPr>
          <p:cNvSpPr/>
          <p:nvPr/>
        </p:nvSpPr>
        <p:spPr>
          <a:xfrm>
            <a:off x="11385549" y="2754630"/>
            <a:ext cx="806451" cy="1520190"/>
          </a:xfrm>
          <a:custGeom>
            <a:avLst/>
            <a:gdLst>
              <a:gd name="connsiteX0" fmla="*/ 760095 w 806451"/>
              <a:gd name="connsiteY0" fmla="*/ 0 h 1520190"/>
              <a:gd name="connsiteX1" fmla="*/ 806451 w 806451"/>
              <a:gd name="connsiteY1" fmla="*/ 0 h 1520190"/>
              <a:gd name="connsiteX2" fmla="*/ 806451 w 806451"/>
              <a:gd name="connsiteY2" fmla="*/ 1520190 h 1520190"/>
              <a:gd name="connsiteX3" fmla="*/ 760095 w 806451"/>
              <a:gd name="connsiteY3" fmla="*/ 1520190 h 1520190"/>
              <a:gd name="connsiteX4" fmla="*/ 0 w 806451"/>
              <a:gd name="connsiteY4" fmla="*/ 760095 h 1520190"/>
              <a:gd name="connsiteX5" fmla="*/ 760095 w 806451"/>
              <a:gd name="connsiteY5" fmla="*/ 0 h 152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451" h="1520190">
                <a:moveTo>
                  <a:pt x="760095" y="0"/>
                </a:moveTo>
                <a:lnTo>
                  <a:pt x="806451" y="0"/>
                </a:lnTo>
                <a:lnTo>
                  <a:pt x="806451" y="1520190"/>
                </a:lnTo>
                <a:lnTo>
                  <a:pt x="760095" y="1520190"/>
                </a:lnTo>
                <a:cubicBezTo>
                  <a:pt x="340306" y="1520190"/>
                  <a:pt x="0" y="1179884"/>
                  <a:pt x="0" y="760095"/>
                </a:cubicBezTo>
                <a:cubicBezTo>
                  <a:pt x="0" y="340306"/>
                  <a:pt x="340306" y="0"/>
                  <a:pt x="760095" y="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Oval 28">
            <a:extLst>
              <a:ext uri="{FF2B5EF4-FFF2-40B4-BE49-F238E27FC236}">
                <a16:creationId xmlns:a16="http://schemas.microsoft.com/office/drawing/2014/main" id="{9AB1090A-172E-249E-20D1-9ED6F9778154}"/>
              </a:ext>
            </a:extLst>
          </p:cNvPr>
          <p:cNvSpPr/>
          <p:nvPr/>
        </p:nvSpPr>
        <p:spPr>
          <a:xfrm>
            <a:off x="8154670" y="3101975"/>
            <a:ext cx="825500" cy="825500"/>
          </a:xfrm>
          <a:prstGeom prst="ellipse">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7" name="Rectangle: Rounded Corners 36">
            <a:extLst>
              <a:ext uri="{FF2B5EF4-FFF2-40B4-BE49-F238E27FC236}">
                <a16:creationId xmlns:a16="http://schemas.microsoft.com/office/drawing/2014/main" id="{E78834BD-6122-8897-155C-7D8AAA482567}"/>
              </a:ext>
            </a:extLst>
          </p:cNvPr>
          <p:cNvSpPr/>
          <p:nvPr/>
        </p:nvSpPr>
        <p:spPr>
          <a:xfrm>
            <a:off x="5938520" y="882316"/>
            <a:ext cx="2494280" cy="963930"/>
          </a:xfrm>
          <a:prstGeom prst="roundRect">
            <a:avLst>
              <a:gd name="adj" fmla="val 50000"/>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42" name="Freeform: Shape 41">
            <a:extLst>
              <a:ext uri="{FF2B5EF4-FFF2-40B4-BE49-F238E27FC236}">
                <a16:creationId xmlns:a16="http://schemas.microsoft.com/office/drawing/2014/main" id="{3536A388-F38A-423D-0271-552744C160CC}"/>
              </a:ext>
            </a:extLst>
          </p:cNvPr>
          <p:cNvSpPr/>
          <p:nvPr/>
        </p:nvSpPr>
        <p:spPr>
          <a:xfrm>
            <a:off x="10173970" y="5084778"/>
            <a:ext cx="2018031" cy="782320"/>
          </a:xfrm>
          <a:custGeom>
            <a:avLst/>
            <a:gdLst>
              <a:gd name="connsiteX0" fmla="*/ 391160 w 2018031"/>
              <a:gd name="connsiteY0" fmla="*/ 0 h 782320"/>
              <a:gd name="connsiteX1" fmla="*/ 2018031 w 2018031"/>
              <a:gd name="connsiteY1" fmla="*/ 0 h 782320"/>
              <a:gd name="connsiteX2" fmla="*/ 2018031 w 2018031"/>
              <a:gd name="connsiteY2" fmla="*/ 782320 h 782320"/>
              <a:gd name="connsiteX3" fmla="*/ 391160 w 2018031"/>
              <a:gd name="connsiteY3" fmla="*/ 782320 h 782320"/>
              <a:gd name="connsiteX4" fmla="*/ 0 w 2018031"/>
              <a:gd name="connsiteY4" fmla="*/ 391160 h 782320"/>
              <a:gd name="connsiteX5" fmla="*/ 391160 w 2018031"/>
              <a:gd name="connsiteY5" fmla="*/ 0 h 782320"/>
              <a:gd name="connsiteX0" fmla="*/ 2018031 w 2109471"/>
              <a:gd name="connsiteY0" fmla="*/ 782320 h 873760"/>
              <a:gd name="connsiteX1" fmla="*/ 391160 w 2109471"/>
              <a:gd name="connsiteY1" fmla="*/ 782320 h 873760"/>
              <a:gd name="connsiteX2" fmla="*/ 0 w 2109471"/>
              <a:gd name="connsiteY2" fmla="*/ 391160 h 873760"/>
              <a:gd name="connsiteX3" fmla="*/ 391160 w 2109471"/>
              <a:gd name="connsiteY3" fmla="*/ 0 h 873760"/>
              <a:gd name="connsiteX4" fmla="*/ 2018031 w 2109471"/>
              <a:gd name="connsiteY4" fmla="*/ 0 h 873760"/>
              <a:gd name="connsiteX5" fmla="*/ 2109471 w 2109471"/>
              <a:gd name="connsiteY5" fmla="*/ 873760 h 873760"/>
              <a:gd name="connsiteX0" fmla="*/ 2018031 w 2018031"/>
              <a:gd name="connsiteY0" fmla="*/ 782320 h 782320"/>
              <a:gd name="connsiteX1" fmla="*/ 391160 w 2018031"/>
              <a:gd name="connsiteY1" fmla="*/ 782320 h 782320"/>
              <a:gd name="connsiteX2" fmla="*/ 0 w 2018031"/>
              <a:gd name="connsiteY2" fmla="*/ 391160 h 782320"/>
              <a:gd name="connsiteX3" fmla="*/ 391160 w 2018031"/>
              <a:gd name="connsiteY3" fmla="*/ 0 h 782320"/>
              <a:gd name="connsiteX4" fmla="*/ 2018031 w 2018031"/>
              <a:gd name="connsiteY4" fmla="*/ 0 h 78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031" h="782320">
                <a:moveTo>
                  <a:pt x="2018031" y="782320"/>
                </a:moveTo>
                <a:lnTo>
                  <a:pt x="391160" y="782320"/>
                </a:lnTo>
                <a:cubicBezTo>
                  <a:pt x="175128" y="782320"/>
                  <a:pt x="0" y="607192"/>
                  <a:pt x="0" y="391160"/>
                </a:cubicBezTo>
                <a:cubicBezTo>
                  <a:pt x="0" y="175128"/>
                  <a:pt x="175128" y="0"/>
                  <a:pt x="391160" y="0"/>
                </a:cubicBezTo>
                <a:lnTo>
                  <a:pt x="2018031" y="0"/>
                </a:lnTo>
              </a:path>
            </a:pathLst>
          </a:cu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8" name="Picture Placeholder 57">
            <a:extLst>
              <a:ext uri="{FF2B5EF4-FFF2-40B4-BE49-F238E27FC236}">
                <a16:creationId xmlns:a16="http://schemas.microsoft.com/office/drawing/2014/main" id="{4B3972EC-C773-5A43-FB97-099CB4BCD367}"/>
              </a:ext>
            </a:extLst>
          </p:cNvPr>
          <p:cNvSpPr>
            <a:spLocks noGrp="1"/>
          </p:cNvSpPr>
          <p:nvPr>
            <p:ph type="pic" sz="quarter" idx="14" hasCustomPrompt="1"/>
          </p:nvPr>
        </p:nvSpPr>
        <p:spPr>
          <a:xfrm>
            <a:off x="6022975" y="4600908"/>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0" name="Picture Placeholder 59">
            <a:extLst>
              <a:ext uri="{FF2B5EF4-FFF2-40B4-BE49-F238E27FC236}">
                <a16:creationId xmlns:a16="http://schemas.microsoft.com/office/drawing/2014/main" id="{21C08761-BCFD-2804-56C5-147560B27512}"/>
              </a:ext>
            </a:extLst>
          </p:cNvPr>
          <p:cNvSpPr>
            <a:spLocks noGrp="1"/>
          </p:cNvSpPr>
          <p:nvPr>
            <p:ph type="pic" sz="quarter" idx="15" hasCustomPrompt="1"/>
          </p:nvPr>
        </p:nvSpPr>
        <p:spPr>
          <a:xfrm>
            <a:off x="9511025" y="2779604"/>
            <a:ext cx="1470242" cy="1470242"/>
          </a:xfrm>
          <a:prstGeom prst="ellipse">
            <a:avLst/>
          </a:prstGeom>
          <a:blipFill>
            <a:blip r:embed="rId7"/>
            <a:stretch>
              <a:fillRect/>
            </a:stretch>
          </a:blipFill>
        </p:spPr>
        <p:txBody>
          <a:bodyPr wrap="none"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b="1" kern="1200" dirty="0">
                <a:solidFill>
                  <a:srgbClr val="DA291C"/>
                </a:solidFill>
                <a:latin typeface="+mn-lt"/>
                <a:ea typeface="+mn-ea"/>
                <a:cs typeface="+mn-cs"/>
              </a:defRPr>
            </a:lvl1pPr>
          </a:lstStyle>
          <a:p>
            <a:r>
              <a:rPr lang="en-US"/>
              <a:t>Click to </a:t>
            </a:r>
            <a:br>
              <a:rPr lang="en-US"/>
            </a:br>
            <a:r>
              <a:rPr lang="en-US"/>
              <a:t>add image</a:t>
            </a:r>
          </a:p>
        </p:txBody>
      </p:sp>
      <p:sp>
        <p:nvSpPr>
          <p:cNvPr id="7" name="Picture Placeholder 6">
            <a:extLst>
              <a:ext uri="{FF2B5EF4-FFF2-40B4-BE49-F238E27FC236}">
                <a16:creationId xmlns:a16="http://schemas.microsoft.com/office/drawing/2014/main" id="{7A93C421-0BFF-D458-4C46-91C277AFC2F7}"/>
              </a:ext>
            </a:extLst>
          </p:cNvPr>
          <p:cNvSpPr>
            <a:spLocks noGrp="1"/>
          </p:cNvSpPr>
          <p:nvPr>
            <p:ph type="pic" sz="quarter" idx="16" hasCustomPrompt="1"/>
          </p:nvPr>
        </p:nvSpPr>
        <p:spPr>
          <a:xfrm>
            <a:off x="7569200" y="488950"/>
            <a:ext cx="3587750" cy="1750662"/>
          </a:xfrm>
          <a:custGeom>
            <a:avLst/>
            <a:gdLst>
              <a:gd name="connsiteX0" fmla="*/ 875331 w 3587750"/>
              <a:gd name="connsiteY0" fmla="*/ 0 h 1750662"/>
              <a:gd name="connsiteX1" fmla="*/ 2712419 w 3587750"/>
              <a:gd name="connsiteY1" fmla="*/ 0 h 1750662"/>
              <a:gd name="connsiteX2" fmla="*/ 3587750 w 3587750"/>
              <a:gd name="connsiteY2" fmla="*/ 875331 h 1750662"/>
              <a:gd name="connsiteX3" fmla="*/ 2712419 w 3587750"/>
              <a:gd name="connsiteY3" fmla="*/ 1750662 h 1750662"/>
              <a:gd name="connsiteX4" fmla="*/ 875331 w 3587750"/>
              <a:gd name="connsiteY4" fmla="*/ 1750662 h 1750662"/>
              <a:gd name="connsiteX5" fmla="*/ 0 w 3587750"/>
              <a:gd name="connsiteY5" fmla="*/ 875331 h 1750662"/>
              <a:gd name="connsiteX6" fmla="*/ 875331 w 3587750"/>
              <a:gd name="connsiteY6" fmla="*/ 0 h 175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7750" h="1750662">
                <a:moveTo>
                  <a:pt x="875331" y="0"/>
                </a:moveTo>
                <a:lnTo>
                  <a:pt x="2712419" y="0"/>
                </a:lnTo>
                <a:cubicBezTo>
                  <a:pt x="3195851" y="0"/>
                  <a:pt x="3587750" y="391899"/>
                  <a:pt x="3587750" y="875331"/>
                </a:cubicBezTo>
                <a:cubicBezTo>
                  <a:pt x="3587750" y="1358763"/>
                  <a:pt x="3195851" y="1750662"/>
                  <a:pt x="2712419" y="1750662"/>
                </a:cubicBezTo>
                <a:lnTo>
                  <a:pt x="875331" y="1750662"/>
                </a:lnTo>
                <a:cubicBezTo>
                  <a:pt x="391899" y="1750662"/>
                  <a:pt x="0" y="1358763"/>
                  <a:pt x="0" y="875331"/>
                </a:cubicBezTo>
                <a:cubicBezTo>
                  <a:pt x="0" y="391899"/>
                  <a:pt x="391899" y="0"/>
                  <a:pt x="875331" y="0"/>
                </a:cubicBezTo>
                <a:close/>
              </a:path>
            </a:pathLst>
          </a:custGeom>
          <a:blipFill>
            <a:blip r:embed="rId8"/>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2" name="Text Placeholder 13">
            <a:extLst>
              <a:ext uri="{FF2B5EF4-FFF2-40B4-BE49-F238E27FC236}">
                <a16:creationId xmlns:a16="http://schemas.microsoft.com/office/drawing/2014/main" id="{410DB0DD-3550-AA3A-3964-0928F4F14294}"/>
              </a:ext>
            </a:extLst>
          </p:cNvPr>
          <p:cNvSpPr>
            <a:spLocks noGrp="1"/>
          </p:cNvSpPr>
          <p:nvPr>
            <p:ph type="body" sz="quarter" idx="17" hasCustomPrompt="1"/>
          </p:nvPr>
        </p:nvSpPr>
        <p:spPr>
          <a:xfrm>
            <a:off x="560269" y="4908128"/>
            <a:ext cx="4187369"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77383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ver 2026-05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140211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2EF3D7E1-E5A6-9F41-9CF8-AAAEB02D2F1C}"/>
              </a:ext>
            </a:extLst>
          </p:cNvPr>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2" name="Graphic 1">
            <a:extLst>
              <a:ext uri="{FF2B5EF4-FFF2-40B4-BE49-F238E27FC236}">
                <a16:creationId xmlns:a16="http://schemas.microsoft.com/office/drawing/2014/main" id="{DFB796EA-5FE4-C00B-C632-B6DD2037CA9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7" name="Text Placeholder 21">
            <a:extLst>
              <a:ext uri="{FF2B5EF4-FFF2-40B4-BE49-F238E27FC236}">
                <a16:creationId xmlns:a16="http://schemas.microsoft.com/office/drawing/2014/main" id="{12F89F06-2842-6C78-F8B9-DF481DE16163}"/>
              </a:ext>
            </a:extLst>
          </p:cNvPr>
          <p:cNvSpPr>
            <a:spLocks noGrp="1"/>
          </p:cNvSpPr>
          <p:nvPr>
            <p:ph type="body" sz="quarter" idx="11" hasCustomPrompt="1"/>
          </p:nvPr>
        </p:nvSpPr>
        <p:spPr>
          <a:xfrm>
            <a:off x="6948369" y="454542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8" name="Title 1">
            <a:extLst>
              <a:ext uri="{FF2B5EF4-FFF2-40B4-BE49-F238E27FC236}">
                <a16:creationId xmlns:a16="http://schemas.microsoft.com/office/drawing/2014/main" id="{C09011B2-930B-2726-A34F-9595F38F67E6}"/>
              </a:ext>
            </a:extLst>
          </p:cNvPr>
          <p:cNvSpPr>
            <a:spLocks noGrp="1"/>
          </p:cNvSpPr>
          <p:nvPr>
            <p:ph type="ctrTitle" hasCustomPrompt="1"/>
          </p:nvPr>
        </p:nvSpPr>
        <p:spPr>
          <a:xfrm>
            <a:off x="6948369" y="2283169"/>
            <a:ext cx="4849931"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9" name="Subtitle 2">
            <a:extLst>
              <a:ext uri="{FF2B5EF4-FFF2-40B4-BE49-F238E27FC236}">
                <a16:creationId xmlns:a16="http://schemas.microsoft.com/office/drawing/2014/main" id="{817DEC49-9F6E-FEDD-D9A7-746572D694B9}"/>
              </a:ext>
            </a:extLst>
          </p:cNvPr>
          <p:cNvSpPr>
            <a:spLocks noGrp="1"/>
          </p:cNvSpPr>
          <p:nvPr>
            <p:ph type="subTitle" idx="1" hasCustomPrompt="1"/>
          </p:nvPr>
        </p:nvSpPr>
        <p:spPr>
          <a:xfrm>
            <a:off x="6948369" y="174051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4" name="TextBox 13">
            <a:extLst>
              <a:ext uri="{FF2B5EF4-FFF2-40B4-BE49-F238E27FC236}">
                <a16:creationId xmlns:a16="http://schemas.microsoft.com/office/drawing/2014/main" id="{F44FBDBE-CB0C-FA03-27E9-222DD602C14A}"/>
              </a:ext>
            </a:extLst>
          </p:cNvPr>
          <p:cNvSpPr txBox="1"/>
          <p:nvPr/>
        </p:nvSpPr>
        <p:spPr bwMode="black">
          <a:xfrm>
            <a:off x="40754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latin typeface="+mj-lt"/>
                <a:ea typeface="Arial" charset="0"/>
                <a:cs typeface="Arial" charset="0"/>
              </a:rPr>
              <a:t>© 2026. All rights reserved. IQVIA</a:t>
            </a:r>
            <a:r>
              <a:rPr lang="en-US" sz="800" baseline="30000">
                <a:solidFill>
                  <a:srgbClr val="7FD1EF"/>
                </a:solidFill>
                <a:latin typeface="+mj-lt"/>
                <a:ea typeface="Arial" charset="0"/>
                <a:cs typeface="Arial" charset="0"/>
              </a:rPr>
              <a:t>®</a:t>
            </a:r>
            <a:r>
              <a:rPr lang="en-US" sz="800">
                <a:solidFill>
                  <a:srgbClr val="7FD1EF"/>
                </a:solidFill>
                <a:latin typeface="+mj-lt"/>
                <a:ea typeface="Arial" charset="0"/>
                <a:cs typeface="Arial" charset="0"/>
              </a:rPr>
              <a:t> is a registered trademark of IQVIA Inc. in the United States, the European Union, and various other countries. </a:t>
            </a:r>
          </a:p>
        </p:txBody>
      </p:sp>
      <p:grpSp>
        <p:nvGrpSpPr>
          <p:cNvPr id="4" name="Group 3">
            <a:extLst>
              <a:ext uri="{FF2B5EF4-FFF2-40B4-BE49-F238E27FC236}">
                <a16:creationId xmlns:a16="http://schemas.microsoft.com/office/drawing/2014/main" id="{B5787C3C-B50B-409B-D239-AC6FD72699C3}"/>
              </a:ext>
            </a:extLst>
          </p:cNvPr>
          <p:cNvGrpSpPr/>
          <p:nvPr/>
        </p:nvGrpSpPr>
        <p:grpSpPr>
          <a:xfrm>
            <a:off x="-5079" y="0"/>
            <a:ext cx="6333420" cy="6858000"/>
            <a:chOff x="16581" y="0"/>
            <a:chExt cx="6333420" cy="6858000"/>
          </a:xfrm>
        </p:grpSpPr>
        <p:sp>
          <p:nvSpPr>
            <p:cNvPr id="5" name="Rectangle: Top Corners Rounded 4">
              <a:extLst>
                <a:ext uri="{FF2B5EF4-FFF2-40B4-BE49-F238E27FC236}">
                  <a16:creationId xmlns:a16="http://schemas.microsoft.com/office/drawing/2014/main" id="{C25A6BEA-005B-9875-2AE7-6D57A7F0472B}"/>
                </a:ext>
              </a:extLst>
            </p:cNvPr>
            <p:cNvSpPr/>
            <p:nvPr/>
          </p:nvSpPr>
          <p:spPr>
            <a:xfrm rot="5400000">
              <a:off x="5116" y="2759744"/>
              <a:ext cx="4114800" cy="4081711"/>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1" err="1"/>
            </a:p>
          </p:txBody>
        </p:sp>
        <p:sp>
          <p:nvSpPr>
            <p:cNvPr id="6" name="Freeform: Shape 5">
              <a:extLst>
                <a:ext uri="{FF2B5EF4-FFF2-40B4-BE49-F238E27FC236}">
                  <a16:creationId xmlns:a16="http://schemas.microsoft.com/office/drawing/2014/main" id="{6DFBA484-25CD-1779-3A38-65ED15CCD6D6}"/>
                </a:ext>
              </a:extLst>
            </p:cNvPr>
            <p:cNvSpPr/>
            <p:nvPr/>
          </p:nvSpPr>
          <p:spPr>
            <a:xfrm>
              <a:off x="21660" y="0"/>
              <a:ext cx="6328341" cy="5552111"/>
            </a:xfrm>
            <a:custGeom>
              <a:avLst/>
              <a:gdLst>
                <a:gd name="connsiteX0" fmla="*/ 0 w 6328341"/>
                <a:gd name="connsiteY0" fmla="*/ 0 h 5552111"/>
                <a:gd name="connsiteX1" fmla="*/ 6328341 w 6328341"/>
                <a:gd name="connsiteY1" fmla="*/ 0 h 5552111"/>
                <a:gd name="connsiteX2" fmla="*/ 6328341 w 6328341"/>
                <a:gd name="connsiteY2" fmla="*/ 2377111 h 5552111"/>
                <a:gd name="connsiteX3" fmla="*/ 3153341 w 6328341"/>
                <a:gd name="connsiteY3" fmla="*/ 5552111 h 5552111"/>
                <a:gd name="connsiteX4" fmla="*/ 42846 w 6328341"/>
                <a:gd name="connsiteY4" fmla="*/ 3016984 h 5552111"/>
                <a:gd name="connsiteX5" fmla="*/ 0 w 6328341"/>
                <a:gd name="connsiteY5" fmla="*/ 2736246 h 555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8341" h="5552111">
                  <a:moveTo>
                    <a:pt x="0" y="0"/>
                  </a:moveTo>
                  <a:lnTo>
                    <a:pt x="6328341" y="0"/>
                  </a:lnTo>
                  <a:lnTo>
                    <a:pt x="6328341" y="2377111"/>
                  </a:lnTo>
                  <a:cubicBezTo>
                    <a:pt x="6328341" y="4130615"/>
                    <a:pt x="4906845" y="5552111"/>
                    <a:pt x="3153341" y="5552111"/>
                  </a:cubicBezTo>
                  <a:cubicBezTo>
                    <a:pt x="1619025" y="5552111"/>
                    <a:pt x="338903" y="4463778"/>
                    <a:pt x="42846" y="3016984"/>
                  </a:cubicBezTo>
                  <a:lnTo>
                    <a:pt x="0" y="2736246"/>
                  </a:lnTo>
                  <a:close/>
                </a:path>
              </a:pathLst>
            </a:custGeom>
            <a:gradFill>
              <a:gsLst>
                <a:gs pos="75000">
                  <a:srgbClr val="140A42"/>
                </a:gs>
                <a:gs pos="0">
                  <a:srgbClr val="00CCFF"/>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b="1" err="1"/>
            </a:p>
          </p:txBody>
        </p:sp>
        <p:sp>
          <p:nvSpPr>
            <p:cNvPr id="10" name="Freeform: Shape 9">
              <a:extLst>
                <a:ext uri="{FF2B5EF4-FFF2-40B4-BE49-F238E27FC236}">
                  <a16:creationId xmlns:a16="http://schemas.microsoft.com/office/drawing/2014/main" id="{DF9BA332-9382-C19F-66FE-99AB2FD12525}"/>
                </a:ext>
              </a:extLst>
            </p:cNvPr>
            <p:cNvSpPr/>
            <p:nvPr/>
          </p:nvSpPr>
          <p:spPr>
            <a:xfrm rot="5400000">
              <a:off x="652981" y="2106800"/>
              <a:ext cx="2808911" cy="4081711"/>
            </a:xfrm>
            <a:custGeom>
              <a:avLst/>
              <a:gdLst>
                <a:gd name="connsiteX0" fmla="*/ 0 w 2808911"/>
                <a:gd name="connsiteY0" fmla="*/ 4081711 h 4081711"/>
                <a:gd name="connsiteX1" fmla="*/ 0 w 2808911"/>
                <a:gd name="connsiteY1" fmla="*/ 2051686 h 4081711"/>
                <a:gd name="connsiteX2" fmla="*/ 2051686 w 2808911"/>
                <a:gd name="connsiteY2" fmla="*/ 0 h 4081711"/>
                <a:gd name="connsiteX3" fmla="*/ 2063115 w 2808911"/>
                <a:gd name="connsiteY3" fmla="*/ 0 h 4081711"/>
                <a:gd name="connsiteX4" fmla="*/ 2673224 w 2808911"/>
                <a:gd name="connsiteY4" fmla="*/ 92240 h 4081711"/>
                <a:gd name="connsiteX5" fmla="*/ 2699582 w 2808911"/>
                <a:gd name="connsiteY5" fmla="*/ 101887 h 4081711"/>
                <a:gd name="connsiteX6" fmla="*/ 2708954 w 2808911"/>
                <a:gd name="connsiteY6" fmla="*/ 134890 h 4081711"/>
                <a:gd name="connsiteX7" fmla="*/ 2808911 w 2808911"/>
                <a:gd name="connsiteY7" fmla="*/ 928372 h 4081711"/>
                <a:gd name="connsiteX8" fmla="*/ 117432 w 2808911"/>
                <a:gd name="connsiteY8" fmla="*/ 4066789 h 4081711"/>
                <a:gd name="connsiteX9" fmla="*/ 0 w 2808911"/>
                <a:gd name="connsiteY9" fmla="*/ 4081711 h 408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8911" h="4081711">
                  <a:moveTo>
                    <a:pt x="0" y="4081711"/>
                  </a:moveTo>
                  <a:lnTo>
                    <a:pt x="0" y="2051686"/>
                  </a:lnTo>
                  <a:cubicBezTo>
                    <a:pt x="0" y="918571"/>
                    <a:pt x="918572" y="-1"/>
                    <a:pt x="2051686" y="0"/>
                  </a:cubicBezTo>
                  <a:lnTo>
                    <a:pt x="2063115" y="0"/>
                  </a:lnTo>
                  <a:cubicBezTo>
                    <a:pt x="2275574" y="0"/>
                    <a:pt x="2480491" y="32293"/>
                    <a:pt x="2673224" y="92240"/>
                  </a:cubicBezTo>
                  <a:lnTo>
                    <a:pt x="2699582" y="101887"/>
                  </a:lnTo>
                  <a:lnTo>
                    <a:pt x="2708954" y="134890"/>
                  </a:lnTo>
                  <a:cubicBezTo>
                    <a:pt x="2774207" y="388507"/>
                    <a:pt x="2808911" y="654387"/>
                    <a:pt x="2808911" y="928372"/>
                  </a:cubicBezTo>
                  <a:cubicBezTo>
                    <a:pt x="2808911" y="2517485"/>
                    <a:pt x="1641452" y="3833923"/>
                    <a:pt x="117432" y="4066789"/>
                  </a:cubicBezTo>
                  <a:lnTo>
                    <a:pt x="0" y="408171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b="1" err="1"/>
            </a:p>
          </p:txBody>
        </p:sp>
      </p:grpSp>
      <p:sp>
        <p:nvSpPr>
          <p:cNvPr id="11" name="Text Placeholder 13">
            <a:extLst>
              <a:ext uri="{FF2B5EF4-FFF2-40B4-BE49-F238E27FC236}">
                <a16:creationId xmlns:a16="http://schemas.microsoft.com/office/drawing/2014/main" id="{64565F74-6607-D645-F5A7-0A5632621C55}"/>
              </a:ext>
            </a:extLst>
          </p:cNvPr>
          <p:cNvSpPr>
            <a:spLocks noGrp="1"/>
          </p:cNvSpPr>
          <p:nvPr>
            <p:ph type="body" sz="quarter" idx="17" hasCustomPrompt="1"/>
          </p:nvPr>
        </p:nvSpPr>
        <p:spPr>
          <a:xfrm>
            <a:off x="6948369" y="575394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161221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ver 2026-06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p:custDataLst>
              <p:tags r:id="rId1"/>
            </p:custDataLst>
            <p:extLst>
              <p:ext uri="{D42A27DB-BD31-4B8C-83A1-F6EECF244321}">
                <p14:modId xmlns:p14="http://schemas.microsoft.com/office/powerpoint/2010/main" val="235285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CCE057E2-8B7A-030D-538C-6C18EF64073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 y="241300"/>
            <a:ext cx="11868149" cy="6362699"/>
          </a:xfrm>
          <a:prstGeom prst="rect">
            <a:avLst/>
          </a:prstGeom>
        </p:spPr>
      </p:pic>
      <p:sp>
        <p:nvSpPr>
          <p:cNvPr id="20" name="Rectangle: Rounded Corners 19">
            <a:extLst>
              <a:ext uri="{FF2B5EF4-FFF2-40B4-BE49-F238E27FC236}">
                <a16:creationId xmlns:a16="http://schemas.microsoft.com/office/drawing/2014/main" id="{E3DF00FD-7F50-5F6A-0211-01F10C408F79}"/>
              </a:ext>
            </a:extLst>
          </p:cNvPr>
          <p:cNvSpPr/>
          <p:nvPr/>
        </p:nvSpPr>
        <p:spPr>
          <a:xfrm rot="2700000">
            <a:off x="9559085" y="-38969"/>
            <a:ext cx="1593806" cy="357200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2" name="Rectangle: Rounded Corners 21">
            <a:extLst>
              <a:ext uri="{FF2B5EF4-FFF2-40B4-BE49-F238E27FC236}">
                <a16:creationId xmlns:a16="http://schemas.microsoft.com/office/drawing/2014/main" id="{0E54E32E-29E1-0CE9-9EB3-4299AC5BA551}"/>
              </a:ext>
            </a:extLst>
          </p:cNvPr>
          <p:cNvSpPr/>
          <p:nvPr/>
        </p:nvSpPr>
        <p:spPr>
          <a:xfrm rot="2700000">
            <a:off x="9854559" y="1343244"/>
            <a:ext cx="592131" cy="3587612"/>
          </a:xfrm>
          <a:prstGeom prst="roundRect">
            <a:avLst>
              <a:gd name="adj" fmla="val 5000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4" name="Freeform: Shape 23">
            <a:extLst>
              <a:ext uri="{FF2B5EF4-FFF2-40B4-BE49-F238E27FC236}">
                <a16:creationId xmlns:a16="http://schemas.microsoft.com/office/drawing/2014/main" id="{33A17EB4-0511-A9D6-5B78-5B9A582D9D64}"/>
              </a:ext>
            </a:extLst>
          </p:cNvPr>
          <p:cNvSpPr/>
          <p:nvPr/>
        </p:nvSpPr>
        <p:spPr>
          <a:xfrm rot="2700000">
            <a:off x="8557688" y="693470"/>
            <a:ext cx="2580562" cy="3142418"/>
          </a:xfrm>
          <a:custGeom>
            <a:avLst/>
            <a:gdLst>
              <a:gd name="connsiteX0" fmla="*/ 0 w 2580562"/>
              <a:gd name="connsiteY0" fmla="*/ 944206 h 4086624"/>
              <a:gd name="connsiteX1" fmla="*/ 704269 w 2580562"/>
              <a:gd name="connsiteY1" fmla="*/ 239938 h 4086624"/>
              <a:gd name="connsiteX2" fmla="*/ 1862790 w 2580562"/>
              <a:gd name="connsiteY2" fmla="*/ 239938 h 4086624"/>
              <a:gd name="connsiteX3" fmla="*/ 2580562 w 2580562"/>
              <a:gd name="connsiteY3" fmla="*/ 957710 h 4086624"/>
              <a:gd name="connsiteX4" fmla="*/ 2580562 w 2580562"/>
              <a:gd name="connsiteY4" fmla="*/ 2796343 h 4086624"/>
              <a:gd name="connsiteX5" fmla="*/ 1290281 w 2580562"/>
              <a:gd name="connsiteY5" fmla="*/ 4086624 h 4086624"/>
              <a:gd name="connsiteX6" fmla="*/ 0 w 2580562"/>
              <a:gd name="connsiteY6" fmla="*/ 2796343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7" fmla="*/ 795709 w 2580562"/>
              <a:gd name="connsiteY7" fmla="*/ 331378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0" fmla="*/ 1862790 w 2580562"/>
              <a:gd name="connsiteY0" fmla="*/ 0 h 3846686"/>
              <a:gd name="connsiteX1" fmla="*/ 2580562 w 2580562"/>
              <a:gd name="connsiteY1" fmla="*/ 717772 h 3846686"/>
              <a:gd name="connsiteX2" fmla="*/ 2580562 w 2580562"/>
              <a:gd name="connsiteY2" fmla="*/ 2556405 h 3846686"/>
              <a:gd name="connsiteX3" fmla="*/ 1290281 w 2580562"/>
              <a:gd name="connsiteY3" fmla="*/ 3846686 h 3846686"/>
              <a:gd name="connsiteX4" fmla="*/ 0 w 2580562"/>
              <a:gd name="connsiteY4" fmla="*/ 2556405 h 3846686"/>
              <a:gd name="connsiteX5" fmla="*/ 0 w 2580562"/>
              <a:gd name="connsiteY5" fmla="*/ 704268 h 3846686"/>
              <a:gd name="connsiteX0" fmla="*/ 2580562 w 2580562"/>
              <a:gd name="connsiteY0" fmla="*/ 13504 h 3142418"/>
              <a:gd name="connsiteX1" fmla="*/ 2580562 w 2580562"/>
              <a:gd name="connsiteY1" fmla="*/ 1852137 h 3142418"/>
              <a:gd name="connsiteX2" fmla="*/ 1290281 w 2580562"/>
              <a:gd name="connsiteY2" fmla="*/ 3142418 h 3142418"/>
              <a:gd name="connsiteX3" fmla="*/ 0 w 2580562"/>
              <a:gd name="connsiteY3" fmla="*/ 1852137 h 3142418"/>
              <a:gd name="connsiteX4" fmla="*/ 0 w 2580562"/>
              <a:gd name="connsiteY4" fmla="*/ 0 h 3142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562" h="3142418">
                <a:moveTo>
                  <a:pt x="2580562" y="13504"/>
                </a:moveTo>
                <a:lnTo>
                  <a:pt x="2580562" y="1852137"/>
                </a:lnTo>
                <a:cubicBezTo>
                  <a:pt x="2580562" y="2564740"/>
                  <a:pt x="2002884" y="3142418"/>
                  <a:pt x="1290281" y="3142418"/>
                </a:cubicBezTo>
                <a:cubicBezTo>
                  <a:pt x="577678" y="3142418"/>
                  <a:pt x="0" y="2564740"/>
                  <a:pt x="0" y="1852137"/>
                </a:cubicBez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pic>
        <p:nvPicPr>
          <p:cNvPr id="26" name="Graphic 25">
            <a:extLst>
              <a:ext uri="{FF2B5EF4-FFF2-40B4-BE49-F238E27FC236}">
                <a16:creationId xmlns:a16="http://schemas.microsoft.com/office/drawing/2014/main" id="{279552D8-93AA-1558-53CF-B3AA2441C9F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27" name="Text Placeholder 21">
            <a:extLst>
              <a:ext uri="{FF2B5EF4-FFF2-40B4-BE49-F238E27FC236}">
                <a16:creationId xmlns:a16="http://schemas.microsoft.com/office/drawing/2014/main" id="{2DB327D4-53F8-A02D-FD4B-DE3CE5FC3F4D}"/>
              </a:ext>
            </a:extLst>
          </p:cNvPr>
          <p:cNvSpPr>
            <a:spLocks noGrp="1"/>
          </p:cNvSpPr>
          <p:nvPr>
            <p:ph type="body" sz="quarter" idx="11" hasCustomPrompt="1"/>
          </p:nvPr>
        </p:nvSpPr>
        <p:spPr>
          <a:xfrm>
            <a:off x="560269" y="4513255"/>
            <a:ext cx="6716020"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28" name="Title 1">
            <a:extLst>
              <a:ext uri="{FF2B5EF4-FFF2-40B4-BE49-F238E27FC236}">
                <a16:creationId xmlns:a16="http://schemas.microsoft.com/office/drawing/2014/main" id="{1D4F7CBF-B263-6DFD-1E56-2BCBA31644B6}"/>
              </a:ext>
            </a:extLst>
          </p:cNvPr>
          <p:cNvSpPr>
            <a:spLocks noGrp="1"/>
          </p:cNvSpPr>
          <p:nvPr>
            <p:ph type="ctrTitle" hasCustomPrompt="1"/>
          </p:nvPr>
        </p:nvSpPr>
        <p:spPr>
          <a:xfrm>
            <a:off x="560269" y="2292059"/>
            <a:ext cx="6716020"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29" name="Subtitle 2">
            <a:extLst>
              <a:ext uri="{FF2B5EF4-FFF2-40B4-BE49-F238E27FC236}">
                <a16:creationId xmlns:a16="http://schemas.microsoft.com/office/drawing/2014/main" id="{E612B469-E30C-E96F-0490-057826786242}"/>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30" name="TextBox 29">
            <a:extLst>
              <a:ext uri="{FF2B5EF4-FFF2-40B4-BE49-F238E27FC236}">
                <a16:creationId xmlns:a16="http://schemas.microsoft.com/office/drawing/2014/main" id="{EF596005-FB39-2120-DA4B-99A6851C070A}"/>
              </a:ext>
            </a:extLst>
          </p:cNvPr>
          <p:cNvSpPr txBox="1"/>
          <p:nvPr/>
        </p:nvSpPr>
        <p:spPr bwMode="black">
          <a:xfrm>
            <a:off x="560269" y="66215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latin typeface="+mj-lt"/>
                <a:ea typeface="Arial" charset="0"/>
                <a:cs typeface="Arial" charset="0"/>
              </a:rPr>
              <a:t>© 2026. All rights reserved. IQVIA</a:t>
            </a:r>
            <a:r>
              <a:rPr lang="en-US" sz="800" baseline="30000">
                <a:solidFill>
                  <a:schemeClr val="bg1">
                    <a:lumMod val="50000"/>
                  </a:schemeClr>
                </a:solidFill>
                <a:latin typeface="+mj-lt"/>
                <a:ea typeface="Arial" charset="0"/>
                <a:cs typeface="Arial" charset="0"/>
              </a:rPr>
              <a:t>®</a:t>
            </a:r>
            <a:r>
              <a:rPr lang="en-US" sz="800">
                <a:solidFill>
                  <a:schemeClr val="bg1">
                    <a:lumMod val="50000"/>
                  </a:schemeClr>
                </a:solidFill>
                <a:latin typeface="+mj-lt"/>
                <a:ea typeface="Arial" charset="0"/>
                <a:cs typeface="Arial" charset="0"/>
              </a:rPr>
              <a:t> is a registered trademark of IQVIA Inc. in the United States, the European Union, and various other countries. </a:t>
            </a:r>
          </a:p>
        </p:txBody>
      </p:sp>
      <p:sp>
        <p:nvSpPr>
          <p:cNvPr id="42" name="Picture Placeholder 41">
            <a:extLst>
              <a:ext uri="{FF2B5EF4-FFF2-40B4-BE49-F238E27FC236}">
                <a16:creationId xmlns:a16="http://schemas.microsoft.com/office/drawing/2014/main" id="{178ED566-AC4C-DB1A-FBA8-411D294AA9FD}"/>
              </a:ext>
            </a:extLst>
          </p:cNvPr>
          <p:cNvSpPr>
            <a:spLocks noGrp="1"/>
          </p:cNvSpPr>
          <p:nvPr>
            <p:ph type="pic" sz="quarter" idx="14" hasCustomPrompt="1"/>
          </p:nvPr>
        </p:nvSpPr>
        <p:spPr>
          <a:xfrm>
            <a:off x="8667751" y="3414409"/>
            <a:ext cx="3194049" cy="3189591"/>
          </a:xfrm>
          <a:prstGeom prst="roundRect">
            <a:avLst>
              <a:gd name="adj" fmla="val 24829"/>
            </a:avLst>
          </a:pr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Text Placeholder 13">
            <a:extLst>
              <a:ext uri="{FF2B5EF4-FFF2-40B4-BE49-F238E27FC236}">
                <a16:creationId xmlns:a16="http://schemas.microsoft.com/office/drawing/2014/main" id="{4871D7E5-7016-D225-9AA1-16FDB1DA9B1E}"/>
              </a:ext>
            </a:extLst>
          </p:cNvPr>
          <p:cNvSpPr>
            <a:spLocks noGrp="1"/>
          </p:cNvSpPr>
          <p:nvPr>
            <p:ph type="body" sz="quarter" idx="17" hasCustomPrompt="1"/>
          </p:nvPr>
        </p:nvSpPr>
        <p:spPr>
          <a:xfrm>
            <a:off x="560268" y="5680710"/>
            <a:ext cx="6716020"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83568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20.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image" Target="../media/image1.emf"/><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image" Target="../media/image1.emf"/><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oleObject" Target="../embeddings/oleObject1.bin"/><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tags" Target="../tags/tag4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theme" Target="../theme/theme3.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8" Type="http://schemas.openxmlformats.org/officeDocument/2006/relationships/slideLayout" Target="../slideLayouts/slideLayout51.xml"/><Relationship Id="rId3"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oleObject" Target="../embeddings/oleObject38.bin"/><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ags" Target="../tags/tag78.xml"/><Relationship Id="rId2" Type="http://schemas.openxmlformats.org/officeDocument/2006/relationships/slideLayout" Target="../slideLayouts/slideLayout80.xml"/><Relationship Id="rId16" Type="http://schemas.openxmlformats.org/officeDocument/2006/relationships/theme" Target="../theme/theme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image" Target="../media/image38.emf"/><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9" Type="http://schemas.openxmlformats.org/officeDocument/2006/relationships/slideLayout" Target="../slideLayouts/slideLayout132.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42" Type="http://schemas.openxmlformats.org/officeDocument/2006/relationships/slideLayout" Target="../slideLayouts/slideLayout135.xml"/><Relationship Id="rId47" Type="http://schemas.openxmlformats.org/officeDocument/2006/relationships/theme" Target="../theme/theme5.xml"/><Relationship Id="rId50" Type="http://schemas.openxmlformats.org/officeDocument/2006/relationships/oleObject" Target="../embeddings/oleObject1.bin"/><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slideLayout" Target="../slideLayouts/slideLayout122.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tags" Target="../tags/tag81.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oleObject" Target="../embeddings/oleObject40.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tags" Target="../tags/tag80.xml"/><Relationship Id="rId8" Type="http://schemas.openxmlformats.org/officeDocument/2006/relationships/slideLayout" Target="../slideLayouts/slideLayout101.xml"/><Relationship Id="rId51" Type="http://schemas.openxmlformats.org/officeDocument/2006/relationships/image" Target="../media/image1.emf"/><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1" Type="http://schemas.openxmlformats.org/officeDocument/2006/relationships/slideLayout" Target="../slideLayouts/slideLayout94.xml"/><Relationship Id="rId6"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oleObject" Target="../embeddings/oleObject42.bin"/><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tags" Target="../tags/tag116.xml"/><Relationship Id="rId2" Type="http://schemas.openxmlformats.org/officeDocument/2006/relationships/slideLayout" Target="../slideLayouts/slideLayout141.xml"/><Relationship Id="rId16" Type="http://schemas.openxmlformats.org/officeDocument/2006/relationships/theme" Target="../theme/theme6.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image" Target="../media/image1.emf"/><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9" Type="http://schemas.openxmlformats.org/officeDocument/2006/relationships/image" Target="../media/image49.emf"/><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38" Type="http://schemas.openxmlformats.org/officeDocument/2006/relationships/oleObject" Target="../embeddings/oleObject44.bin"/><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tags" Target="../tags/tag11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theme" Target="../theme/theme7.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slideLayout" Target="../slideLayouts/slideLayout189.xml"/><Relationship Id="rId8" Type="http://schemas.openxmlformats.org/officeDocument/2006/relationships/slideLayout" Target="../slideLayouts/slideLayout162.xml"/><Relationship Id="rId3"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D5707B5-4B1B-A573-DE59-103C6B9B3857}"/>
              </a:ext>
            </a:extLst>
          </p:cNvPr>
          <p:cNvGraphicFramePr>
            <a:graphicFrameLocks/>
          </p:cNvGraphicFramePr>
          <p:nvPr userDrawn="1">
            <p:custDataLst>
              <p:tags r:id="rId21"/>
            </p:custDataLst>
            <p:extLst>
              <p:ext uri="{D42A27DB-BD31-4B8C-83A1-F6EECF244321}">
                <p14:modId xmlns:p14="http://schemas.microsoft.com/office/powerpoint/2010/main" val="262161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6" progId="TCLayout.ActiveDocument.1">
                  <p:embed/>
                </p:oleObj>
              </mc:Choice>
              <mc:Fallback>
                <p:oleObj name="think-cell Slide" r:id="rId22" imgW="395" imgH="396" progId="TCLayout.ActiveDocument.1">
                  <p:embed/>
                  <p:pic>
                    <p:nvPicPr>
                      <p:cNvPr id="12" name="think-cell data - do not delete" hidden="1">
                        <a:extLst>
                          <a:ext uri="{FF2B5EF4-FFF2-40B4-BE49-F238E27FC236}">
                            <a16:creationId xmlns:a16="http://schemas.microsoft.com/office/drawing/2014/main" id="{0D5707B5-4B1B-A573-DE59-103C6B9B385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j-lt"/>
                <a:ea typeface="+mn-ea"/>
                <a:cs typeface="+mn-cs"/>
              </a:rPr>
              <a:t>IQVIA Template (V4.0.0)</a:t>
            </a:r>
            <a:endParaRPr lang="en-US" sz="1000" kern="1200">
              <a:solidFill>
                <a:schemeClr val="bg1">
                  <a:lumMod val="50000"/>
                </a:schemeClr>
              </a:solidFill>
              <a:latin typeface="+mj-lt"/>
              <a:ea typeface="Arial" charset="0"/>
              <a:cs typeface="Arial" charset="0"/>
            </a:endParaRPr>
          </a:p>
        </p:txBody>
      </p:sp>
      <p:grpSp>
        <p:nvGrpSpPr>
          <p:cNvPr id="142" name="Group 141">
            <a:extLst>
              <a:ext uri="{FF2B5EF4-FFF2-40B4-BE49-F238E27FC236}">
                <a16:creationId xmlns:a16="http://schemas.microsoft.com/office/drawing/2014/main" id="{29FB6BC3-1B53-2FE2-764B-A15DD9E2BD6B}"/>
              </a:ext>
            </a:extLst>
          </p:cNvPr>
          <p:cNvGrpSpPr/>
          <p:nvPr userDrawn="1"/>
        </p:nvGrpSpPr>
        <p:grpSpPr>
          <a:xfrm>
            <a:off x="12308083" y="0"/>
            <a:ext cx="851744" cy="3736190"/>
            <a:chOff x="12308083" y="0"/>
            <a:chExt cx="851744" cy="3736190"/>
          </a:xfrm>
        </p:grpSpPr>
        <p:grpSp>
          <p:nvGrpSpPr>
            <p:cNvPr id="11" name="Group 10">
              <a:extLst>
                <a:ext uri="{FF2B5EF4-FFF2-40B4-BE49-F238E27FC236}">
                  <a16:creationId xmlns:a16="http://schemas.microsoft.com/office/drawing/2014/main" id="{E8B1BCA1-589B-A8E6-DE21-36891188309A}"/>
                </a:ext>
              </a:extLst>
            </p:cNvPr>
            <p:cNvGrpSpPr/>
            <p:nvPr userDrawn="1"/>
          </p:nvGrpSpPr>
          <p:grpSpPr>
            <a:xfrm>
              <a:off x="12308083" y="2649326"/>
              <a:ext cx="851743" cy="187184"/>
              <a:chOff x="12308083" y="2627114"/>
              <a:chExt cx="851743" cy="187184"/>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12308083" y="2627114"/>
                <a:ext cx="187184" cy="187184"/>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12751123" y="2627114"/>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12972642" y="2627114"/>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12529603" y="2627114"/>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grpSp>
        <p:sp>
          <p:nvSpPr>
            <p:cNvPr id="156" name="TextBox 155">
              <a:extLst>
                <a:ext uri="{FF2B5EF4-FFF2-40B4-BE49-F238E27FC236}">
                  <a16:creationId xmlns:a16="http://schemas.microsoft.com/office/drawing/2014/main" id="{F396C095-9B66-F444-862E-DE666BC5DC9E}"/>
                </a:ext>
              </a:extLst>
            </p:cNvPr>
            <p:cNvSpPr txBox="1"/>
            <p:nvPr/>
          </p:nvSpPr>
          <p:spPr>
            <a:xfrm>
              <a:off x="12308083" y="0"/>
              <a:ext cx="851744" cy="184666"/>
            </a:xfrm>
            <a:prstGeom prst="rect">
              <a:avLst/>
            </a:prstGeom>
            <a:noFill/>
          </p:spPr>
          <p:txBody>
            <a:bodyPr wrap="square" lIns="0" rIns="0" rtlCol="0">
              <a:spAutoFit/>
            </a:bodyPr>
            <a:lstStyle/>
            <a:p>
              <a:pPr algn="ctr"/>
              <a:r>
                <a:rPr lang="en-US" sz="600">
                  <a:solidFill>
                    <a:schemeClr val="tx1"/>
                  </a:solidFill>
                  <a:latin typeface="+mn-lt"/>
                </a:rPr>
                <a:t>100%   50%   75%   25%</a:t>
              </a:r>
            </a:p>
          </p:txBody>
        </p:sp>
        <p:grpSp>
          <p:nvGrpSpPr>
            <p:cNvPr id="6" name="Group 5">
              <a:extLst>
                <a:ext uri="{FF2B5EF4-FFF2-40B4-BE49-F238E27FC236}">
                  <a16:creationId xmlns:a16="http://schemas.microsoft.com/office/drawing/2014/main" id="{6307F83F-C095-6957-9133-BF721D059EDD}"/>
                </a:ext>
              </a:extLst>
            </p:cNvPr>
            <p:cNvGrpSpPr/>
            <p:nvPr userDrawn="1"/>
          </p:nvGrpSpPr>
          <p:grpSpPr>
            <a:xfrm>
              <a:off x="12308083" y="419226"/>
              <a:ext cx="851743" cy="188638"/>
              <a:chOff x="12308083" y="418248"/>
              <a:chExt cx="851743" cy="188638"/>
            </a:xfrm>
          </p:grpSpPr>
          <p:sp>
            <p:nvSpPr>
              <p:cNvPr id="164" name="Rectangle 163">
                <a:extLst>
                  <a:ext uri="{FF2B5EF4-FFF2-40B4-BE49-F238E27FC236}">
                    <a16:creationId xmlns:a16="http://schemas.microsoft.com/office/drawing/2014/main" id="{51FF5A3B-DFB1-5F43-A2EF-04D81F0CA37E}"/>
                  </a:ext>
                </a:extLst>
              </p:cNvPr>
              <p:cNvSpPr/>
              <p:nvPr/>
            </p:nvSpPr>
            <p:spPr bwMode="gray">
              <a:xfrm>
                <a:off x="12529603" y="41824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12751122" y="41824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12972642" y="41824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12308083" y="41970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grpSp>
        <p:grpSp>
          <p:nvGrpSpPr>
            <p:cNvPr id="4" name="Group 3">
              <a:extLst>
                <a:ext uri="{FF2B5EF4-FFF2-40B4-BE49-F238E27FC236}">
                  <a16:creationId xmlns:a16="http://schemas.microsoft.com/office/drawing/2014/main" id="{54D31852-4FF2-4DC7-9F4F-12F33E8E006F}"/>
                </a:ext>
              </a:extLst>
            </p:cNvPr>
            <p:cNvGrpSpPr/>
            <p:nvPr userDrawn="1"/>
          </p:nvGrpSpPr>
          <p:grpSpPr>
            <a:xfrm>
              <a:off x="12308083" y="196943"/>
              <a:ext cx="851743" cy="187184"/>
              <a:chOff x="12308083" y="196943"/>
              <a:chExt cx="851743" cy="187184"/>
            </a:xfrm>
          </p:grpSpPr>
          <p:sp>
            <p:nvSpPr>
              <p:cNvPr id="163" name="Rectangle 162">
                <a:extLst>
                  <a:ext uri="{FF2B5EF4-FFF2-40B4-BE49-F238E27FC236}">
                    <a16:creationId xmlns:a16="http://schemas.microsoft.com/office/drawing/2014/main" id="{FABDCF59-39B4-D741-804B-DA8E5356DEE0}"/>
                  </a:ext>
                </a:extLst>
              </p:cNvPr>
              <p:cNvSpPr/>
              <p:nvPr/>
            </p:nvSpPr>
            <p:spPr bwMode="gray">
              <a:xfrm>
                <a:off x="12529603" y="19694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12751122" y="19694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12972642" y="19694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12308083" y="19694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grpSp>
        <p:grpSp>
          <p:nvGrpSpPr>
            <p:cNvPr id="7" name="Group 6">
              <a:extLst>
                <a:ext uri="{FF2B5EF4-FFF2-40B4-BE49-F238E27FC236}">
                  <a16:creationId xmlns:a16="http://schemas.microsoft.com/office/drawing/2014/main" id="{0AA79F80-D902-1962-861B-63DE988E9D1F}"/>
                </a:ext>
              </a:extLst>
            </p:cNvPr>
            <p:cNvGrpSpPr/>
            <p:nvPr userDrawn="1"/>
          </p:nvGrpSpPr>
          <p:grpSpPr>
            <a:xfrm>
              <a:off x="12308083" y="1087529"/>
              <a:ext cx="851743" cy="190092"/>
              <a:chOff x="12308083" y="1080414"/>
              <a:chExt cx="851743" cy="190092"/>
            </a:xfrm>
          </p:grpSpPr>
          <p:sp>
            <p:nvSpPr>
              <p:cNvPr id="178" name="Rectangle 177">
                <a:extLst>
                  <a:ext uri="{FF2B5EF4-FFF2-40B4-BE49-F238E27FC236}">
                    <a16:creationId xmlns:a16="http://schemas.microsoft.com/office/drawing/2014/main" id="{C91C1BDA-5D81-794C-B1A7-67CC9CE1EE1E}"/>
                  </a:ext>
                </a:extLst>
              </p:cNvPr>
              <p:cNvSpPr/>
              <p:nvPr/>
            </p:nvSpPr>
            <p:spPr bwMode="gray">
              <a:xfrm>
                <a:off x="12529603" y="1080414"/>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12751122" y="1080414"/>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12972642" y="1080414"/>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12308083" y="1083322"/>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grpSp>
        <p:grpSp>
          <p:nvGrpSpPr>
            <p:cNvPr id="10" name="Group 9">
              <a:extLst>
                <a:ext uri="{FF2B5EF4-FFF2-40B4-BE49-F238E27FC236}">
                  <a16:creationId xmlns:a16="http://schemas.microsoft.com/office/drawing/2014/main" id="{6E9EF6F7-8078-2AA2-2468-0446932D2A36}"/>
                </a:ext>
              </a:extLst>
            </p:cNvPr>
            <p:cNvGrpSpPr/>
            <p:nvPr userDrawn="1"/>
          </p:nvGrpSpPr>
          <p:grpSpPr>
            <a:xfrm>
              <a:off x="12308083" y="2204760"/>
              <a:ext cx="851743" cy="187184"/>
              <a:chOff x="12308083" y="2181904"/>
              <a:chExt cx="851743" cy="187184"/>
            </a:xfrm>
          </p:grpSpPr>
          <p:sp>
            <p:nvSpPr>
              <p:cNvPr id="184" name="Rectangle 183">
                <a:extLst>
                  <a:ext uri="{FF2B5EF4-FFF2-40B4-BE49-F238E27FC236}">
                    <a16:creationId xmlns:a16="http://schemas.microsoft.com/office/drawing/2014/main" id="{A9EA6558-DD3B-7A4C-91B0-97252C1832CF}"/>
                  </a:ext>
                </a:extLst>
              </p:cNvPr>
              <p:cNvSpPr/>
              <p:nvPr/>
            </p:nvSpPr>
            <p:spPr bwMode="gray">
              <a:xfrm>
                <a:off x="12308083" y="2181904"/>
                <a:ext cx="187184" cy="187184"/>
              </a:xfrm>
              <a:prstGeom prst="rect">
                <a:avLst/>
              </a:prstGeom>
              <a:solidFill>
                <a:srgbClr val="0272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12529603" y="2181904"/>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12751122" y="2181904"/>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12972642" y="2181904"/>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grpSp>
        <p:grpSp>
          <p:nvGrpSpPr>
            <p:cNvPr id="9" name="Group 8">
              <a:extLst>
                <a:ext uri="{FF2B5EF4-FFF2-40B4-BE49-F238E27FC236}">
                  <a16:creationId xmlns:a16="http://schemas.microsoft.com/office/drawing/2014/main" id="{6B5EA531-8644-120F-18B0-28D3A1DB590C}"/>
                </a:ext>
              </a:extLst>
            </p:cNvPr>
            <p:cNvGrpSpPr/>
            <p:nvPr userDrawn="1"/>
          </p:nvGrpSpPr>
          <p:grpSpPr>
            <a:xfrm>
              <a:off x="12308083" y="1982477"/>
              <a:ext cx="851743" cy="187184"/>
              <a:chOff x="12308083" y="1960536"/>
              <a:chExt cx="851743" cy="187184"/>
            </a:xfrm>
          </p:grpSpPr>
          <p:sp>
            <p:nvSpPr>
              <p:cNvPr id="169" name="Rectangle 168">
                <a:extLst>
                  <a:ext uri="{FF2B5EF4-FFF2-40B4-BE49-F238E27FC236}">
                    <a16:creationId xmlns:a16="http://schemas.microsoft.com/office/drawing/2014/main" id="{3C6FF5B6-5DBB-B04F-B902-B9A93A757215}"/>
                  </a:ext>
                </a:extLst>
              </p:cNvPr>
              <p:cNvSpPr/>
              <p:nvPr/>
            </p:nvSpPr>
            <p:spPr bwMode="gray">
              <a:xfrm>
                <a:off x="12308083" y="1960536"/>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12529603" y="1960536"/>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12751122" y="1960536"/>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12972642" y="1960536"/>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grpSp>
        <p:sp>
          <p:nvSpPr>
            <p:cNvPr id="191" name="Rectangle 190">
              <a:extLst>
                <a:ext uri="{FF2B5EF4-FFF2-40B4-BE49-F238E27FC236}">
                  <a16:creationId xmlns:a16="http://schemas.microsoft.com/office/drawing/2014/main" id="{68D56737-D7FA-9241-BF90-CDAA19D3F175}"/>
                </a:ext>
              </a:extLst>
            </p:cNvPr>
            <p:cNvSpPr/>
            <p:nvPr/>
          </p:nvSpPr>
          <p:spPr bwMode="gray">
            <a:xfrm>
              <a:off x="12308083" y="643208"/>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12528890" y="645726"/>
              <a:ext cx="630936" cy="184666"/>
            </a:xfrm>
            <a:prstGeom prst="rect">
              <a:avLst/>
            </a:prstGeom>
            <a:noFill/>
          </p:spPr>
          <p:txBody>
            <a:bodyPr wrap="square" lIns="0" rIns="0" rtlCol="0">
              <a:spAutoFit/>
            </a:bodyPr>
            <a:lstStyle/>
            <a:p>
              <a:r>
                <a:rPr lang="en-US" sz="600">
                  <a:solidFill>
                    <a:schemeClr val="tx1"/>
                  </a:solidFill>
                  <a:latin typeface="+mn-lt"/>
                </a:rPr>
                <a:t>Bright Blue</a:t>
              </a: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12308083" y="865246"/>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195" name="TextBox 194">
              <a:extLst>
                <a:ext uri="{FF2B5EF4-FFF2-40B4-BE49-F238E27FC236}">
                  <a16:creationId xmlns:a16="http://schemas.microsoft.com/office/drawing/2014/main" id="{72B3BE3E-8803-DD42-B96E-2D6A35B5C8FE}"/>
                </a:ext>
              </a:extLst>
            </p:cNvPr>
            <p:cNvSpPr txBox="1"/>
            <p:nvPr/>
          </p:nvSpPr>
          <p:spPr>
            <a:xfrm>
              <a:off x="12529603" y="867764"/>
              <a:ext cx="630223" cy="184666"/>
            </a:xfrm>
            <a:prstGeom prst="rect">
              <a:avLst/>
            </a:prstGeom>
            <a:noFill/>
          </p:spPr>
          <p:txBody>
            <a:bodyPr wrap="square" lIns="0" rIns="0" rtlCol="0">
              <a:spAutoFit/>
            </a:bodyPr>
            <a:lstStyle/>
            <a:p>
              <a:r>
                <a:rPr lang="en-US" sz="600">
                  <a:solidFill>
                    <a:schemeClr val="tx1"/>
                  </a:solidFill>
                  <a:latin typeface="+mn-lt"/>
                </a:rPr>
                <a:t>Indigo</a:t>
              </a:r>
            </a:p>
          </p:txBody>
        </p:sp>
        <p:grpSp>
          <p:nvGrpSpPr>
            <p:cNvPr id="8" name="Group 7">
              <a:extLst>
                <a:ext uri="{FF2B5EF4-FFF2-40B4-BE49-F238E27FC236}">
                  <a16:creationId xmlns:a16="http://schemas.microsoft.com/office/drawing/2014/main" id="{CCE559D8-A3FE-2ADF-C818-6A2239BA9C8D}"/>
                </a:ext>
              </a:extLst>
            </p:cNvPr>
            <p:cNvGrpSpPr/>
            <p:nvPr userDrawn="1"/>
          </p:nvGrpSpPr>
          <p:grpSpPr>
            <a:xfrm>
              <a:off x="12308083" y="1312720"/>
              <a:ext cx="851743" cy="190092"/>
              <a:chOff x="12308083" y="1309014"/>
              <a:chExt cx="851743" cy="190092"/>
            </a:xfrm>
          </p:grpSpPr>
          <p:sp>
            <p:nvSpPr>
              <p:cNvPr id="197" name="Rectangle 196">
                <a:extLst>
                  <a:ext uri="{FF2B5EF4-FFF2-40B4-BE49-F238E27FC236}">
                    <a16:creationId xmlns:a16="http://schemas.microsoft.com/office/drawing/2014/main" id="{D6E8F370-88B7-B143-BECC-56B2696E26F2}"/>
                  </a:ext>
                </a:extLst>
              </p:cNvPr>
              <p:cNvSpPr/>
              <p:nvPr/>
            </p:nvSpPr>
            <p:spPr bwMode="gray">
              <a:xfrm>
                <a:off x="12529603" y="1309014"/>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12751122" y="1309014"/>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12972642" y="1309014"/>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12308083" y="1311922"/>
                <a:ext cx="187184" cy="187184"/>
              </a:xfrm>
              <a:prstGeom prst="rect">
                <a:avLst/>
              </a:prstGeom>
              <a:solidFill>
                <a:srgbClr val="008F8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grpSp>
        <p:sp>
          <p:nvSpPr>
            <p:cNvPr id="201" name="Rectangle 200">
              <a:extLst>
                <a:ext uri="{FF2B5EF4-FFF2-40B4-BE49-F238E27FC236}">
                  <a16:creationId xmlns:a16="http://schemas.microsoft.com/office/drawing/2014/main" id="{7AB8F119-F5FE-2149-92FB-75F8830718E6}"/>
                </a:ext>
              </a:extLst>
            </p:cNvPr>
            <p:cNvSpPr/>
            <p:nvPr/>
          </p:nvSpPr>
          <p:spPr bwMode="gray">
            <a:xfrm>
              <a:off x="12308083" y="1537911"/>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12528890" y="1540429"/>
              <a:ext cx="630936" cy="184666"/>
            </a:xfrm>
            <a:prstGeom prst="rect">
              <a:avLst/>
            </a:prstGeom>
            <a:noFill/>
          </p:spPr>
          <p:txBody>
            <a:bodyPr wrap="square" lIns="0" rIns="0" rtlCol="0">
              <a:spAutoFit/>
            </a:bodyPr>
            <a:lstStyle/>
            <a:p>
              <a:r>
                <a:rPr lang="en-US" sz="600">
                  <a:solidFill>
                    <a:schemeClr val="tx1"/>
                  </a:solidFill>
                  <a:latin typeface="+mn-lt"/>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12308083" y="242704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12528890" y="2429561"/>
              <a:ext cx="630936" cy="184666"/>
            </a:xfrm>
            <a:prstGeom prst="rect">
              <a:avLst/>
            </a:prstGeom>
            <a:noFill/>
          </p:spPr>
          <p:txBody>
            <a:bodyPr wrap="square" lIns="0" rIns="0" rtlCol="0">
              <a:spAutoFit/>
            </a:bodyPr>
            <a:lstStyle/>
            <a:p>
              <a:r>
                <a:rPr lang="en-US" sz="600">
                  <a:solidFill>
                    <a:schemeClr val="tx1"/>
                  </a:solidFill>
                  <a:latin typeface="+mn-lt"/>
                </a:rPr>
                <a:t>Bright Green</a:t>
              </a:r>
            </a:p>
          </p:txBody>
        </p:sp>
        <p:sp>
          <p:nvSpPr>
            <p:cNvPr id="2" name="Rectangle 1">
              <a:extLst>
                <a:ext uri="{FF2B5EF4-FFF2-40B4-BE49-F238E27FC236}">
                  <a16:creationId xmlns:a16="http://schemas.microsoft.com/office/drawing/2014/main" id="{6E8E6B63-0E18-2B5F-AE36-0B95FD27C5A3}"/>
                </a:ext>
              </a:extLst>
            </p:cNvPr>
            <p:cNvSpPr/>
            <p:nvPr userDrawn="1"/>
          </p:nvSpPr>
          <p:spPr bwMode="gray">
            <a:xfrm>
              <a:off x="12308083" y="1760194"/>
              <a:ext cx="187184" cy="187184"/>
            </a:xfrm>
            <a:prstGeom prst="rect">
              <a:avLst/>
            </a:prstGeom>
            <a:solidFill>
              <a:srgbClr val="1154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3" name="TextBox 2">
              <a:extLst>
                <a:ext uri="{FF2B5EF4-FFF2-40B4-BE49-F238E27FC236}">
                  <a16:creationId xmlns:a16="http://schemas.microsoft.com/office/drawing/2014/main" id="{27EB9D1A-6121-A3E4-E861-1158A6F8F31B}"/>
                </a:ext>
              </a:extLst>
            </p:cNvPr>
            <p:cNvSpPr txBox="1"/>
            <p:nvPr userDrawn="1"/>
          </p:nvSpPr>
          <p:spPr>
            <a:xfrm>
              <a:off x="12529603" y="1762712"/>
              <a:ext cx="630223" cy="184666"/>
            </a:xfrm>
            <a:prstGeom prst="rect">
              <a:avLst/>
            </a:prstGeom>
            <a:noFill/>
          </p:spPr>
          <p:txBody>
            <a:bodyPr wrap="square" lIns="0" rIns="0" rtlCol="0">
              <a:spAutoFit/>
            </a:bodyPr>
            <a:lstStyle/>
            <a:p>
              <a:r>
                <a:rPr lang="en-US" sz="600">
                  <a:solidFill>
                    <a:schemeClr val="tx1"/>
                  </a:solidFill>
                  <a:latin typeface="+mn-lt"/>
                </a:rPr>
                <a:t>Emerald</a:t>
              </a:r>
            </a:p>
          </p:txBody>
        </p:sp>
        <p:grpSp>
          <p:nvGrpSpPr>
            <p:cNvPr id="140" name="Group 139">
              <a:extLst>
                <a:ext uri="{FF2B5EF4-FFF2-40B4-BE49-F238E27FC236}">
                  <a16:creationId xmlns:a16="http://schemas.microsoft.com/office/drawing/2014/main" id="{4FEE050B-86F4-9EDD-08D3-38751AEE6DF2}"/>
                </a:ext>
              </a:extLst>
            </p:cNvPr>
            <p:cNvGrpSpPr/>
            <p:nvPr userDrawn="1"/>
          </p:nvGrpSpPr>
          <p:grpSpPr>
            <a:xfrm>
              <a:off x="12308083" y="3097878"/>
              <a:ext cx="851744" cy="187184"/>
              <a:chOff x="12308083" y="3083609"/>
              <a:chExt cx="851744" cy="187184"/>
            </a:xfrm>
          </p:grpSpPr>
          <p:sp>
            <p:nvSpPr>
              <p:cNvPr id="18" name="Rectangle 17">
                <a:extLst>
                  <a:ext uri="{FF2B5EF4-FFF2-40B4-BE49-F238E27FC236}">
                    <a16:creationId xmlns:a16="http://schemas.microsoft.com/office/drawing/2014/main" id="{60D001CB-AF8A-510D-F4E9-A6191A4A78C5}"/>
                  </a:ext>
                </a:extLst>
              </p:cNvPr>
              <p:cNvSpPr/>
              <p:nvPr userDrawn="1"/>
            </p:nvSpPr>
            <p:spPr bwMode="gray">
              <a:xfrm>
                <a:off x="12308083" y="3083609"/>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19" name="Rectangle 18">
                <a:extLst>
                  <a:ext uri="{FF2B5EF4-FFF2-40B4-BE49-F238E27FC236}">
                    <a16:creationId xmlns:a16="http://schemas.microsoft.com/office/drawing/2014/main" id="{ED5362CE-1EF2-DC8F-37D5-6E294F2C5F7B}"/>
                  </a:ext>
                </a:extLst>
              </p:cNvPr>
              <p:cNvSpPr/>
              <p:nvPr userDrawn="1"/>
            </p:nvSpPr>
            <p:spPr bwMode="gray">
              <a:xfrm>
                <a:off x="12529603" y="3083609"/>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20" name="Rectangle 19">
                <a:extLst>
                  <a:ext uri="{FF2B5EF4-FFF2-40B4-BE49-F238E27FC236}">
                    <a16:creationId xmlns:a16="http://schemas.microsoft.com/office/drawing/2014/main" id="{9DE12495-5861-0BBD-F5F7-B7ED59C0424F}"/>
                  </a:ext>
                </a:extLst>
              </p:cNvPr>
              <p:cNvSpPr/>
              <p:nvPr userDrawn="1"/>
            </p:nvSpPr>
            <p:spPr bwMode="gray">
              <a:xfrm>
                <a:off x="12751123" y="3083609"/>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21" name="Rectangle 20">
                <a:extLst>
                  <a:ext uri="{FF2B5EF4-FFF2-40B4-BE49-F238E27FC236}">
                    <a16:creationId xmlns:a16="http://schemas.microsoft.com/office/drawing/2014/main" id="{5B3A3D63-78D8-0C24-20F2-047870D04711}"/>
                  </a:ext>
                </a:extLst>
              </p:cNvPr>
              <p:cNvSpPr/>
              <p:nvPr userDrawn="1"/>
            </p:nvSpPr>
            <p:spPr bwMode="gray">
              <a:xfrm>
                <a:off x="12972643" y="3083609"/>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grpSp>
        <p:grpSp>
          <p:nvGrpSpPr>
            <p:cNvPr id="139" name="Group 138">
              <a:extLst>
                <a:ext uri="{FF2B5EF4-FFF2-40B4-BE49-F238E27FC236}">
                  <a16:creationId xmlns:a16="http://schemas.microsoft.com/office/drawing/2014/main" id="{3528DAC4-D111-4C1B-5FDB-C04C7AC728C5}"/>
                </a:ext>
              </a:extLst>
            </p:cNvPr>
            <p:cNvGrpSpPr/>
            <p:nvPr userDrawn="1"/>
          </p:nvGrpSpPr>
          <p:grpSpPr>
            <a:xfrm>
              <a:off x="12308083" y="2872314"/>
              <a:ext cx="851744" cy="187184"/>
              <a:chOff x="12308083" y="2872314"/>
              <a:chExt cx="851744" cy="187184"/>
            </a:xfrm>
          </p:grpSpPr>
          <p:sp>
            <p:nvSpPr>
              <p:cNvPr id="24" name="Rectangle 23">
                <a:extLst>
                  <a:ext uri="{FF2B5EF4-FFF2-40B4-BE49-F238E27FC236}">
                    <a16:creationId xmlns:a16="http://schemas.microsoft.com/office/drawing/2014/main" id="{F0BE49B6-BFF2-0D68-3894-BBC0F185ED5A}"/>
                  </a:ext>
                </a:extLst>
              </p:cNvPr>
              <p:cNvSpPr/>
              <p:nvPr userDrawn="1"/>
            </p:nvSpPr>
            <p:spPr bwMode="gray">
              <a:xfrm>
                <a:off x="12308083" y="2872314"/>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25" name="Rectangle 24">
                <a:extLst>
                  <a:ext uri="{FF2B5EF4-FFF2-40B4-BE49-F238E27FC236}">
                    <a16:creationId xmlns:a16="http://schemas.microsoft.com/office/drawing/2014/main" id="{1BC1A38E-3746-C101-25BC-4DC2F2CC7D8B}"/>
                  </a:ext>
                </a:extLst>
              </p:cNvPr>
              <p:cNvSpPr/>
              <p:nvPr userDrawn="1"/>
            </p:nvSpPr>
            <p:spPr bwMode="gray">
              <a:xfrm>
                <a:off x="12529603" y="2872314"/>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26" name="Rectangle 25">
                <a:extLst>
                  <a:ext uri="{FF2B5EF4-FFF2-40B4-BE49-F238E27FC236}">
                    <a16:creationId xmlns:a16="http://schemas.microsoft.com/office/drawing/2014/main" id="{60FB8B51-204B-21C1-6B54-F2F524975BB5}"/>
                  </a:ext>
                </a:extLst>
              </p:cNvPr>
              <p:cNvSpPr/>
              <p:nvPr userDrawn="1"/>
            </p:nvSpPr>
            <p:spPr bwMode="gray">
              <a:xfrm>
                <a:off x="12751123" y="2872314"/>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27" name="Rectangle 26">
                <a:extLst>
                  <a:ext uri="{FF2B5EF4-FFF2-40B4-BE49-F238E27FC236}">
                    <a16:creationId xmlns:a16="http://schemas.microsoft.com/office/drawing/2014/main" id="{583A1F5D-8321-3B99-3AB1-9D7F6C5C3CE7}"/>
                  </a:ext>
                </a:extLst>
              </p:cNvPr>
              <p:cNvSpPr/>
              <p:nvPr userDrawn="1"/>
            </p:nvSpPr>
            <p:spPr bwMode="gray">
              <a:xfrm>
                <a:off x="12972643" y="2872314"/>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grpSp>
        <p:sp>
          <p:nvSpPr>
            <p:cNvPr id="134" name="Rectangle 133">
              <a:extLst>
                <a:ext uri="{FF2B5EF4-FFF2-40B4-BE49-F238E27FC236}">
                  <a16:creationId xmlns:a16="http://schemas.microsoft.com/office/drawing/2014/main" id="{CB808209-9C0A-DED4-F99D-563E57934075}"/>
                </a:ext>
              </a:extLst>
            </p:cNvPr>
            <p:cNvSpPr/>
            <p:nvPr userDrawn="1"/>
          </p:nvSpPr>
          <p:spPr bwMode="gray">
            <a:xfrm>
              <a:off x="12308083" y="3549006"/>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135" name="TextBox 134">
              <a:extLst>
                <a:ext uri="{FF2B5EF4-FFF2-40B4-BE49-F238E27FC236}">
                  <a16:creationId xmlns:a16="http://schemas.microsoft.com/office/drawing/2014/main" id="{428AFC82-17B1-F422-B038-FD32BCA7612D}"/>
                </a:ext>
              </a:extLst>
            </p:cNvPr>
            <p:cNvSpPr txBox="1"/>
            <p:nvPr userDrawn="1"/>
          </p:nvSpPr>
          <p:spPr>
            <a:xfrm>
              <a:off x="12529603" y="3550265"/>
              <a:ext cx="630223" cy="184666"/>
            </a:xfrm>
            <a:prstGeom prst="rect">
              <a:avLst/>
            </a:prstGeom>
            <a:noFill/>
          </p:spPr>
          <p:txBody>
            <a:bodyPr wrap="square" lIns="0" rIns="0" rtlCol="0">
              <a:spAutoFit/>
            </a:bodyPr>
            <a:lstStyle/>
            <a:p>
              <a:r>
                <a:rPr lang="en-US" sz="600">
                  <a:solidFill>
                    <a:schemeClr val="tx1"/>
                  </a:solidFill>
                  <a:latin typeface="+mn-lt"/>
                </a:rPr>
                <a:t>5% Charcoal</a:t>
              </a:r>
            </a:p>
          </p:txBody>
        </p:sp>
        <p:sp>
          <p:nvSpPr>
            <p:cNvPr id="136" name="Rectangle 135">
              <a:extLst>
                <a:ext uri="{FF2B5EF4-FFF2-40B4-BE49-F238E27FC236}">
                  <a16:creationId xmlns:a16="http://schemas.microsoft.com/office/drawing/2014/main" id="{E58C9DF5-996C-1AE8-94E2-51D752085FF3}"/>
                </a:ext>
              </a:extLst>
            </p:cNvPr>
            <p:cNvSpPr/>
            <p:nvPr userDrawn="1"/>
          </p:nvSpPr>
          <p:spPr bwMode="gray">
            <a:xfrm>
              <a:off x="12308083" y="332344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latin typeface="+mn-lt"/>
              </a:endParaRPr>
            </a:p>
          </p:txBody>
        </p:sp>
        <p:sp>
          <p:nvSpPr>
            <p:cNvPr id="137" name="TextBox 136">
              <a:extLst>
                <a:ext uri="{FF2B5EF4-FFF2-40B4-BE49-F238E27FC236}">
                  <a16:creationId xmlns:a16="http://schemas.microsoft.com/office/drawing/2014/main" id="{F476FE1F-1A3D-9826-393D-2735CFF58996}"/>
                </a:ext>
              </a:extLst>
            </p:cNvPr>
            <p:cNvSpPr txBox="1"/>
            <p:nvPr userDrawn="1"/>
          </p:nvSpPr>
          <p:spPr>
            <a:xfrm>
              <a:off x="12529603" y="3324701"/>
              <a:ext cx="630223" cy="184666"/>
            </a:xfrm>
            <a:prstGeom prst="rect">
              <a:avLst/>
            </a:prstGeom>
            <a:noFill/>
          </p:spPr>
          <p:txBody>
            <a:bodyPr wrap="square" lIns="0" rIns="0" rtlCol="0">
              <a:spAutoFit/>
            </a:bodyPr>
            <a:lstStyle/>
            <a:p>
              <a:r>
                <a:rPr lang="en-US" sz="600">
                  <a:solidFill>
                    <a:schemeClr val="tx1"/>
                  </a:solidFill>
                  <a:latin typeface="+mn-lt"/>
                </a:rPr>
                <a:t>Red</a:t>
              </a:r>
            </a:p>
          </p:txBody>
        </p:sp>
      </p:grpSp>
    </p:spTree>
    <p:extLst>
      <p:ext uri="{BB962C8B-B14F-4D97-AF65-F5344CB8AC3E}">
        <p14:creationId xmlns:p14="http://schemas.microsoft.com/office/powerpoint/2010/main" val="132720365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30" r:id="rId16"/>
    <p:sldLayoutId id="2147483833" r:id="rId17"/>
    <p:sldLayoutId id="2147483896" r:id="rId18"/>
    <p:sldLayoutId id="2147483967"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D5707B5-4B1B-A573-DE59-103C6B9B3857}"/>
              </a:ext>
            </a:extLst>
          </p:cNvPr>
          <p:cNvGraphicFramePr>
            <a:graphicFrameLocks/>
          </p:cNvGraphicFramePr>
          <p:nvPr userDrawn="1">
            <p:custDataLst>
              <p:tags r:id="rId26"/>
            </p:custDataLst>
            <p:extLst>
              <p:ext uri="{D42A27DB-BD31-4B8C-83A1-F6EECF244321}">
                <p14:modId xmlns:p14="http://schemas.microsoft.com/office/powerpoint/2010/main" val="262161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6" progId="TCLayout.ActiveDocument.1">
                  <p:embed/>
                </p:oleObj>
              </mc:Choice>
              <mc:Fallback>
                <p:oleObj name="think-cell Slide" r:id="rId27" imgW="395" imgH="396" progId="TCLayout.ActiveDocument.1">
                  <p:embed/>
                  <p:pic>
                    <p:nvPicPr>
                      <p:cNvPr id="12" name="think-cell data - do not delete" hidden="1">
                        <a:extLst>
                          <a:ext uri="{FF2B5EF4-FFF2-40B4-BE49-F238E27FC236}">
                            <a16:creationId xmlns:a16="http://schemas.microsoft.com/office/drawing/2014/main" id="{0D5707B5-4B1B-A573-DE59-103C6B9B385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j-lt"/>
                <a:ea typeface="+mn-ea"/>
                <a:cs typeface="+mn-cs"/>
              </a:rPr>
              <a:t>IQVIA Template (V4.0.0)</a:t>
            </a:r>
            <a:endParaRPr lang="en-US" sz="1000" kern="1200">
              <a:solidFill>
                <a:schemeClr val="bg1">
                  <a:lumMod val="50000"/>
                </a:schemeClr>
              </a:solidFill>
              <a:latin typeface="+mj-lt"/>
              <a:ea typeface="Arial" charset="0"/>
              <a:cs typeface="Arial" charset="0"/>
            </a:endParaRPr>
          </a:p>
        </p:txBody>
      </p:sp>
      <p:grpSp>
        <p:nvGrpSpPr>
          <p:cNvPr id="142" name="Group 141">
            <a:extLst>
              <a:ext uri="{FF2B5EF4-FFF2-40B4-BE49-F238E27FC236}">
                <a16:creationId xmlns:a16="http://schemas.microsoft.com/office/drawing/2014/main" id="{29FB6BC3-1B53-2FE2-764B-A15DD9E2BD6B}"/>
              </a:ext>
            </a:extLst>
          </p:cNvPr>
          <p:cNvGrpSpPr/>
          <p:nvPr userDrawn="1"/>
        </p:nvGrpSpPr>
        <p:grpSpPr>
          <a:xfrm>
            <a:off x="12308083" y="0"/>
            <a:ext cx="851744" cy="3736190"/>
            <a:chOff x="12308083" y="0"/>
            <a:chExt cx="851744" cy="3736190"/>
          </a:xfrm>
        </p:grpSpPr>
        <p:grpSp>
          <p:nvGrpSpPr>
            <p:cNvPr id="11" name="Group 10">
              <a:extLst>
                <a:ext uri="{FF2B5EF4-FFF2-40B4-BE49-F238E27FC236}">
                  <a16:creationId xmlns:a16="http://schemas.microsoft.com/office/drawing/2014/main" id="{E8B1BCA1-589B-A8E6-DE21-36891188309A}"/>
                </a:ext>
              </a:extLst>
            </p:cNvPr>
            <p:cNvGrpSpPr/>
            <p:nvPr userDrawn="1"/>
          </p:nvGrpSpPr>
          <p:grpSpPr>
            <a:xfrm>
              <a:off x="12308083" y="2649326"/>
              <a:ext cx="851743" cy="187184"/>
              <a:chOff x="12308083" y="2627114"/>
              <a:chExt cx="851743" cy="187184"/>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12308083" y="2627114"/>
                <a:ext cx="187184" cy="187184"/>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12751123" y="2627114"/>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12972642" y="2627114"/>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12529603" y="2627114"/>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grpSp>
        <p:sp>
          <p:nvSpPr>
            <p:cNvPr id="156" name="TextBox 155">
              <a:extLst>
                <a:ext uri="{FF2B5EF4-FFF2-40B4-BE49-F238E27FC236}">
                  <a16:creationId xmlns:a16="http://schemas.microsoft.com/office/drawing/2014/main" id="{F396C095-9B66-F444-862E-DE666BC5DC9E}"/>
                </a:ext>
              </a:extLst>
            </p:cNvPr>
            <p:cNvSpPr txBox="1"/>
            <p:nvPr/>
          </p:nvSpPr>
          <p:spPr>
            <a:xfrm>
              <a:off x="12308083" y="0"/>
              <a:ext cx="851744" cy="184666"/>
            </a:xfrm>
            <a:prstGeom prst="rect">
              <a:avLst/>
            </a:prstGeom>
            <a:noFill/>
          </p:spPr>
          <p:txBody>
            <a:bodyPr wrap="square" lIns="0" rIns="0" rtlCol="0">
              <a:spAutoFit/>
            </a:bodyPr>
            <a:lstStyle/>
            <a:p>
              <a:pPr algn="ctr"/>
              <a:r>
                <a:rPr lang="en-US" sz="600">
                  <a:solidFill>
                    <a:schemeClr val="tx1"/>
                  </a:solidFill>
                  <a:latin typeface="+mj-lt"/>
                </a:rPr>
                <a:t>100%  50%   75%   25%</a:t>
              </a:r>
            </a:p>
          </p:txBody>
        </p:sp>
        <p:grpSp>
          <p:nvGrpSpPr>
            <p:cNvPr id="6" name="Group 5">
              <a:extLst>
                <a:ext uri="{FF2B5EF4-FFF2-40B4-BE49-F238E27FC236}">
                  <a16:creationId xmlns:a16="http://schemas.microsoft.com/office/drawing/2014/main" id="{6307F83F-C095-6957-9133-BF721D059EDD}"/>
                </a:ext>
              </a:extLst>
            </p:cNvPr>
            <p:cNvGrpSpPr/>
            <p:nvPr userDrawn="1"/>
          </p:nvGrpSpPr>
          <p:grpSpPr>
            <a:xfrm>
              <a:off x="12308083" y="419226"/>
              <a:ext cx="851743" cy="188638"/>
              <a:chOff x="12308083" y="418248"/>
              <a:chExt cx="851743" cy="188638"/>
            </a:xfrm>
          </p:grpSpPr>
          <p:sp>
            <p:nvSpPr>
              <p:cNvPr id="164" name="Rectangle 163">
                <a:extLst>
                  <a:ext uri="{FF2B5EF4-FFF2-40B4-BE49-F238E27FC236}">
                    <a16:creationId xmlns:a16="http://schemas.microsoft.com/office/drawing/2014/main" id="{51FF5A3B-DFB1-5F43-A2EF-04D81F0CA37E}"/>
                  </a:ext>
                </a:extLst>
              </p:cNvPr>
              <p:cNvSpPr/>
              <p:nvPr/>
            </p:nvSpPr>
            <p:spPr bwMode="gray">
              <a:xfrm>
                <a:off x="12529603" y="41824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12751122" y="41824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12972642" y="41824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12308083" y="41970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grpSp>
          <p:nvGrpSpPr>
            <p:cNvPr id="4" name="Group 3">
              <a:extLst>
                <a:ext uri="{FF2B5EF4-FFF2-40B4-BE49-F238E27FC236}">
                  <a16:creationId xmlns:a16="http://schemas.microsoft.com/office/drawing/2014/main" id="{54D31852-4FF2-4DC7-9F4F-12F33E8E006F}"/>
                </a:ext>
              </a:extLst>
            </p:cNvPr>
            <p:cNvGrpSpPr/>
            <p:nvPr userDrawn="1"/>
          </p:nvGrpSpPr>
          <p:grpSpPr>
            <a:xfrm>
              <a:off x="12308083" y="196943"/>
              <a:ext cx="851743" cy="187184"/>
              <a:chOff x="12308083" y="196943"/>
              <a:chExt cx="851743" cy="187184"/>
            </a:xfrm>
          </p:grpSpPr>
          <p:sp>
            <p:nvSpPr>
              <p:cNvPr id="163" name="Rectangle 162">
                <a:extLst>
                  <a:ext uri="{FF2B5EF4-FFF2-40B4-BE49-F238E27FC236}">
                    <a16:creationId xmlns:a16="http://schemas.microsoft.com/office/drawing/2014/main" id="{FABDCF59-39B4-D741-804B-DA8E5356DEE0}"/>
                  </a:ext>
                </a:extLst>
              </p:cNvPr>
              <p:cNvSpPr/>
              <p:nvPr/>
            </p:nvSpPr>
            <p:spPr bwMode="gray">
              <a:xfrm>
                <a:off x="12529603" y="19694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12751122" y="19694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12972642" y="19694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12308083" y="19694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grpSp>
          <p:nvGrpSpPr>
            <p:cNvPr id="7" name="Group 6">
              <a:extLst>
                <a:ext uri="{FF2B5EF4-FFF2-40B4-BE49-F238E27FC236}">
                  <a16:creationId xmlns:a16="http://schemas.microsoft.com/office/drawing/2014/main" id="{0AA79F80-D902-1962-861B-63DE988E9D1F}"/>
                </a:ext>
              </a:extLst>
            </p:cNvPr>
            <p:cNvGrpSpPr/>
            <p:nvPr userDrawn="1"/>
          </p:nvGrpSpPr>
          <p:grpSpPr>
            <a:xfrm>
              <a:off x="12308083" y="1087529"/>
              <a:ext cx="851743" cy="190092"/>
              <a:chOff x="12308083" y="1080414"/>
              <a:chExt cx="851743" cy="190092"/>
            </a:xfrm>
          </p:grpSpPr>
          <p:sp>
            <p:nvSpPr>
              <p:cNvPr id="178" name="Rectangle 177">
                <a:extLst>
                  <a:ext uri="{FF2B5EF4-FFF2-40B4-BE49-F238E27FC236}">
                    <a16:creationId xmlns:a16="http://schemas.microsoft.com/office/drawing/2014/main" id="{C91C1BDA-5D81-794C-B1A7-67CC9CE1EE1E}"/>
                  </a:ext>
                </a:extLst>
              </p:cNvPr>
              <p:cNvSpPr/>
              <p:nvPr/>
            </p:nvSpPr>
            <p:spPr bwMode="gray">
              <a:xfrm>
                <a:off x="12529603" y="1080414"/>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12751122" y="1080414"/>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12972642" y="1080414"/>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12308083" y="1083322"/>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grpSp>
          <p:nvGrpSpPr>
            <p:cNvPr id="10" name="Group 9">
              <a:extLst>
                <a:ext uri="{FF2B5EF4-FFF2-40B4-BE49-F238E27FC236}">
                  <a16:creationId xmlns:a16="http://schemas.microsoft.com/office/drawing/2014/main" id="{6E9EF6F7-8078-2AA2-2468-0446932D2A36}"/>
                </a:ext>
              </a:extLst>
            </p:cNvPr>
            <p:cNvGrpSpPr/>
            <p:nvPr userDrawn="1"/>
          </p:nvGrpSpPr>
          <p:grpSpPr>
            <a:xfrm>
              <a:off x="12308083" y="2204760"/>
              <a:ext cx="851743" cy="187184"/>
              <a:chOff x="12308083" y="2181904"/>
              <a:chExt cx="851743" cy="187184"/>
            </a:xfrm>
          </p:grpSpPr>
          <p:sp>
            <p:nvSpPr>
              <p:cNvPr id="184" name="Rectangle 183">
                <a:extLst>
                  <a:ext uri="{FF2B5EF4-FFF2-40B4-BE49-F238E27FC236}">
                    <a16:creationId xmlns:a16="http://schemas.microsoft.com/office/drawing/2014/main" id="{A9EA6558-DD3B-7A4C-91B0-97252C1832CF}"/>
                  </a:ext>
                </a:extLst>
              </p:cNvPr>
              <p:cNvSpPr/>
              <p:nvPr/>
            </p:nvSpPr>
            <p:spPr bwMode="gray">
              <a:xfrm>
                <a:off x="12308083" y="2181904"/>
                <a:ext cx="187184" cy="187184"/>
              </a:xfrm>
              <a:prstGeom prst="rect">
                <a:avLst/>
              </a:prstGeom>
              <a:solidFill>
                <a:srgbClr val="0272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12529603" y="2181904"/>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12751122" y="2181904"/>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12972642" y="2181904"/>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grpSp>
          <p:nvGrpSpPr>
            <p:cNvPr id="9" name="Group 8">
              <a:extLst>
                <a:ext uri="{FF2B5EF4-FFF2-40B4-BE49-F238E27FC236}">
                  <a16:creationId xmlns:a16="http://schemas.microsoft.com/office/drawing/2014/main" id="{6B5EA531-8644-120F-18B0-28D3A1DB590C}"/>
                </a:ext>
              </a:extLst>
            </p:cNvPr>
            <p:cNvGrpSpPr/>
            <p:nvPr userDrawn="1"/>
          </p:nvGrpSpPr>
          <p:grpSpPr>
            <a:xfrm>
              <a:off x="12308083" y="1982477"/>
              <a:ext cx="851743" cy="187184"/>
              <a:chOff x="12308083" y="1960536"/>
              <a:chExt cx="851743" cy="187184"/>
            </a:xfrm>
          </p:grpSpPr>
          <p:sp>
            <p:nvSpPr>
              <p:cNvPr id="169" name="Rectangle 168">
                <a:extLst>
                  <a:ext uri="{FF2B5EF4-FFF2-40B4-BE49-F238E27FC236}">
                    <a16:creationId xmlns:a16="http://schemas.microsoft.com/office/drawing/2014/main" id="{3C6FF5B6-5DBB-B04F-B902-B9A93A757215}"/>
                  </a:ext>
                </a:extLst>
              </p:cNvPr>
              <p:cNvSpPr/>
              <p:nvPr/>
            </p:nvSpPr>
            <p:spPr bwMode="gray">
              <a:xfrm>
                <a:off x="12308083" y="1960536"/>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12529603" y="1960536"/>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12751122" y="1960536"/>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12972642" y="1960536"/>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sp>
          <p:nvSpPr>
            <p:cNvPr id="191" name="Rectangle 190">
              <a:extLst>
                <a:ext uri="{FF2B5EF4-FFF2-40B4-BE49-F238E27FC236}">
                  <a16:creationId xmlns:a16="http://schemas.microsoft.com/office/drawing/2014/main" id="{68D56737-D7FA-9241-BF90-CDAA19D3F175}"/>
                </a:ext>
              </a:extLst>
            </p:cNvPr>
            <p:cNvSpPr/>
            <p:nvPr/>
          </p:nvSpPr>
          <p:spPr bwMode="gray">
            <a:xfrm>
              <a:off x="12308083" y="643208"/>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12528890" y="645726"/>
              <a:ext cx="630936" cy="184666"/>
            </a:xfrm>
            <a:prstGeom prst="rect">
              <a:avLst/>
            </a:prstGeom>
            <a:noFill/>
          </p:spPr>
          <p:txBody>
            <a:bodyPr wrap="square" lIns="0" rIns="0" rtlCol="0">
              <a:spAutoFit/>
            </a:bodyPr>
            <a:lstStyle/>
            <a:p>
              <a:r>
                <a:rPr lang="en-US" sz="600">
                  <a:solidFill>
                    <a:schemeClr val="tx1"/>
                  </a:solidFill>
                  <a:latin typeface="+mj-lt"/>
                </a:rPr>
                <a:t>Bright Blue</a:t>
              </a: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12308083" y="865246"/>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95" name="TextBox 194">
              <a:extLst>
                <a:ext uri="{FF2B5EF4-FFF2-40B4-BE49-F238E27FC236}">
                  <a16:creationId xmlns:a16="http://schemas.microsoft.com/office/drawing/2014/main" id="{72B3BE3E-8803-DD42-B96E-2D6A35B5C8FE}"/>
                </a:ext>
              </a:extLst>
            </p:cNvPr>
            <p:cNvSpPr txBox="1"/>
            <p:nvPr/>
          </p:nvSpPr>
          <p:spPr>
            <a:xfrm>
              <a:off x="12529603" y="867764"/>
              <a:ext cx="630223" cy="184666"/>
            </a:xfrm>
            <a:prstGeom prst="rect">
              <a:avLst/>
            </a:prstGeom>
            <a:noFill/>
          </p:spPr>
          <p:txBody>
            <a:bodyPr wrap="square" lIns="0" rIns="0" rtlCol="0">
              <a:spAutoFit/>
            </a:bodyPr>
            <a:lstStyle/>
            <a:p>
              <a:r>
                <a:rPr lang="en-US" sz="600">
                  <a:latin typeface="+mj-lt"/>
                </a:rPr>
                <a:t>Indigo</a:t>
              </a:r>
              <a:endParaRPr lang="en-US" sz="600">
                <a:solidFill>
                  <a:schemeClr val="tx1"/>
                </a:solidFill>
                <a:latin typeface="+mj-lt"/>
              </a:endParaRPr>
            </a:p>
          </p:txBody>
        </p:sp>
        <p:grpSp>
          <p:nvGrpSpPr>
            <p:cNvPr id="8" name="Group 7">
              <a:extLst>
                <a:ext uri="{FF2B5EF4-FFF2-40B4-BE49-F238E27FC236}">
                  <a16:creationId xmlns:a16="http://schemas.microsoft.com/office/drawing/2014/main" id="{CCE559D8-A3FE-2ADF-C818-6A2239BA9C8D}"/>
                </a:ext>
              </a:extLst>
            </p:cNvPr>
            <p:cNvGrpSpPr/>
            <p:nvPr userDrawn="1"/>
          </p:nvGrpSpPr>
          <p:grpSpPr>
            <a:xfrm>
              <a:off x="12308083" y="1312720"/>
              <a:ext cx="851743" cy="190092"/>
              <a:chOff x="12308083" y="1309014"/>
              <a:chExt cx="851743" cy="190092"/>
            </a:xfrm>
          </p:grpSpPr>
          <p:sp>
            <p:nvSpPr>
              <p:cNvPr id="197" name="Rectangle 196">
                <a:extLst>
                  <a:ext uri="{FF2B5EF4-FFF2-40B4-BE49-F238E27FC236}">
                    <a16:creationId xmlns:a16="http://schemas.microsoft.com/office/drawing/2014/main" id="{D6E8F370-88B7-B143-BECC-56B2696E26F2}"/>
                  </a:ext>
                </a:extLst>
              </p:cNvPr>
              <p:cNvSpPr/>
              <p:nvPr/>
            </p:nvSpPr>
            <p:spPr bwMode="gray">
              <a:xfrm>
                <a:off x="12529603" y="1309014"/>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12751122" y="1309014"/>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12972642" y="1309014"/>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12308083" y="1311922"/>
                <a:ext cx="187184" cy="187184"/>
              </a:xfrm>
              <a:prstGeom prst="rect">
                <a:avLst/>
              </a:prstGeom>
              <a:solidFill>
                <a:srgbClr val="008F8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sp>
          <p:nvSpPr>
            <p:cNvPr id="201" name="Rectangle 200">
              <a:extLst>
                <a:ext uri="{FF2B5EF4-FFF2-40B4-BE49-F238E27FC236}">
                  <a16:creationId xmlns:a16="http://schemas.microsoft.com/office/drawing/2014/main" id="{7AB8F119-F5FE-2149-92FB-75F8830718E6}"/>
                </a:ext>
              </a:extLst>
            </p:cNvPr>
            <p:cNvSpPr/>
            <p:nvPr/>
          </p:nvSpPr>
          <p:spPr bwMode="gray">
            <a:xfrm>
              <a:off x="12308083" y="1537911"/>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12528890" y="1540429"/>
              <a:ext cx="630936" cy="184666"/>
            </a:xfrm>
            <a:prstGeom prst="rect">
              <a:avLst/>
            </a:prstGeom>
            <a:noFill/>
          </p:spPr>
          <p:txBody>
            <a:bodyPr wrap="square" lIns="0" rIns="0" rtlCol="0">
              <a:spAutoFit/>
            </a:bodyPr>
            <a:lstStyle/>
            <a:p>
              <a:r>
                <a:rPr lang="en-US" sz="600">
                  <a:solidFill>
                    <a:schemeClr val="tx1"/>
                  </a:solidFill>
                  <a:latin typeface="+mj-lt"/>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12308083" y="242704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12528890" y="2429561"/>
              <a:ext cx="630936" cy="184666"/>
            </a:xfrm>
            <a:prstGeom prst="rect">
              <a:avLst/>
            </a:prstGeom>
            <a:noFill/>
          </p:spPr>
          <p:txBody>
            <a:bodyPr wrap="square" lIns="0" rIns="0" rtlCol="0">
              <a:spAutoFit/>
            </a:bodyPr>
            <a:lstStyle/>
            <a:p>
              <a:r>
                <a:rPr lang="en-US" sz="600">
                  <a:solidFill>
                    <a:schemeClr val="tx1"/>
                  </a:solidFill>
                  <a:latin typeface="+mj-lt"/>
                </a:rPr>
                <a:t>Bright Green</a:t>
              </a:r>
            </a:p>
          </p:txBody>
        </p:sp>
        <p:sp>
          <p:nvSpPr>
            <p:cNvPr id="2" name="Rectangle 1">
              <a:extLst>
                <a:ext uri="{FF2B5EF4-FFF2-40B4-BE49-F238E27FC236}">
                  <a16:creationId xmlns:a16="http://schemas.microsoft.com/office/drawing/2014/main" id="{6E8E6B63-0E18-2B5F-AE36-0B95FD27C5A3}"/>
                </a:ext>
              </a:extLst>
            </p:cNvPr>
            <p:cNvSpPr/>
            <p:nvPr userDrawn="1"/>
          </p:nvSpPr>
          <p:spPr bwMode="gray">
            <a:xfrm>
              <a:off x="12308083" y="1760194"/>
              <a:ext cx="187184" cy="187184"/>
            </a:xfrm>
            <a:prstGeom prst="rect">
              <a:avLst/>
            </a:prstGeom>
            <a:solidFill>
              <a:srgbClr val="1154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3" name="TextBox 2">
              <a:extLst>
                <a:ext uri="{FF2B5EF4-FFF2-40B4-BE49-F238E27FC236}">
                  <a16:creationId xmlns:a16="http://schemas.microsoft.com/office/drawing/2014/main" id="{27EB9D1A-6121-A3E4-E861-1158A6F8F31B}"/>
                </a:ext>
              </a:extLst>
            </p:cNvPr>
            <p:cNvSpPr txBox="1"/>
            <p:nvPr userDrawn="1"/>
          </p:nvSpPr>
          <p:spPr>
            <a:xfrm>
              <a:off x="12529603" y="1762712"/>
              <a:ext cx="630223" cy="184666"/>
            </a:xfrm>
            <a:prstGeom prst="rect">
              <a:avLst/>
            </a:prstGeom>
            <a:noFill/>
          </p:spPr>
          <p:txBody>
            <a:bodyPr wrap="square" lIns="0" rIns="0" rtlCol="0">
              <a:spAutoFit/>
            </a:bodyPr>
            <a:lstStyle/>
            <a:p>
              <a:r>
                <a:rPr lang="en-US" sz="600">
                  <a:latin typeface="+mj-lt"/>
                </a:rPr>
                <a:t>Emerald</a:t>
              </a:r>
              <a:endParaRPr lang="en-US" sz="600">
                <a:solidFill>
                  <a:schemeClr val="tx1"/>
                </a:solidFill>
                <a:latin typeface="+mj-lt"/>
              </a:endParaRPr>
            </a:p>
          </p:txBody>
        </p:sp>
        <p:grpSp>
          <p:nvGrpSpPr>
            <p:cNvPr id="140" name="Group 139">
              <a:extLst>
                <a:ext uri="{FF2B5EF4-FFF2-40B4-BE49-F238E27FC236}">
                  <a16:creationId xmlns:a16="http://schemas.microsoft.com/office/drawing/2014/main" id="{4FEE050B-86F4-9EDD-08D3-38751AEE6DF2}"/>
                </a:ext>
              </a:extLst>
            </p:cNvPr>
            <p:cNvGrpSpPr/>
            <p:nvPr userDrawn="1"/>
          </p:nvGrpSpPr>
          <p:grpSpPr>
            <a:xfrm>
              <a:off x="12308083" y="3097878"/>
              <a:ext cx="851744" cy="187184"/>
              <a:chOff x="12308083" y="3083609"/>
              <a:chExt cx="851744" cy="187184"/>
            </a:xfrm>
          </p:grpSpPr>
          <p:sp>
            <p:nvSpPr>
              <p:cNvPr id="18" name="Rectangle 17">
                <a:extLst>
                  <a:ext uri="{FF2B5EF4-FFF2-40B4-BE49-F238E27FC236}">
                    <a16:creationId xmlns:a16="http://schemas.microsoft.com/office/drawing/2014/main" id="{60D001CB-AF8A-510D-F4E9-A6191A4A78C5}"/>
                  </a:ext>
                </a:extLst>
              </p:cNvPr>
              <p:cNvSpPr/>
              <p:nvPr userDrawn="1"/>
            </p:nvSpPr>
            <p:spPr bwMode="gray">
              <a:xfrm>
                <a:off x="12308083" y="3083609"/>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 name="Rectangle 18">
                <a:extLst>
                  <a:ext uri="{FF2B5EF4-FFF2-40B4-BE49-F238E27FC236}">
                    <a16:creationId xmlns:a16="http://schemas.microsoft.com/office/drawing/2014/main" id="{ED5362CE-1EF2-DC8F-37D5-6E294F2C5F7B}"/>
                  </a:ext>
                </a:extLst>
              </p:cNvPr>
              <p:cNvSpPr/>
              <p:nvPr userDrawn="1"/>
            </p:nvSpPr>
            <p:spPr bwMode="gray">
              <a:xfrm>
                <a:off x="12529603" y="3083609"/>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0" name="Rectangle 19">
                <a:extLst>
                  <a:ext uri="{FF2B5EF4-FFF2-40B4-BE49-F238E27FC236}">
                    <a16:creationId xmlns:a16="http://schemas.microsoft.com/office/drawing/2014/main" id="{9DE12495-5861-0BBD-F5F7-B7ED59C0424F}"/>
                  </a:ext>
                </a:extLst>
              </p:cNvPr>
              <p:cNvSpPr/>
              <p:nvPr userDrawn="1"/>
            </p:nvSpPr>
            <p:spPr bwMode="gray">
              <a:xfrm>
                <a:off x="12751123" y="3083609"/>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1" name="Rectangle 20">
                <a:extLst>
                  <a:ext uri="{FF2B5EF4-FFF2-40B4-BE49-F238E27FC236}">
                    <a16:creationId xmlns:a16="http://schemas.microsoft.com/office/drawing/2014/main" id="{5B3A3D63-78D8-0C24-20F2-047870D04711}"/>
                  </a:ext>
                </a:extLst>
              </p:cNvPr>
              <p:cNvSpPr/>
              <p:nvPr userDrawn="1"/>
            </p:nvSpPr>
            <p:spPr bwMode="gray">
              <a:xfrm>
                <a:off x="12972643" y="3083609"/>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139" name="Group 138">
              <a:extLst>
                <a:ext uri="{FF2B5EF4-FFF2-40B4-BE49-F238E27FC236}">
                  <a16:creationId xmlns:a16="http://schemas.microsoft.com/office/drawing/2014/main" id="{3528DAC4-D111-4C1B-5FDB-C04C7AC728C5}"/>
                </a:ext>
              </a:extLst>
            </p:cNvPr>
            <p:cNvGrpSpPr/>
            <p:nvPr userDrawn="1"/>
          </p:nvGrpSpPr>
          <p:grpSpPr>
            <a:xfrm>
              <a:off x="12308083" y="2872314"/>
              <a:ext cx="851744" cy="187184"/>
              <a:chOff x="12308083" y="2872314"/>
              <a:chExt cx="851744" cy="187184"/>
            </a:xfrm>
          </p:grpSpPr>
          <p:sp>
            <p:nvSpPr>
              <p:cNvPr id="24" name="Rectangle 23">
                <a:extLst>
                  <a:ext uri="{FF2B5EF4-FFF2-40B4-BE49-F238E27FC236}">
                    <a16:creationId xmlns:a16="http://schemas.microsoft.com/office/drawing/2014/main" id="{F0BE49B6-BFF2-0D68-3894-BBC0F185ED5A}"/>
                  </a:ext>
                </a:extLst>
              </p:cNvPr>
              <p:cNvSpPr/>
              <p:nvPr userDrawn="1"/>
            </p:nvSpPr>
            <p:spPr bwMode="gray">
              <a:xfrm>
                <a:off x="12308083" y="2872314"/>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5" name="Rectangle 24">
                <a:extLst>
                  <a:ext uri="{FF2B5EF4-FFF2-40B4-BE49-F238E27FC236}">
                    <a16:creationId xmlns:a16="http://schemas.microsoft.com/office/drawing/2014/main" id="{1BC1A38E-3746-C101-25BC-4DC2F2CC7D8B}"/>
                  </a:ext>
                </a:extLst>
              </p:cNvPr>
              <p:cNvSpPr/>
              <p:nvPr userDrawn="1"/>
            </p:nvSpPr>
            <p:spPr bwMode="gray">
              <a:xfrm>
                <a:off x="12529603" y="2872314"/>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6" name="Rectangle 25">
                <a:extLst>
                  <a:ext uri="{FF2B5EF4-FFF2-40B4-BE49-F238E27FC236}">
                    <a16:creationId xmlns:a16="http://schemas.microsoft.com/office/drawing/2014/main" id="{60FB8B51-204B-21C1-6B54-F2F524975BB5}"/>
                  </a:ext>
                </a:extLst>
              </p:cNvPr>
              <p:cNvSpPr/>
              <p:nvPr userDrawn="1"/>
            </p:nvSpPr>
            <p:spPr bwMode="gray">
              <a:xfrm>
                <a:off x="12751123" y="2872314"/>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7" name="Rectangle 26">
                <a:extLst>
                  <a:ext uri="{FF2B5EF4-FFF2-40B4-BE49-F238E27FC236}">
                    <a16:creationId xmlns:a16="http://schemas.microsoft.com/office/drawing/2014/main" id="{583A1F5D-8321-3B99-3AB1-9D7F6C5C3CE7}"/>
                  </a:ext>
                </a:extLst>
              </p:cNvPr>
              <p:cNvSpPr/>
              <p:nvPr userDrawn="1"/>
            </p:nvSpPr>
            <p:spPr bwMode="gray">
              <a:xfrm>
                <a:off x="12972643" y="2872314"/>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sp>
          <p:nvSpPr>
            <p:cNvPr id="134" name="Rectangle 133">
              <a:extLst>
                <a:ext uri="{FF2B5EF4-FFF2-40B4-BE49-F238E27FC236}">
                  <a16:creationId xmlns:a16="http://schemas.microsoft.com/office/drawing/2014/main" id="{CB808209-9C0A-DED4-F99D-563E57934075}"/>
                </a:ext>
              </a:extLst>
            </p:cNvPr>
            <p:cNvSpPr/>
            <p:nvPr userDrawn="1"/>
          </p:nvSpPr>
          <p:spPr bwMode="gray">
            <a:xfrm>
              <a:off x="12308083" y="3549006"/>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35" name="TextBox 134">
              <a:extLst>
                <a:ext uri="{FF2B5EF4-FFF2-40B4-BE49-F238E27FC236}">
                  <a16:creationId xmlns:a16="http://schemas.microsoft.com/office/drawing/2014/main" id="{428AFC82-17B1-F422-B038-FD32BCA7612D}"/>
                </a:ext>
              </a:extLst>
            </p:cNvPr>
            <p:cNvSpPr txBox="1"/>
            <p:nvPr userDrawn="1"/>
          </p:nvSpPr>
          <p:spPr>
            <a:xfrm>
              <a:off x="12529603" y="3550265"/>
              <a:ext cx="630223" cy="184666"/>
            </a:xfrm>
            <a:prstGeom prst="rect">
              <a:avLst/>
            </a:prstGeom>
            <a:noFill/>
          </p:spPr>
          <p:txBody>
            <a:bodyPr wrap="square" lIns="0" rIns="0" rtlCol="0">
              <a:spAutoFit/>
            </a:bodyPr>
            <a:lstStyle/>
            <a:p>
              <a:r>
                <a:rPr lang="en-US" sz="600">
                  <a:latin typeface="+mj-lt"/>
                </a:rPr>
                <a:t>5% Charcoal</a:t>
              </a:r>
              <a:endParaRPr lang="en-US" sz="600">
                <a:solidFill>
                  <a:schemeClr val="tx1"/>
                </a:solidFill>
                <a:latin typeface="+mj-lt"/>
              </a:endParaRPr>
            </a:p>
          </p:txBody>
        </p:sp>
        <p:sp>
          <p:nvSpPr>
            <p:cNvPr id="136" name="Rectangle 135">
              <a:extLst>
                <a:ext uri="{FF2B5EF4-FFF2-40B4-BE49-F238E27FC236}">
                  <a16:creationId xmlns:a16="http://schemas.microsoft.com/office/drawing/2014/main" id="{E58C9DF5-996C-1AE8-94E2-51D752085FF3}"/>
                </a:ext>
              </a:extLst>
            </p:cNvPr>
            <p:cNvSpPr/>
            <p:nvPr userDrawn="1"/>
          </p:nvSpPr>
          <p:spPr bwMode="gray">
            <a:xfrm>
              <a:off x="12308083" y="332344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37" name="TextBox 136">
              <a:extLst>
                <a:ext uri="{FF2B5EF4-FFF2-40B4-BE49-F238E27FC236}">
                  <a16:creationId xmlns:a16="http://schemas.microsoft.com/office/drawing/2014/main" id="{F476FE1F-1A3D-9826-393D-2735CFF58996}"/>
                </a:ext>
              </a:extLst>
            </p:cNvPr>
            <p:cNvSpPr txBox="1"/>
            <p:nvPr userDrawn="1"/>
          </p:nvSpPr>
          <p:spPr>
            <a:xfrm>
              <a:off x="12529603" y="3324701"/>
              <a:ext cx="630223" cy="184666"/>
            </a:xfrm>
            <a:prstGeom prst="rect">
              <a:avLst/>
            </a:prstGeom>
            <a:noFill/>
          </p:spPr>
          <p:txBody>
            <a:bodyPr wrap="square" lIns="0" rIns="0" rtlCol="0">
              <a:spAutoFit/>
            </a:bodyPr>
            <a:lstStyle/>
            <a:p>
              <a:r>
                <a:rPr lang="en-US" sz="600">
                  <a:solidFill>
                    <a:schemeClr val="tx1"/>
                  </a:solidFill>
                  <a:latin typeface="+mj-lt"/>
                </a:rPr>
                <a:t>Red</a:t>
              </a:r>
            </a:p>
          </p:txBody>
        </p:sp>
      </p:grpSp>
    </p:spTree>
    <p:extLst>
      <p:ext uri="{BB962C8B-B14F-4D97-AF65-F5344CB8AC3E}">
        <p14:creationId xmlns:p14="http://schemas.microsoft.com/office/powerpoint/2010/main" val="4230125028"/>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9" r:id="rId16"/>
    <p:sldLayoutId id="2147483990" r:id="rId17"/>
    <p:sldLayoutId id="2147484025" r:id="rId18"/>
    <p:sldLayoutId id="2147484026" r:id="rId19"/>
    <p:sldLayoutId id="2147484042" r:id="rId20"/>
    <p:sldLayoutId id="2147484110" r:id="rId21"/>
    <p:sldLayoutId id="2147484113" r:id="rId22"/>
    <p:sldLayoutId id="2147484114" r:id="rId23"/>
    <p:sldLayoutId id="2147484115"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D5707B5-4B1B-A573-DE59-103C6B9B3857}"/>
              </a:ext>
            </a:extLst>
          </p:cNvPr>
          <p:cNvGraphicFramePr>
            <a:graphicFrameLocks/>
          </p:cNvGraphicFramePr>
          <p:nvPr userDrawn="1">
            <p:custDataLst>
              <p:tags r:id="rId37"/>
            </p:custDataLst>
            <p:extLst>
              <p:ext uri="{D42A27DB-BD31-4B8C-83A1-F6EECF244321}">
                <p14:modId xmlns:p14="http://schemas.microsoft.com/office/powerpoint/2010/main" val="262161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12" name="think-cell data - do not delete" hidden="1">
                        <a:extLst>
                          <a:ext uri="{FF2B5EF4-FFF2-40B4-BE49-F238E27FC236}">
                            <a16:creationId xmlns:a16="http://schemas.microsoft.com/office/drawing/2014/main" id="{0D5707B5-4B1B-A573-DE59-103C6B9B3857}"/>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50000"/>
                  </a:srgbClr>
                </a:solidFill>
                <a:effectLst/>
                <a:uLnTx/>
                <a:uFillTx/>
                <a:latin typeface="Noto Sans"/>
                <a:ea typeface="+mn-ea"/>
                <a:cs typeface="+mn-cs"/>
              </a:rPr>
              <a:t>IQVIA Template (V4.0.0)</a:t>
            </a:r>
            <a:endParaRPr kumimoji="0" lang="en-US" sz="1000" b="0" i="0" u="none" strike="noStrike" kern="1200" cap="none" spc="0" normalizeH="0" baseline="0" noProof="0">
              <a:ln>
                <a:noFill/>
              </a:ln>
              <a:solidFill>
                <a:srgbClr val="FFFFFF">
                  <a:lumMod val="50000"/>
                </a:srgbClr>
              </a:solidFill>
              <a:effectLst/>
              <a:uLnTx/>
              <a:uFillTx/>
              <a:latin typeface="Noto Sans"/>
              <a:ea typeface="Arial" charset="0"/>
              <a:cs typeface="Arial" charset="0"/>
            </a:endParaRPr>
          </a:p>
        </p:txBody>
      </p:sp>
      <p:grpSp>
        <p:nvGrpSpPr>
          <p:cNvPr id="142" name="Group 141">
            <a:extLst>
              <a:ext uri="{FF2B5EF4-FFF2-40B4-BE49-F238E27FC236}">
                <a16:creationId xmlns:a16="http://schemas.microsoft.com/office/drawing/2014/main" id="{29FB6BC3-1B53-2FE2-764B-A15DD9E2BD6B}"/>
              </a:ext>
            </a:extLst>
          </p:cNvPr>
          <p:cNvGrpSpPr/>
          <p:nvPr userDrawn="1"/>
        </p:nvGrpSpPr>
        <p:grpSpPr>
          <a:xfrm>
            <a:off x="12308083" y="0"/>
            <a:ext cx="851744" cy="3736190"/>
            <a:chOff x="12308083" y="0"/>
            <a:chExt cx="851744" cy="3736190"/>
          </a:xfrm>
        </p:grpSpPr>
        <p:grpSp>
          <p:nvGrpSpPr>
            <p:cNvPr id="11" name="Group 10">
              <a:extLst>
                <a:ext uri="{FF2B5EF4-FFF2-40B4-BE49-F238E27FC236}">
                  <a16:creationId xmlns:a16="http://schemas.microsoft.com/office/drawing/2014/main" id="{E8B1BCA1-589B-A8E6-DE21-36891188309A}"/>
                </a:ext>
              </a:extLst>
            </p:cNvPr>
            <p:cNvGrpSpPr/>
            <p:nvPr userDrawn="1"/>
          </p:nvGrpSpPr>
          <p:grpSpPr>
            <a:xfrm>
              <a:off x="12308083" y="2649326"/>
              <a:ext cx="851743" cy="187184"/>
              <a:chOff x="12308083" y="2627114"/>
              <a:chExt cx="851743" cy="187184"/>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12308083" y="2627114"/>
                <a:ext cx="187184" cy="187184"/>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12751123" y="2627114"/>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12972642" y="2627114"/>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12529603" y="2627114"/>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grpSp>
        <p:sp>
          <p:nvSpPr>
            <p:cNvPr id="156" name="TextBox 155">
              <a:extLst>
                <a:ext uri="{FF2B5EF4-FFF2-40B4-BE49-F238E27FC236}">
                  <a16:creationId xmlns:a16="http://schemas.microsoft.com/office/drawing/2014/main" id="{F396C095-9B66-F444-862E-DE666BC5DC9E}"/>
                </a:ext>
              </a:extLst>
            </p:cNvPr>
            <p:cNvSpPr txBox="1"/>
            <p:nvPr/>
          </p:nvSpPr>
          <p:spPr>
            <a:xfrm>
              <a:off x="12308083" y="0"/>
              <a:ext cx="851744" cy="18466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100%  50%   75%   25%</a:t>
              </a:r>
            </a:p>
          </p:txBody>
        </p:sp>
        <p:grpSp>
          <p:nvGrpSpPr>
            <p:cNvPr id="6" name="Group 5">
              <a:extLst>
                <a:ext uri="{FF2B5EF4-FFF2-40B4-BE49-F238E27FC236}">
                  <a16:creationId xmlns:a16="http://schemas.microsoft.com/office/drawing/2014/main" id="{6307F83F-C095-6957-9133-BF721D059EDD}"/>
                </a:ext>
              </a:extLst>
            </p:cNvPr>
            <p:cNvGrpSpPr/>
            <p:nvPr userDrawn="1"/>
          </p:nvGrpSpPr>
          <p:grpSpPr>
            <a:xfrm>
              <a:off x="12308083" y="419226"/>
              <a:ext cx="851743" cy="188638"/>
              <a:chOff x="12308083" y="418248"/>
              <a:chExt cx="851743" cy="188638"/>
            </a:xfrm>
          </p:grpSpPr>
          <p:sp>
            <p:nvSpPr>
              <p:cNvPr id="164" name="Rectangle 163">
                <a:extLst>
                  <a:ext uri="{FF2B5EF4-FFF2-40B4-BE49-F238E27FC236}">
                    <a16:creationId xmlns:a16="http://schemas.microsoft.com/office/drawing/2014/main" id="{51FF5A3B-DFB1-5F43-A2EF-04D81F0CA37E}"/>
                  </a:ext>
                </a:extLst>
              </p:cNvPr>
              <p:cNvSpPr/>
              <p:nvPr/>
            </p:nvSpPr>
            <p:spPr bwMode="gray">
              <a:xfrm>
                <a:off x="12529603" y="41824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12751122" y="41824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12972642" y="41824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12308083" y="41970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grpSp>
          <p:nvGrpSpPr>
            <p:cNvPr id="4" name="Group 3">
              <a:extLst>
                <a:ext uri="{FF2B5EF4-FFF2-40B4-BE49-F238E27FC236}">
                  <a16:creationId xmlns:a16="http://schemas.microsoft.com/office/drawing/2014/main" id="{54D31852-4FF2-4DC7-9F4F-12F33E8E006F}"/>
                </a:ext>
              </a:extLst>
            </p:cNvPr>
            <p:cNvGrpSpPr/>
            <p:nvPr userDrawn="1"/>
          </p:nvGrpSpPr>
          <p:grpSpPr>
            <a:xfrm>
              <a:off x="12308083" y="196943"/>
              <a:ext cx="851743" cy="187184"/>
              <a:chOff x="12308083" y="196943"/>
              <a:chExt cx="851743" cy="187184"/>
            </a:xfrm>
          </p:grpSpPr>
          <p:sp>
            <p:nvSpPr>
              <p:cNvPr id="163" name="Rectangle 162">
                <a:extLst>
                  <a:ext uri="{FF2B5EF4-FFF2-40B4-BE49-F238E27FC236}">
                    <a16:creationId xmlns:a16="http://schemas.microsoft.com/office/drawing/2014/main" id="{FABDCF59-39B4-D741-804B-DA8E5356DEE0}"/>
                  </a:ext>
                </a:extLst>
              </p:cNvPr>
              <p:cNvSpPr/>
              <p:nvPr/>
            </p:nvSpPr>
            <p:spPr bwMode="gray">
              <a:xfrm>
                <a:off x="12529603" y="19694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12751122" y="19694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12972642" y="19694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12308083" y="19694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grpSp>
          <p:nvGrpSpPr>
            <p:cNvPr id="7" name="Group 6">
              <a:extLst>
                <a:ext uri="{FF2B5EF4-FFF2-40B4-BE49-F238E27FC236}">
                  <a16:creationId xmlns:a16="http://schemas.microsoft.com/office/drawing/2014/main" id="{0AA79F80-D902-1962-861B-63DE988E9D1F}"/>
                </a:ext>
              </a:extLst>
            </p:cNvPr>
            <p:cNvGrpSpPr/>
            <p:nvPr userDrawn="1"/>
          </p:nvGrpSpPr>
          <p:grpSpPr>
            <a:xfrm>
              <a:off x="12308083" y="1087529"/>
              <a:ext cx="851743" cy="190092"/>
              <a:chOff x="12308083" y="1080414"/>
              <a:chExt cx="851743" cy="190092"/>
            </a:xfrm>
          </p:grpSpPr>
          <p:sp>
            <p:nvSpPr>
              <p:cNvPr id="178" name="Rectangle 177">
                <a:extLst>
                  <a:ext uri="{FF2B5EF4-FFF2-40B4-BE49-F238E27FC236}">
                    <a16:creationId xmlns:a16="http://schemas.microsoft.com/office/drawing/2014/main" id="{C91C1BDA-5D81-794C-B1A7-67CC9CE1EE1E}"/>
                  </a:ext>
                </a:extLst>
              </p:cNvPr>
              <p:cNvSpPr/>
              <p:nvPr/>
            </p:nvSpPr>
            <p:spPr bwMode="gray">
              <a:xfrm>
                <a:off x="12529603" y="1080414"/>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12751122" y="1080414"/>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12972642" y="1080414"/>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12308083" y="1083322"/>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grpSp>
          <p:nvGrpSpPr>
            <p:cNvPr id="10" name="Group 9">
              <a:extLst>
                <a:ext uri="{FF2B5EF4-FFF2-40B4-BE49-F238E27FC236}">
                  <a16:creationId xmlns:a16="http://schemas.microsoft.com/office/drawing/2014/main" id="{6E9EF6F7-8078-2AA2-2468-0446932D2A36}"/>
                </a:ext>
              </a:extLst>
            </p:cNvPr>
            <p:cNvGrpSpPr/>
            <p:nvPr userDrawn="1"/>
          </p:nvGrpSpPr>
          <p:grpSpPr>
            <a:xfrm>
              <a:off x="12308083" y="2204760"/>
              <a:ext cx="851743" cy="187184"/>
              <a:chOff x="12308083" y="2181904"/>
              <a:chExt cx="851743" cy="187184"/>
            </a:xfrm>
          </p:grpSpPr>
          <p:sp>
            <p:nvSpPr>
              <p:cNvPr id="184" name="Rectangle 183">
                <a:extLst>
                  <a:ext uri="{FF2B5EF4-FFF2-40B4-BE49-F238E27FC236}">
                    <a16:creationId xmlns:a16="http://schemas.microsoft.com/office/drawing/2014/main" id="{A9EA6558-DD3B-7A4C-91B0-97252C1832CF}"/>
                  </a:ext>
                </a:extLst>
              </p:cNvPr>
              <p:cNvSpPr/>
              <p:nvPr/>
            </p:nvSpPr>
            <p:spPr bwMode="gray">
              <a:xfrm>
                <a:off x="12308083" y="2181904"/>
                <a:ext cx="187184" cy="187184"/>
              </a:xfrm>
              <a:prstGeom prst="rect">
                <a:avLst/>
              </a:prstGeom>
              <a:solidFill>
                <a:srgbClr val="02722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12529603" y="2181904"/>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12751122" y="2181904"/>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12972642" y="2181904"/>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grpSp>
          <p:nvGrpSpPr>
            <p:cNvPr id="9" name="Group 8">
              <a:extLst>
                <a:ext uri="{FF2B5EF4-FFF2-40B4-BE49-F238E27FC236}">
                  <a16:creationId xmlns:a16="http://schemas.microsoft.com/office/drawing/2014/main" id="{6B5EA531-8644-120F-18B0-28D3A1DB590C}"/>
                </a:ext>
              </a:extLst>
            </p:cNvPr>
            <p:cNvGrpSpPr/>
            <p:nvPr userDrawn="1"/>
          </p:nvGrpSpPr>
          <p:grpSpPr>
            <a:xfrm>
              <a:off x="12308083" y="1982477"/>
              <a:ext cx="851743" cy="187184"/>
              <a:chOff x="12308083" y="1960536"/>
              <a:chExt cx="851743" cy="187184"/>
            </a:xfrm>
          </p:grpSpPr>
          <p:sp>
            <p:nvSpPr>
              <p:cNvPr id="169" name="Rectangle 168">
                <a:extLst>
                  <a:ext uri="{FF2B5EF4-FFF2-40B4-BE49-F238E27FC236}">
                    <a16:creationId xmlns:a16="http://schemas.microsoft.com/office/drawing/2014/main" id="{3C6FF5B6-5DBB-B04F-B902-B9A93A757215}"/>
                  </a:ext>
                </a:extLst>
              </p:cNvPr>
              <p:cNvSpPr/>
              <p:nvPr/>
            </p:nvSpPr>
            <p:spPr bwMode="gray">
              <a:xfrm>
                <a:off x="12308083" y="1960536"/>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12529603" y="1960536"/>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12751122" y="1960536"/>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12972642" y="1960536"/>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sp>
          <p:nvSpPr>
            <p:cNvPr id="191" name="Rectangle 190">
              <a:extLst>
                <a:ext uri="{FF2B5EF4-FFF2-40B4-BE49-F238E27FC236}">
                  <a16:creationId xmlns:a16="http://schemas.microsoft.com/office/drawing/2014/main" id="{68D56737-D7FA-9241-BF90-CDAA19D3F175}"/>
                </a:ext>
              </a:extLst>
            </p:cNvPr>
            <p:cNvSpPr/>
            <p:nvPr/>
          </p:nvSpPr>
          <p:spPr bwMode="gray">
            <a:xfrm>
              <a:off x="12308083" y="643208"/>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12528890" y="645726"/>
              <a:ext cx="630936"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Bright Blue</a:t>
              </a: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12308083" y="865246"/>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95" name="TextBox 194">
              <a:extLst>
                <a:ext uri="{FF2B5EF4-FFF2-40B4-BE49-F238E27FC236}">
                  <a16:creationId xmlns:a16="http://schemas.microsoft.com/office/drawing/2014/main" id="{72B3BE3E-8803-DD42-B96E-2D6A35B5C8FE}"/>
                </a:ext>
              </a:extLst>
            </p:cNvPr>
            <p:cNvSpPr txBox="1"/>
            <p:nvPr/>
          </p:nvSpPr>
          <p:spPr>
            <a:xfrm>
              <a:off x="12529603" y="867764"/>
              <a:ext cx="630223"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Indigo</a:t>
              </a:r>
            </a:p>
          </p:txBody>
        </p:sp>
        <p:grpSp>
          <p:nvGrpSpPr>
            <p:cNvPr id="8" name="Group 7">
              <a:extLst>
                <a:ext uri="{FF2B5EF4-FFF2-40B4-BE49-F238E27FC236}">
                  <a16:creationId xmlns:a16="http://schemas.microsoft.com/office/drawing/2014/main" id="{CCE559D8-A3FE-2ADF-C818-6A2239BA9C8D}"/>
                </a:ext>
              </a:extLst>
            </p:cNvPr>
            <p:cNvGrpSpPr/>
            <p:nvPr userDrawn="1"/>
          </p:nvGrpSpPr>
          <p:grpSpPr>
            <a:xfrm>
              <a:off x="12308083" y="1312720"/>
              <a:ext cx="851743" cy="190092"/>
              <a:chOff x="12308083" y="1309014"/>
              <a:chExt cx="851743" cy="190092"/>
            </a:xfrm>
          </p:grpSpPr>
          <p:sp>
            <p:nvSpPr>
              <p:cNvPr id="197" name="Rectangle 196">
                <a:extLst>
                  <a:ext uri="{FF2B5EF4-FFF2-40B4-BE49-F238E27FC236}">
                    <a16:creationId xmlns:a16="http://schemas.microsoft.com/office/drawing/2014/main" id="{D6E8F370-88B7-B143-BECC-56B2696E26F2}"/>
                  </a:ext>
                </a:extLst>
              </p:cNvPr>
              <p:cNvSpPr/>
              <p:nvPr/>
            </p:nvSpPr>
            <p:spPr bwMode="gray">
              <a:xfrm>
                <a:off x="12529603" y="1309014"/>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12751122" y="1309014"/>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12972642" y="1309014"/>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12308083" y="1311922"/>
                <a:ext cx="187184" cy="187184"/>
              </a:xfrm>
              <a:prstGeom prst="rect">
                <a:avLst/>
              </a:prstGeom>
              <a:solidFill>
                <a:srgbClr val="008F8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sp>
          <p:nvSpPr>
            <p:cNvPr id="201" name="Rectangle 200">
              <a:extLst>
                <a:ext uri="{FF2B5EF4-FFF2-40B4-BE49-F238E27FC236}">
                  <a16:creationId xmlns:a16="http://schemas.microsoft.com/office/drawing/2014/main" id="{7AB8F119-F5FE-2149-92FB-75F8830718E6}"/>
                </a:ext>
              </a:extLst>
            </p:cNvPr>
            <p:cNvSpPr/>
            <p:nvPr/>
          </p:nvSpPr>
          <p:spPr bwMode="gray">
            <a:xfrm>
              <a:off x="12308083" y="1537911"/>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12528890" y="1540429"/>
              <a:ext cx="630936"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12308083" y="242704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12528890" y="2429561"/>
              <a:ext cx="630936"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Bright Green</a:t>
              </a:r>
            </a:p>
          </p:txBody>
        </p:sp>
        <p:sp>
          <p:nvSpPr>
            <p:cNvPr id="2" name="Rectangle 1">
              <a:extLst>
                <a:ext uri="{FF2B5EF4-FFF2-40B4-BE49-F238E27FC236}">
                  <a16:creationId xmlns:a16="http://schemas.microsoft.com/office/drawing/2014/main" id="{6E8E6B63-0E18-2B5F-AE36-0B95FD27C5A3}"/>
                </a:ext>
              </a:extLst>
            </p:cNvPr>
            <p:cNvSpPr/>
            <p:nvPr userDrawn="1"/>
          </p:nvSpPr>
          <p:spPr bwMode="gray">
            <a:xfrm>
              <a:off x="12308083" y="1760194"/>
              <a:ext cx="187184" cy="187184"/>
            </a:xfrm>
            <a:prstGeom prst="rect">
              <a:avLst/>
            </a:prstGeom>
            <a:solidFill>
              <a:srgbClr val="1154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3" name="TextBox 2">
              <a:extLst>
                <a:ext uri="{FF2B5EF4-FFF2-40B4-BE49-F238E27FC236}">
                  <a16:creationId xmlns:a16="http://schemas.microsoft.com/office/drawing/2014/main" id="{27EB9D1A-6121-A3E4-E861-1158A6F8F31B}"/>
                </a:ext>
              </a:extLst>
            </p:cNvPr>
            <p:cNvSpPr txBox="1"/>
            <p:nvPr userDrawn="1"/>
          </p:nvSpPr>
          <p:spPr>
            <a:xfrm>
              <a:off x="12529603" y="1762712"/>
              <a:ext cx="630223"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Emerald</a:t>
              </a:r>
            </a:p>
          </p:txBody>
        </p:sp>
        <p:grpSp>
          <p:nvGrpSpPr>
            <p:cNvPr id="140" name="Group 139">
              <a:extLst>
                <a:ext uri="{FF2B5EF4-FFF2-40B4-BE49-F238E27FC236}">
                  <a16:creationId xmlns:a16="http://schemas.microsoft.com/office/drawing/2014/main" id="{4FEE050B-86F4-9EDD-08D3-38751AEE6DF2}"/>
                </a:ext>
              </a:extLst>
            </p:cNvPr>
            <p:cNvGrpSpPr/>
            <p:nvPr userDrawn="1"/>
          </p:nvGrpSpPr>
          <p:grpSpPr>
            <a:xfrm>
              <a:off x="12308083" y="3097878"/>
              <a:ext cx="851744" cy="187184"/>
              <a:chOff x="12308083" y="3083609"/>
              <a:chExt cx="851744" cy="187184"/>
            </a:xfrm>
          </p:grpSpPr>
          <p:sp>
            <p:nvSpPr>
              <p:cNvPr id="18" name="Rectangle 17">
                <a:extLst>
                  <a:ext uri="{FF2B5EF4-FFF2-40B4-BE49-F238E27FC236}">
                    <a16:creationId xmlns:a16="http://schemas.microsoft.com/office/drawing/2014/main" id="{60D001CB-AF8A-510D-F4E9-A6191A4A78C5}"/>
                  </a:ext>
                </a:extLst>
              </p:cNvPr>
              <p:cNvSpPr/>
              <p:nvPr userDrawn="1"/>
            </p:nvSpPr>
            <p:spPr bwMode="gray">
              <a:xfrm>
                <a:off x="12308083" y="3083609"/>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9" name="Rectangle 18">
                <a:extLst>
                  <a:ext uri="{FF2B5EF4-FFF2-40B4-BE49-F238E27FC236}">
                    <a16:creationId xmlns:a16="http://schemas.microsoft.com/office/drawing/2014/main" id="{ED5362CE-1EF2-DC8F-37D5-6E294F2C5F7B}"/>
                  </a:ext>
                </a:extLst>
              </p:cNvPr>
              <p:cNvSpPr/>
              <p:nvPr userDrawn="1"/>
            </p:nvSpPr>
            <p:spPr bwMode="gray">
              <a:xfrm>
                <a:off x="12529603" y="3083609"/>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0" name="Rectangle 19">
                <a:extLst>
                  <a:ext uri="{FF2B5EF4-FFF2-40B4-BE49-F238E27FC236}">
                    <a16:creationId xmlns:a16="http://schemas.microsoft.com/office/drawing/2014/main" id="{9DE12495-5861-0BBD-F5F7-B7ED59C0424F}"/>
                  </a:ext>
                </a:extLst>
              </p:cNvPr>
              <p:cNvSpPr/>
              <p:nvPr userDrawn="1"/>
            </p:nvSpPr>
            <p:spPr bwMode="gray">
              <a:xfrm>
                <a:off x="12751123" y="3083609"/>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1" name="Rectangle 20">
                <a:extLst>
                  <a:ext uri="{FF2B5EF4-FFF2-40B4-BE49-F238E27FC236}">
                    <a16:creationId xmlns:a16="http://schemas.microsoft.com/office/drawing/2014/main" id="{5B3A3D63-78D8-0C24-20F2-047870D04711}"/>
                  </a:ext>
                </a:extLst>
              </p:cNvPr>
              <p:cNvSpPr/>
              <p:nvPr userDrawn="1"/>
            </p:nvSpPr>
            <p:spPr bwMode="gray">
              <a:xfrm>
                <a:off x="12972643" y="3083609"/>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grpSp>
        <p:grpSp>
          <p:nvGrpSpPr>
            <p:cNvPr id="139" name="Group 138">
              <a:extLst>
                <a:ext uri="{FF2B5EF4-FFF2-40B4-BE49-F238E27FC236}">
                  <a16:creationId xmlns:a16="http://schemas.microsoft.com/office/drawing/2014/main" id="{3528DAC4-D111-4C1B-5FDB-C04C7AC728C5}"/>
                </a:ext>
              </a:extLst>
            </p:cNvPr>
            <p:cNvGrpSpPr/>
            <p:nvPr userDrawn="1"/>
          </p:nvGrpSpPr>
          <p:grpSpPr>
            <a:xfrm>
              <a:off x="12308083" y="2872314"/>
              <a:ext cx="851744" cy="187184"/>
              <a:chOff x="12308083" y="2872314"/>
              <a:chExt cx="851744" cy="187184"/>
            </a:xfrm>
          </p:grpSpPr>
          <p:sp>
            <p:nvSpPr>
              <p:cNvPr id="24" name="Rectangle 23">
                <a:extLst>
                  <a:ext uri="{FF2B5EF4-FFF2-40B4-BE49-F238E27FC236}">
                    <a16:creationId xmlns:a16="http://schemas.microsoft.com/office/drawing/2014/main" id="{F0BE49B6-BFF2-0D68-3894-BBC0F185ED5A}"/>
                  </a:ext>
                </a:extLst>
              </p:cNvPr>
              <p:cNvSpPr/>
              <p:nvPr userDrawn="1"/>
            </p:nvSpPr>
            <p:spPr bwMode="gray">
              <a:xfrm>
                <a:off x="12308083" y="2872314"/>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5" name="Rectangle 24">
                <a:extLst>
                  <a:ext uri="{FF2B5EF4-FFF2-40B4-BE49-F238E27FC236}">
                    <a16:creationId xmlns:a16="http://schemas.microsoft.com/office/drawing/2014/main" id="{1BC1A38E-3746-C101-25BC-4DC2F2CC7D8B}"/>
                  </a:ext>
                </a:extLst>
              </p:cNvPr>
              <p:cNvSpPr/>
              <p:nvPr userDrawn="1"/>
            </p:nvSpPr>
            <p:spPr bwMode="gray">
              <a:xfrm>
                <a:off x="12529603" y="2872314"/>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6" name="Rectangle 25">
                <a:extLst>
                  <a:ext uri="{FF2B5EF4-FFF2-40B4-BE49-F238E27FC236}">
                    <a16:creationId xmlns:a16="http://schemas.microsoft.com/office/drawing/2014/main" id="{60FB8B51-204B-21C1-6B54-F2F524975BB5}"/>
                  </a:ext>
                </a:extLst>
              </p:cNvPr>
              <p:cNvSpPr/>
              <p:nvPr userDrawn="1"/>
            </p:nvSpPr>
            <p:spPr bwMode="gray">
              <a:xfrm>
                <a:off x="12751123" y="2872314"/>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7" name="Rectangle 26">
                <a:extLst>
                  <a:ext uri="{FF2B5EF4-FFF2-40B4-BE49-F238E27FC236}">
                    <a16:creationId xmlns:a16="http://schemas.microsoft.com/office/drawing/2014/main" id="{583A1F5D-8321-3B99-3AB1-9D7F6C5C3CE7}"/>
                  </a:ext>
                </a:extLst>
              </p:cNvPr>
              <p:cNvSpPr/>
              <p:nvPr userDrawn="1"/>
            </p:nvSpPr>
            <p:spPr bwMode="gray">
              <a:xfrm>
                <a:off x="12972643" y="2872314"/>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grpSp>
        <p:sp>
          <p:nvSpPr>
            <p:cNvPr id="134" name="Rectangle 133">
              <a:extLst>
                <a:ext uri="{FF2B5EF4-FFF2-40B4-BE49-F238E27FC236}">
                  <a16:creationId xmlns:a16="http://schemas.microsoft.com/office/drawing/2014/main" id="{CB808209-9C0A-DED4-F99D-563E57934075}"/>
                </a:ext>
              </a:extLst>
            </p:cNvPr>
            <p:cNvSpPr/>
            <p:nvPr userDrawn="1"/>
          </p:nvSpPr>
          <p:spPr bwMode="gray">
            <a:xfrm>
              <a:off x="12308083" y="3549006"/>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35" name="TextBox 134">
              <a:extLst>
                <a:ext uri="{FF2B5EF4-FFF2-40B4-BE49-F238E27FC236}">
                  <a16:creationId xmlns:a16="http://schemas.microsoft.com/office/drawing/2014/main" id="{428AFC82-17B1-F422-B038-FD32BCA7612D}"/>
                </a:ext>
              </a:extLst>
            </p:cNvPr>
            <p:cNvSpPr txBox="1"/>
            <p:nvPr userDrawn="1"/>
          </p:nvSpPr>
          <p:spPr>
            <a:xfrm>
              <a:off x="12529603" y="3550265"/>
              <a:ext cx="630223"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5% Charcoal</a:t>
              </a:r>
            </a:p>
          </p:txBody>
        </p:sp>
        <p:sp>
          <p:nvSpPr>
            <p:cNvPr id="136" name="Rectangle 135">
              <a:extLst>
                <a:ext uri="{FF2B5EF4-FFF2-40B4-BE49-F238E27FC236}">
                  <a16:creationId xmlns:a16="http://schemas.microsoft.com/office/drawing/2014/main" id="{E58C9DF5-996C-1AE8-94E2-51D752085FF3}"/>
                </a:ext>
              </a:extLst>
            </p:cNvPr>
            <p:cNvSpPr/>
            <p:nvPr userDrawn="1"/>
          </p:nvSpPr>
          <p:spPr bwMode="gray">
            <a:xfrm>
              <a:off x="12308083" y="332344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37" name="TextBox 136">
              <a:extLst>
                <a:ext uri="{FF2B5EF4-FFF2-40B4-BE49-F238E27FC236}">
                  <a16:creationId xmlns:a16="http://schemas.microsoft.com/office/drawing/2014/main" id="{F476FE1F-1A3D-9826-393D-2735CFF58996}"/>
                </a:ext>
              </a:extLst>
            </p:cNvPr>
            <p:cNvSpPr txBox="1"/>
            <p:nvPr userDrawn="1"/>
          </p:nvSpPr>
          <p:spPr>
            <a:xfrm>
              <a:off x="12529603" y="3324701"/>
              <a:ext cx="630223"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Red</a:t>
              </a:r>
            </a:p>
          </p:txBody>
        </p:sp>
      </p:grpSp>
    </p:spTree>
    <p:extLst>
      <p:ext uri="{BB962C8B-B14F-4D97-AF65-F5344CB8AC3E}">
        <p14:creationId xmlns:p14="http://schemas.microsoft.com/office/powerpoint/2010/main" val="3860321131"/>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44" r:id="rId21"/>
    <p:sldLayoutId id="2147484145" r:id="rId22"/>
    <p:sldLayoutId id="2147484146" r:id="rId23"/>
    <p:sldLayoutId id="2147484147" r:id="rId24"/>
    <p:sldLayoutId id="2147484148" r:id="rId25"/>
    <p:sldLayoutId id="2147484149" r:id="rId26"/>
    <p:sldLayoutId id="2147484150" r:id="rId27"/>
    <p:sldLayoutId id="2147484151" r:id="rId28"/>
    <p:sldLayoutId id="2147484152" r:id="rId29"/>
    <p:sldLayoutId id="2147484153" r:id="rId30"/>
    <p:sldLayoutId id="2147484154" r:id="rId31"/>
    <p:sldLayoutId id="2147484155" r:id="rId32"/>
    <p:sldLayoutId id="2147484156" r:id="rId33"/>
    <p:sldLayoutId id="2147484157" r:id="rId34"/>
    <p:sldLayoutId id="2147484158"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23BFAB-ABDB-F926-B2AF-6708870FC61F}"/>
              </a:ext>
            </a:extLst>
          </p:cNvPr>
          <p:cNvGraphicFramePr>
            <a:graphicFrameLocks noChangeAspect="1"/>
          </p:cNvGraphicFramePr>
          <p:nvPr userDrawn="1">
            <p:custDataLst>
              <p:tags r:id="rId17"/>
            </p:custDataLst>
            <p:extLst>
              <p:ext uri="{D42A27DB-BD31-4B8C-83A1-F6EECF244321}">
                <p14:modId xmlns:p14="http://schemas.microsoft.com/office/powerpoint/2010/main" val="335910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84" imgH="384" progId="TCLayout.ActiveDocument.1">
                  <p:embed/>
                </p:oleObj>
              </mc:Choice>
              <mc:Fallback>
                <p:oleObj name="think-cell Slide" r:id="rId18" imgW="384" imgH="384" progId="TCLayout.ActiveDocument.1">
                  <p:embed/>
                  <p:pic>
                    <p:nvPicPr>
                      <p:cNvPr id="2" name="think-cell data - do not delete" hidden="1">
                        <a:extLst>
                          <a:ext uri="{FF2B5EF4-FFF2-40B4-BE49-F238E27FC236}">
                            <a16:creationId xmlns:a16="http://schemas.microsoft.com/office/drawing/2014/main" id="{1123BFAB-ABDB-F926-B2AF-6708870FC61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3.0.0)</a:t>
            </a:r>
            <a:endParaRPr lang="en-US" sz="1000" kern="120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a:t>5% Charcoal</a:t>
              </a:r>
              <a:endParaRPr lang="en-US" sz="60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a:t>Indigo</a:t>
              </a:r>
              <a:endParaRPr lang="en-US" sz="60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a:solidFill>
                    <a:schemeClr val="tx1"/>
                  </a:solidFill>
                </a:rPr>
                <a:t>Bright Green</a:t>
              </a:r>
            </a:p>
          </p:txBody>
        </p:sp>
      </p:grpSp>
    </p:spTree>
    <p:extLst>
      <p:ext uri="{BB962C8B-B14F-4D97-AF65-F5344CB8AC3E}">
        <p14:creationId xmlns:p14="http://schemas.microsoft.com/office/powerpoint/2010/main" val="2833633812"/>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D5707B5-4B1B-A573-DE59-103C6B9B3857}"/>
              </a:ext>
            </a:extLst>
          </p:cNvPr>
          <p:cNvGraphicFramePr>
            <a:graphicFrameLocks/>
          </p:cNvGraphicFramePr>
          <p:nvPr>
            <p:custDataLst>
              <p:tags r:id="rId48"/>
            </p:custDataLst>
            <p:extLst>
              <p:ext uri="{D42A27DB-BD31-4B8C-83A1-F6EECF244321}">
                <p14:modId xmlns:p14="http://schemas.microsoft.com/office/powerpoint/2010/main" val="262161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95" imgH="396" progId="TCLayout.ActiveDocument.1">
                  <p:embed/>
                </p:oleObj>
              </mc:Choice>
              <mc:Fallback>
                <p:oleObj name="think-cell Slide" r:id="rId50" imgW="395" imgH="396" progId="TCLayout.ActiveDocument.1">
                  <p:embed/>
                  <p:pic>
                    <p:nvPicPr>
                      <p:cNvPr id="12" name="think-cell data - do not delete" hidden="1">
                        <a:extLst>
                          <a:ext uri="{FF2B5EF4-FFF2-40B4-BE49-F238E27FC236}">
                            <a16:creationId xmlns:a16="http://schemas.microsoft.com/office/drawing/2014/main" id="{0D5707B5-4B1B-A573-DE59-103C6B9B3857}"/>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j-lt"/>
                <a:ea typeface="+mn-ea"/>
                <a:cs typeface="+mn-cs"/>
              </a:rPr>
              <a:t>IQVIA Template (V4.0.0)</a:t>
            </a:r>
            <a:endParaRPr lang="en-US" sz="1000" kern="1200">
              <a:solidFill>
                <a:schemeClr val="bg1">
                  <a:lumMod val="50000"/>
                </a:schemeClr>
              </a:solidFill>
              <a:latin typeface="+mj-lt"/>
              <a:ea typeface="Arial" charset="0"/>
              <a:cs typeface="Arial" charset="0"/>
            </a:endParaRPr>
          </a:p>
        </p:txBody>
      </p:sp>
      <p:grpSp>
        <p:nvGrpSpPr>
          <p:cNvPr id="142" name="Group 141">
            <a:extLst>
              <a:ext uri="{FF2B5EF4-FFF2-40B4-BE49-F238E27FC236}">
                <a16:creationId xmlns:a16="http://schemas.microsoft.com/office/drawing/2014/main" id="{29FB6BC3-1B53-2FE2-764B-A15DD9E2BD6B}"/>
              </a:ext>
            </a:extLst>
          </p:cNvPr>
          <p:cNvGrpSpPr/>
          <p:nvPr/>
        </p:nvGrpSpPr>
        <p:grpSpPr>
          <a:xfrm>
            <a:off x="12308083" y="0"/>
            <a:ext cx="851744" cy="3736190"/>
            <a:chOff x="12308083" y="0"/>
            <a:chExt cx="851744" cy="3736190"/>
          </a:xfrm>
        </p:grpSpPr>
        <p:grpSp>
          <p:nvGrpSpPr>
            <p:cNvPr id="11" name="Group 10">
              <a:extLst>
                <a:ext uri="{FF2B5EF4-FFF2-40B4-BE49-F238E27FC236}">
                  <a16:creationId xmlns:a16="http://schemas.microsoft.com/office/drawing/2014/main" id="{E8B1BCA1-589B-A8E6-DE21-36891188309A}"/>
                </a:ext>
              </a:extLst>
            </p:cNvPr>
            <p:cNvGrpSpPr/>
            <p:nvPr/>
          </p:nvGrpSpPr>
          <p:grpSpPr>
            <a:xfrm>
              <a:off x="12308083" y="2649326"/>
              <a:ext cx="851743" cy="187184"/>
              <a:chOff x="12308083" y="2627114"/>
              <a:chExt cx="851743" cy="187184"/>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12308083" y="2627114"/>
                <a:ext cx="187184" cy="187184"/>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12751123" y="2627114"/>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12972642" y="2627114"/>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12529603" y="2627114"/>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grpSp>
        <p:sp>
          <p:nvSpPr>
            <p:cNvPr id="156" name="TextBox 155">
              <a:extLst>
                <a:ext uri="{FF2B5EF4-FFF2-40B4-BE49-F238E27FC236}">
                  <a16:creationId xmlns:a16="http://schemas.microsoft.com/office/drawing/2014/main" id="{F396C095-9B66-F444-862E-DE666BC5DC9E}"/>
                </a:ext>
              </a:extLst>
            </p:cNvPr>
            <p:cNvSpPr txBox="1"/>
            <p:nvPr/>
          </p:nvSpPr>
          <p:spPr>
            <a:xfrm>
              <a:off x="12308083" y="0"/>
              <a:ext cx="851744" cy="184666"/>
            </a:xfrm>
            <a:prstGeom prst="rect">
              <a:avLst/>
            </a:prstGeom>
            <a:noFill/>
          </p:spPr>
          <p:txBody>
            <a:bodyPr wrap="square" lIns="0" rIns="0" rtlCol="0">
              <a:spAutoFit/>
            </a:bodyPr>
            <a:lstStyle/>
            <a:p>
              <a:pPr algn="ctr"/>
              <a:r>
                <a:rPr lang="en-US" sz="600">
                  <a:solidFill>
                    <a:schemeClr val="tx1"/>
                  </a:solidFill>
                  <a:latin typeface="+mj-lt"/>
                </a:rPr>
                <a:t>100%  50%   75%   25%</a:t>
              </a:r>
            </a:p>
          </p:txBody>
        </p:sp>
        <p:grpSp>
          <p:nvGrpSpPr>
            <p:cNvPr id="6" name="Group 5">
              <a:extLst>
                <a:ext uri="{FF2B5EF4-FFF2-40B4-BE49-F238E27FC236}">
                  <a16:creationId xmlns:a16="http://schemas.microsoft.com/office/drawing/2014/main" id="{6307F83F-C095-6957-9133-BF721D059EDD}"/>
                </a:ext>
              </a:extLst>
            </p:cNvPr>
            <p:cNvGrpSpPr/>
            <p:nvPr/>
          </p:nvGrpSpPr>
          <p:grpSpPr>
            <a:xfrm>
              <a:off x="12308083" y="419226"/>
              <a:ext cx="851743" cy="188638"/>
              <a:chOff x="12308083" y="418248"/>
              <a:chExt cx="851743" cy="188638"/>
            </a:xfrm>
          </p:grpSpPr>
          <p:sp>
            <p:nvSpPr>
              <p:cNvPr id="164" name="Rectangle 163">
                <a:extLst>
                  <a:ext uri="{FF2B5EF4-FFF2-40B4-BE49-F238E27FC236}">
                    <a16:creationId xmlns:a16="http://schemas.microsoft.com/office/drawing/2014/main" id="{51FF5A3B-DFB1-5F43-A2EF-04D81F0CA37E}"/>
                  </a:ext>
                </a:extLst>
              </p:cNvPr>
              <p:cNvSpPr/>
              <p:nvPr/>
            </p:nvSpPr>
            <p:spPr bwMode="gray">
              <a:xfrm>
                <a:off x="12529603" y="41824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12751122" y="41824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12972642" y="41824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12308083" y="41970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grpSp>
          <p:nvGrpSpPr>
            <p:cNvPr id="4" name="Group 3">
              <a:extLst>
                <a:ext uri="{FF2B5EF4-FFF2-40B4-BE49-F238E27FC236}">
                  <a16:creationId xmlns:a16="http://schemas.microsoft.com/office/drawing/2014/main" id="{54D31852-4FF2-4DC7-9F4F-12F33E8E006F}"/>
                </a:ext>
              </a:extLst>
            </p:cNvPr>
            <p:cNvGrpSpPr/>
            <p:nvPr/>
          </p:nvGrpSpPr>
          <p:grpSpPr>
            <a:xfrm>
              <a:off x="12308083" y="196943"/>
              <a:ext cx="851743" cy="187184"/>
              <a:chOff x="12308083" y="196943"/>
              <a:chExt cx="851743" cy="187184"/>
            </a:xfrm>
          </p:grpSpPr>
          <p:sp>
            <p:nvSpPr>
              <p:cNvPr id="163" name="Rectangle 162">
                <a:extLst>
                  <a:ext uri="{FF2B5EF4-FFF2-40B4-BE49-F238E27FC236}">
                    <a16:creationId xmlns:a16="http://schemas.microsoft.com/office/drawing/2014/main" id="{FABDCF59-39B4-D741-804B-DA8E5356DEE0}"/>
                  </a:ext>
                </a:extLst>
              </p:cNvPr>
              <p:cNvSpPr/>
              <p:nvPr/>
            </p:nvSpPr>
            <p:spPr bwMode="gray">
              <a:xfrm>
                <a:off x="12529603" y="19694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12751122" y="19694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12972642" y="19694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12308083" y="19694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grpSp>
          <p:nvGrpSpPr>
            <p:cNvPr id="7" name="Group 6">
              <a:extLst>
                <a:ext uri="{FF2B5EF4-FFF2-40B4-BE49-F238E27FC236}">
                  <a16:creationId xmlns:a16="http://schemas.microsoft.com/office/drawing/2014/main" id="{0AA79F80-D902-1962-861B-63DE988E9D1F}"/>
                </a:ext>
              </a:extLst>
            </p:cNvPr>
            <p:cNvGrpSpPr/>
            <p:nvPr/>
          </p:nvGrpSpPr>
          <p:grpSpPr>
            <a:xfrm>
              <a:off x="12308083" y="1087529"/>
              <a:ext cx="851743" cy="190092"/>
              <a:chOff x="12308083" y="1080414"/>
              <a:chExt cx="851743" cy="190092"/>
            </a:xfrm>
          </p:grpSpPr>
          <p:sp>
            <p:nvSpPr>
              <p:cNvPr id="178" name="Rectangle 177">
                <a:extLst>
                  <a:ext uri="{FF2B5EF4-FFF2-40B4-BE49-F238E27FC236}">
                    <a16:creationId xmlns:a16="http://schemas.microsoft.com/office/drawing/2014/main" id="{C91C1BDA-5D81-794C-B1A7-67CC9CE1EE1E}"/>
                  </a:ext>
                </a:extLst>
              </p:cNvPr>
              <p:cNvSpPr/>
              <p:nvPr/>
            </p:nvSpPr>
            <p:spPr bwMode="gray">
              <a:xfrm>
                <a:off x="12529603" y="1080414"/>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12751122" y="1080414"/>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12972642" y="1080414"/>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12308083" y="1083322"/>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grpSp>
          <p:nvGrpSpPr>
            <p:cNvPr id="10" name="Group 9">
              <a:extLst>
                <a:ext uri="{FF2B5EF4-FFF2-40B4-BE49-F238E27FC236}">
                  <a16:creationId xmlns:a16="http://schemas.microsoft.com/office/drawing/2014/main" id="{6E9EF6F7-8078-2AA2-2468-0446932D2A36}"/>
                </a:ext>
              </a:extLst>
            </p:cNvPr>
            <p:cNvGrpSpPr/>
            <p:nvPr/>
          </p:nvGrpSpPr>
          <p:grpSpPr>
            <a:xfrm>
              <a:off x="12308083" y="2204760"/>
              <a:ext cx="851743" cy="187184"/>
              <a:chOff x="12308083" y="2181904"/>
              <a:chExt cx="851743" cy="187184"/>
            </a:xfrm>
          </p:grpSpPr>
          <p:sp>
            <p:nvSpPr>
              <p:cNvPr id="184" name="Rectangle 183">
                <a:extLst>
                  <a:ext uri="{FF2B5EF4-FFF2-40B4-BE49-F238E27FC236}">
                    <a16:creationId xmlns:a16="http://schemas.microsoft.com/office/drawing/2014/main" id="{A9EA6558-DD3B-7A4C-91B0-97252C1832CF}"/>
                  </a:ext>
                </a:extLst>
              </p:cNvPr>
              <p:cNvSpPr/>
              <p:nvPr/>
            </p:nvSpPr>
            <p:spPr bwMode="gray">
              <a:xfrm>
                <a:off x="12308083" y="2181904"/>
                <a:ext cx="187184" cy="187184"/>
              </a:xfrm>
              <a:prstGeom prst="rect">
                <a:avLst/>
              </a:prstGeom>
              <a:solidFill>
                <a:srgbClr val="0272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12529603" y="2181904"/>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12751122" y="2181904"/>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12972642" y="2181904"/>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grpSp>
          <p:nvGrpSpPr>
            <p:cNvPr id="9" name="Group 8">
              <a:extLst>
                <a:ext uri="{FF2B5EF4-FFF2-40B4-BE49-F238E27FC236}">
                  <a16:creationId xmlns:a16="http://schemas.microsoft.com/office/drawing/2014/main" id="{6B5EA531-8644-120F-18B0-28D3A1DB590C}"/>
                </a:ext>
              </a:extLst>
            </p:cNvPr>
            <p:cNvGrpSpPr/>
            <p:nvPr/>
          </p:nvGrpSpPr>
          <p:grpSpPr>
            <a:xfrm>
              <a:off x="12308083" y="1982477"/>
              <a:ext cx="851743" cy="187184"/>
              <a:chOff x="12308083" y="1960536"/>
              <a:chExt cx="851743" cy="187184"/>
            </a:xfrm>
          </p:grpSpPr>
          <p:sp>
            <p:nvSpPr>
              <p:cNvPr id="169" name="Rectangle 168">
                <a:extLst>
                  <a:ext uri="{FF2B5EF4-FFF2-40B4-BE49-F238E27FC236}">
                    <a16:creationId xmlns:a16="http://schemas.microsoft.com/office/drawing/2014/main" id="{3C6FF5B6-5DBB-B04F-B902-B9A93A757215}"/>
                  </a:ext>
                </a:extLst>
              </p:cNvPr>
              <p:cNvSpPr/>
              <p:nvPr/>
            </p:nvSpPr>
            <p:spPr bwMode="gray">
              <a:xfrm>
                <a:off x="12308083" y="1960536"/>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12529603" y="1960536"/>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12751122" y="1960536"/>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12972642" y="1960536"/>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sp>
          <p:nvSpPr>
            <p:cNvPr id="191" name="Rectangle 190">
              <a:extLst>
                <a:ext uri="{FF2B5EF4-FFF2-40B4-BE49-F238E27FC236}">
                  <a16:creationId xmlns:a16="http://schemas.microsoft.com/office/drawing/2014/main" id="{68D56737-D7FA-9241-BF90-CDAA19D3F175}"/>
                </a:ext>
              </a:extLst>
            </p:cNvPr>
            <p:cNvSpPr/>
            <p:nvPr/>
          </p:nvSpPr>
          <p:spPr bwMode="gray">
            <a:xfrm>
              <a:off x="12308083" y="643208"/>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12528890" y="645726"/>
              <a:ext cx="630936" cy="184666"/>
            </a:xfrm>
            <a:prstGeom prst="rect">
              <a:avLst/>
            </a:prstGeom>
            <a:noFill/>
          </p:spPr>
          <p:txBody>
            <a:bodyPr wrap="square" lIns="0" rIns="0" rtlCol="0">
              <a:spAutoFit/>
            </a:bodyPr>
            <a:lstStyle/>
            <a:p>
              <a:r>
                <a:rPr lang="en-US" sz="600">
                  <a:solidFill>
                    <a:schemeClr val="tx1"/>
                  </a:solidFill>
                  <a:latin typeface="+mj-lt"/>
                </a:rPr>
                <a:t>Bright Blue</a:t>
              </a: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12308083" y="865246"/>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95" name="TextBox 194">
              <a:extLst>
                <a:ext uri="{FF2B5EF4-FFF2-40B4-BE49-F238E27FC236}">
                  <a16:creationId xmlns:a16="http://schemas.microsoft.com/office/drawing/2014/main" id="{72B3BE3E-8803-DD42-B96E-2D6A35B5C8FE}"/>
                </a:ext>
              </a:extLst>
            </p:cNvPr>
            <p:cNvSpPr txBox="1"/>
            <p:nvPr/>
          </p:nvSpPr>
          <p:spPr>
            <a:xfrm>
              <a:off x="12529603" y="867764"/>
              <a:ext cx="630223" cy="184666"/>
            </a:xfrm>
            <a:prstGeom prst="rect">
              <a:avLst/>
            </a:prstGeom>
            <a:noFill/>
          </p:spPr>
          <p:txBody>
            <a:bodyPr wrap="square" lIns="0" rIns="0" rtlCol="0">
              <a:spAutoFit/>
            </a:bodyPr>
            <a:lstStyle/>
            <a:p>
              <a:r>
                <a:rPr lang="en-US" sz="600">
                  <a:latin typeface="+mj-lt"/>
                </a:rPr>
                <a:t>Indigo</a:t>
              </a:r>
              <a:endParaRPr lang="en-US" sz="600">
                <a:solidFill>
                  <a:schemeClr val="tx1"/>
                </a:solidFill>
                <a:latin typeface="+mj-lt"/>
              </a:endParaRPr>
            </a:p>
          </p:txBody>
        </p:sp>
        <p:grpSp>
          <p:nvGrpSpPr>
            <p:cNvPr id="8" name="Group 7">
              <a:extLst>
                <a:ext uri="{FF2B5EF4-FFF2-40B4-BE49-F238E27FC236}">
                  <a16:creationId xmlns:a16="http://schemas.microsoft.com/office/drawing/2014/main" id="{CCE559D8-A3FE-2ADF-C818-6A2239BA9C8D}"/>
                </a:ext>
              </a:extLst>
            </p:cNvPr>
            <p:cNvGrpSpPr/>
            <p:nvPr/>
          </p:nvGrpSpPr>
          <p:grpSpPr>
            <a:xfrm>
              <a:off x="12308083" y="1312720"/>
              <a:ext cx="851743" cy="190092"/>
              <a:chOff x="12308083" y="1309014"/>
              <a:chExt cx="851743" cy="190092"/>
            </a:xfrm>
          </p:grpSpPr>
          <p:sp>
            <p:nvSpPr>
              <p:cNvPr id="197" name="Rectangle 196">
                <a:extLst>
                  <a:ext uri="{FF2B5EF4-FFF2-40B4-BE49-F238E27FC236}">
                    <a16:creationId xmlns:a16="http://schemas.microsoft.com/office/drawing/2014/main" id="{D6E8F370-88B7-B143-BECC-56B2696E26F2}"/>
                  </a:ext>
                </a:extLst>
              </p:cNvPr>
              <p:cNvSpPr/>
              <p:nvPr/>
            </p:nvSpPr>
            <p:spPr bwMode="gray">
              <a:xfrm>
                <a:off x="12529603" y="1309014"/>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12751122" y="1309014"/>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12972642" y="1309014"/>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12308083" y="1311922"/>
                <a:ext cx="187184" cy="187184"/>
              </a:xfrm>
              <a:prstGeom prst="rect">
                <a:avLst/>
              </a:prstGeom>
              <a:solidFill>
                <a:srgbClr val="008F8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pSp>
        <p:sp>
          <p:nvSpPr>
            <p:cNvPr id="201" name="Rectangle 200">
              <a:extLst>
                <a:ext uri="{FF2B5EF4-FFF2-40B4-BE49-F238E27FC236}">
                  <a16:creationId xmlns:a16="http://schemas.microsoft.com/office/drawing/2014/main" id="{7AB8F119-F5FE-2149-92FB-75F8830718E6}"/>
                </a:ext>
              </a:extLst>
            </p:cNvPr>
            <p:cNvSpPr/>
            <p:nvPr/>
          </p:nvSpPr>
          <p:spPr bwMode="gray">
            <a:xfrm>
              <a:off x="12308083" y="1537911"/>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12528890" y="1540429"/>
              <a:ext cx="630936" cy="184666"/>
            </a:xfrm>
            <a:prstGeom prst="rect">
              <a:avLst/>
            </a:prstGeom>
            <a:noFill/>
          </p:spPr>
          <p:txBody>
            <a:bodyPr wrap="square" lIns="0" rIns="0" rtlCol="0">
              <a:spAutoFit/>
            </a:bodyPr>
            <a:lstStyle/>
            <a:p>
              <a:r>
                <a:rPr lang="en-US" sz="600">
                  <a:solidFill>
                    <a:schemeClr val="tx1"/>
                  </a:solidFill>
                  <a:latin typeface="+mj-lt"/>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12308083" y="242704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12528890" y="2429561"/>
              <a:ext cx="630936" cy="184666"/>
            </a:xfrm>
            <a:prstGeom prst="rect">
              <a:avLst/>
            </a:prstGeom>
            <a:noFill/>
          </p:spPr>
          <p:txBody>
            <a:bodyPr wrap="square" lIns="0" rIns="0" rtlCol="0">
              <a:spAutoFit/>
            </a:bodyPr>
            <a:lstStyle/>
            <a:p>
              <a:r>
                <a:rPr lang="en-US" sz="600">
                  <a:solidFill>
                    <a:schemeClr val="tx1"/>
                  </a:solidFill>
                  <a:latin typeface="+mj-lt"/>
                </a:rPr>
                <a:t>Bright Green</a:t>
              </a:r>
            </a:p>
          </p:txBody>
        </p:sp>
        <p:sp>
          <p:nvSpPr>
            <p:cNvPr id="2" name="Rectangle 1">
              <a:extLst>
                <a:ext uri="{FF2B5EF4-FFF2-40B4-BE49-F238E27FC236}">
                  <a16:creationId xmlns:a16="http://schemas.microsoft.com/office/drawing/2014/main" id="{6E8E6B63-0E18-2B5F-AE36-0B95FD27C5A3}"/>
                </a:ext>
              </a:extLst>
            </p:cNvPr>
            <p:cNvSpPr/>
            <p:nvPr/>
          </p:nvSpPr>
          <p:spPr bwMode="gray">
            <a:xfrm>
              <a:off x="12308083" y="1760194"/>
              <a:ext cx="187184" cy="187184"/>
            </a:xfrm>
            <a:prstGeom prst="rect">
              <a:avLst/>
            </a:prstGeom>
            <a:solidFill>
              <a:srgbClr val="1154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3" name="TextBox 2">
              <a:extLst>
                <a:ext uri="{FF2B5EF4-FFF2-40B4-BE49-F238E27FC236}">
                  <a16:creationId xmlns:a16="http://schemas.microsoft.com/office/drawing/2014/main" id="{27EB9D1A-6121-A3E4-E861-1158A6F8F31B}"/>
                </a:ext>
              </a:extLst>
            </p:cNvPr>
            <p:cNvSpPr txBox="1"/>
            <p:nvPr/>
          </p:nvSpPr>
          <p:spPr>
            <a:xfrm>
              <a:off x="12529603" y="1762712"/>
              <a:ext cx="630223" cy="184666"/>
            </a:xfrm>
            <a:prstGeom prst="rect">
              <a:avLst/>
            </a:prstGeom>
            <a:noFill/>
          </p:spPr>
          <p:txBody>
            <a:bodyPr wrap="square" lIns="0" rIns="0" rtlCol="0">
              <a:spAutoFit/>
            </a:bodyPr>
            <a:lstStyle/>
            <a:p>
              <a:r>
                <a:rPr lang="en-US" sz="600">
                  <a:latin typeface="+mj-lt"/>
                </a:rPr>
                <a:t>Emerald</a:t>
              </a:r>
              <a:endParaRPr lang="en-US" sz="600">
                <a:solidFill>
                  <a:schemeClr val="tx1"/>
                </a:solidFill>
                <a:latin typeface="+mj-lt"/>
              </a:endParaRPr>
            </a:p>
          </p:txBody>
        </p:sp>
        <p:grpSp>
          <p:nvGrpSpPr>
            <p:cNvPr id="140" name="Group 139">
              <a:extLst>
                <a:ext uri="{FF2B5EF4-FFF2-40B4-BE49-F238E27FC236}">
                  <a16:creationId xmlns:a16="http://schemas.microsoft.com/office/drawing/2014/main" id="{4FEE050B-86F4-9EDD-08D3-38751AEE6DF2}"/>
                </a:ext>
              </a:extLst>
            </p:cNvPr>
            <p:cNvGrpSpPr/>
            <p:nvPr/>
          </p:nvGrpSpPr>
          <p:grpSpPr>
            <a:xfrm>
              <a:off x="12308083" y="3097878"/>
              <a:ext cx="851744" cy="187184"/>
              <a:chOff x="12308083" y="3083609"/>
              <a:chExt cx="851744" cy="187184"/>
            </a:xfrm>
          </p:grpSpPr>
          <p:sp>
            <p:nvSpPr>
              <p:cNvPr id="18" name="Rectangle 17">
                <a:extLst>
                  <a:ext uri="{FF2B5EF4-FFF2-40B4-BE49-F238E27FC236}">
                    <a16:creationId xmlns:a16="http://schemas.microsoft.com/office/drawing/2014/main" id="{60D001CB-AF8A-510D-F4E9-A6191A4A78C5}"/>
                  </a:ext>
                </a:extLst>
              </p:cNvPr>
              <p:cNvSpPr/>
              <p:nvPr/>
            </p:nvSpPr>
            <p:spPr bwMode="gray">
              <a:xfrm>
                <a:off x="12308083" y="3083609"/>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 name="Rectangle 18">
                <a:extLst>
                  <a:ext uri="{FF2B5EF4-FFF2-40B4-BE49-F238E27FC236}">
                    <a16:creationId xmlns:a16="http://schemas.microsoft.com/office/drawing/2014/main" id="{ED5362CE-1EF2-DC8F-37D5-6E294F2C5F7B}"/>
                  </a:ext>
                </a:extLst>
              </p:cNvPr>
              <p:cNvSpPr/>
              <p:nvPr/>
            </p:nvSpPr>
            <p:spPr bwMode="gray">
              <a:xfrm>
                <a:off x="12529603" y="3083609"/>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0" name="Rectangle 19">
                <a:extLst>
                  <a:ext uri="{FF2B5EF4-FFF2-40B4-BE49-F238E27FC236}">
                    <a16:creationId xmlns:a16="http://schemas.microsoft.com/office/drawing/2014/main" id="{9DE12495-5861-0BBD-F5F7-B7ED59C0424F}"/>
                  </a:ext>
                </a:extLst>
              </p:cNvPr>
              <p:cNvSpPr/>
              <p:nvPr/>
            </p:nvSpPr>
            <p:spPr bwMode="gray">
              <a:xfrm>
                <a:off x="12751123" y="3083609"/>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1" name="Rectangle 20">
                <a:extLst>
                  <a:ext uri="{FF2B5EF4-FFF2-40B4-BE49-F238E27FC236}">
                    <a16:creationId xmlns:a16="http://schemas.microsoft.com/office/drawing/2014/main" id="{5B3A3D63-78D8-0C24-20F2-047870D04711}"/>
                  </a:ext>
                </a:extLst>
              </p:cNvPr>
              <p:cNvSpPr/>
              <p:nvPr/>
            </p:nvSpPr>
            <p:spPr bwMode="gray">
              <a:xfrm>
                <a:off x="12972643" y="3083609"/>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139" name="Group 138">
              <a:extLst>
                <a:ext uri="{FF2B5EF4-FFF2-40B4-BE49-F238E27FC236}">
                  <a16:creationId xmlns:a16="http://schemas.microsoft.com/office/drawing/2014/main" id="{3528DAC4-D111-4C1B-5FDB-C04C7AC728C5}"/>
                </a:ext>
              </a:extLst>
            </p:cNvPr>
            <p:cNvGrpSpPr/>
            <p:nvPr/>
          </p:nvGrpSpPr>
          <p:grpSpPr>
            <a:xfrm>
              <a:off x="12308083" y="2872314"/>
              <a:ext cx="851744" cy="187184"/>
              <a:chOff x="12308083" y="2872314"/>
              <a:chExt cx="851744" cy="187184"/>
            </a:xfrm>
          </p:grpSpPr>
          <p:sp>
            <p:nvSpPr>
              <p:cNvPr id="24" name="Rectangle 23">
                <a:extLst>
                  <a:ext uri="{FF2B5EF4-FFF2-40B4-BE49-F238E27FC236}">
                    <a16:creationId xmlns:a16="http://schemas.microsoft.com/office/drawing/2014/main" id="{F0BE49B6-BFF2-0D68-3894-BBC0F185ED5A}"/>
                  </a:ext>
                </a:extLst>
              </p:cNvPr>
              <p:cNvSpPr/>
              <p:nvPr/>
            </p:nvSpPr>
            <p:spPr bwMode="gray">
              <a:xfrm>
                <a:off x="12308083" y="2872314"/>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5" name="Rectangle 24">
                <a:extLst>
                  <a:ext uri="{FF2B5EF4-FFF2-40B4-BE49-F238E27FC236}">
                    <a16:creationId xmlns:a16="http://schemas.microsoft.com/office/drawing/2014/main" id="{1BC1A38E-3746-C101-25BC-4DC2F2CC7D8B}"/>
                  </a:ext>
                </a:extLst>
              </p:cNvPr>
              <p:cNvSpPr/>
              <p:nvPr/>
            </p:nvSpPr>
            <p:spPr bwMode="gray">
              <a:xfrm>
                <a:off x="12529603" y="2872314"/>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6" name="Rectangle 25">
                <a:extLst>
                  <a:ext uri="{FF2B5EF4-FFF2-40B4-BE49-F238E27FC236}">
                    <a16:creationId xmlns:a16="http://schemas.microsoft.com/office/drawing/2014/main" id="{60FB8B51-204B-21C1-6B54-F2F524975BB5}"/>
                  </a:ext>
                </a:extLst>
              </p:cNvPr>
              <p:cNvSpPr/>
              <p:nvPr/>
            </p:nvSpPr>
            <p:spPr bwMode="gray">
              <a:xfrm>
                <a:off x="12751123" y="2872314"/>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7" name="Rectangle 26">
                <a:extLst>
                  <a:ext uri="{FF2B5EF4-FFF2-40B4-BE49-F238E27FC236}">
                    <a16:creationId xmlns:a16="http://schemas.microsoft.com/office/drawing/2014/main" id="{583A1F5D-8321-3B99-3AB1-9D7F6C5C3CE7}"/>
                  </a:ext>
                </a:extLst>
              </p:cNvPr>
              <p:cNvSpPr/>
              <p:nvPr/>
            </p:nvSpPr>
            <p:spPr bwMode="gray">
              <a:xfrm>
                <a:off x="12972643" y="2872314"/>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sp>
          <p:nvSpPr>
            <p:cNvPr id="134" name="Rectangle 133">
              <a:extLst>
                <a:ext uri="{FF2B5EF4-FFF2-40B4-BE49-F238E27FC236}">
                  <a16:creationId xmlns:a16="http://schemas.microsoft.com/office/drawing/2014/main" id="{CB808209-9C0A-DED4-F99D-563E57934075}"/>
                </a:ext>
              </a:extLst>
            </p:cNvPr>
            <p:cNvSpPr/>
            <p:nvPr/>
          </p:nvSpPr>
          <p:spPr bwMode="gray">
            <a:xfrm>
              <a:off x="12308083" y="3549006"/>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35" name="TextBox 134">
              <a:extLst>
                <a:ext uri="{FF2B5EF4-FFF2-40B4-BE49-F238E27FC236}">
                  <a16:creationId xmlns:a16="http://schemas.microsoft.com/office/drawing/2014/main" id="{428AFC82-17B1-F422-B038-FD32BCA7612D}"/>
                </a:ext>
              </a:extLst>
            </p:cNvPr>
            <p:cNvSpPr txBox="1"/>
            <p:nvPr/>
          </p:nvSpPr>
          <p:spPr>
            <a:xfrm>
              <a:off x="12529603" y="3550265"/>
              <a:ext cx="630223" cy="184666"/>
            </a:xfrm>
            <a:prstGeom prst="rect">
              <a:avLst/>
            </a:prstGeom>
            <a:noFill/>
          </p:spPr>
          <p:txBody>
            <a:bodyPr wrap="square" lIns="0" rIns="0" rtlCol="0">
              <a:spAutoFit/>
            </a:bodyPr>
            <a:lstStyle/>
            <a:p>
              <a:r>
                <a:rPr lang="en-US" sz="600">
                  <a:latin typeface="+mj-lt"/>
                </a:rPr>
                <a:t>5% Charcoal</a:t>
              </a:r>
              <a:endParaRPr lang="en-US" sz="600">
                <a:solidFill>
                  <a:schemeClr val="tx1"/>
                </a:solidFill>
                <a:latin typeface="+mj-lt"/>
              </a:endParaRPr>
            </a:p>
          </p:txBody>
        </p:sp>
        <p:sp>
          <p:nvSpPr>
            <p:cNvPr id="136" name="Rectangle 135">
              <a:extLst>
                <a:ext uri="{FF2B5EF4-FFF2-40B4-BE49-F238E27FC236}">
                  <a16:creationId xmlns:a16="http://schemas.microsoft.com/office/drawing/2014/main" id="{E58C9DF5-996C-1AE8-94E2-51D752085FF3}"/>
                </a:ext>
              </a:extLst>
            </p:cNvPr>
            <p:cNvSpPr/>
            <p:nvPr/>
          </p:nvSpPr>
          <p:spPr bwMode="gray">
            <a:xfrm>
              <a:off x="12308083" y="332344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j-lt"/>
              </a:endParaRPr>
            </a:p>
          </p:txBody>
        </p:sp>
        <p:sp>
          <p:nvSpPr>
            <p:cNvPr id="137" name="TextBox 136">
              <a:extLst>
                <a:ext uri="{FF2B5EF4-FFF2-40B4-BE49-F238E27FC236}">
                  <a16:creationId xmlns:a16="http://schemas.microsoft.com/office/drawing/2014/main" id="{F476FE1F-1A3D-9826-393D-2735CFF58996}"/>
                </a:ext>
              </a:extLst>
            </p:cNvPr>
            <p:cNvSpPr txBox="1"/>
            <p:nvPr/>
          </p:nvSpPr>
          <p:spPr>
            <a:xfrm>
              <a:off x="12529603" y="3324701"/>
              <a:ext cx="630223" cy="184666"/>
            </a:xfrm>
            <a:prstGeom prst="rect">
              <a:avLst/>
            </a:prstGeom>
            <a:noFill/>
          </p:spPr>
          <p:txBody>
            <a:bodyPr wrap="square" lIns="0" rIns="0" rtlCol="0">
              <a:spAutoFit/>
            </a:bodyPr>
            <a:lstStyle/>
            <a:p>
              <a:r>
                <a:rPr lang="en-US" sz="600">
                  <a:solidFill>
                    <a:schemeClr val="tx1"/>
                  </a:solidFill>
                  <a:latin typeface="+mj-lt"/>
                </a:rPr>
                <a:t>Red</a:t>
              </a:r>
            </a:p>
          </p:txBody>
        </p:sp>
      </p:grpSp>
      <p:graphicFrame>
        <p:nvGraphicFramePr>
          <p:cNvPr id="13" name="think-cell data - do not delete" hidden="1">
            <a:extLst>
              <a:ext uri="{FF2B5EF4-FFF2-40B4-BE49-F238E27FC236}">
                <a16:creationId xmlns:a16="http://schemas.microsoft.com/office/drawing/2014/main" id="{CF7FC3E8-407B-05C9-742B-CD18AACAFA4C}"/>
              </a:ext>
            </a:extLst>
          </p:cNvPr>
          <p:cNvGraphicFramePr>
            <a:graphicFrameLocks noChangeAspect="1"/>
          </p:cNvGraphicFramePr>
          <p:nvPr userDrawn="1">
            <p:custDataLst>
              <p:tags r:id="rId49"/>
            </p:custDataLst>
            <p:extLst>
              <p:ext uri="{D42A27DB-BD31-4B8C-83A1-F6EECF244321}">
                <p14:modId xmlns:p14="http://schemas.microsoft.com/office/powerpoint/2010/main" val="1814805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95" imgH="396" progId="TCLayout.ActiveDocument.1">
                  <p:embed/>
                </p:oleObj>
              </mc:Choice>
              <mc:Fallback>
                <p:oleObj name="think-cell Slide" r:id="rId52" imgW="395" imgH="396" progId="TCLayout.ActiveDocument.1">
                  <p:embed/>
                  <p:pic>
                    <p:nvPicPr>
                      <p:cNvPr id="13" name="think-cell data - do not delete" hidden="1">
                        <a:extLst>
                          <a:ext uri="{FF2B5EF4-FFF2-40B4-BE49-F238E27FC236}">
                            <a16:creationId xmlns:a16="http://schemas.microsoft.com/office/drawing/2014/main" id="{CF7FC3E8-407B-05C9-742B-CD18AACAFA4C}"/>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49177FA5-A671-B1FB-8E7D-75AAE8E480B9}"/>
              </a:ext>
            </a:extLst>
          </p:cNvPr>
          <p:cNvGrpSpPr/>
          <p:nvPr userDrawn="1"/>
        </p:nvGrpSpPr>
        <p:grpSpPr>
          <a:xfrm>
            <a:off x="12308083" y="0"/>
            <a:ext cx="851744" cy="3915867"/>
            <a:chOff x="5958724" y="2146789"/>
            <a:chExt cx="851744" cy="3915867"/>
          </a:xfrm>
        </p:grpSpPr>
        <p:sp>
          <p:nvSpPr>
            <p:cNvPr id="15" name="Rectangle 14">
              <a:extLst>
                <a:ext uri="{FF2B5EF4-FFF2-40B4-BE49-F238E27FC236}">
                  <a16:creationId xmlns:a16="http://schemas.microsoft.com/office/drawing/2014/main" id="{6C4DF60C-6CCA-5517-24A3-7478F4F08974}"/>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 name="Rectangle 15">
              <a:extLst>
                <a:ext uri="{FF2B5EF4-FFF2-40B4-BE49-F238E27FC236}">
                  <a16:creationId xmlns:a16="http://schemas.microsoft.com/office/drawing/2014/main" id="{1837E433-3C14-2C3F-2914-F58C3BF43F4B}"/>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7" name="Rectangle 16">
              <a:extLst>
                <a:ext uri="{FF2B5EF4-FFF2-40B4-BE49-F238E27FC236}">
                  <a16:creationId xmlns:a16="http://schemas.microsoft.com/office/drawing/2014/main" id="{1F104707-C4D0-8F80-70DA-D374733B329C}"/>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2" name="Rectangle 21">
              <a:extLst>
                <a:ext uri="{FF2B5EF4-FFF2-40B4-BE49-F238E27FC236}">
                  <a16:creationId xmlns:a16="http://schemas.microsoft.com/office/drawing/2014/main" id="{7E063B82-2C01-710D-AD21-7F6B99611F34}"/>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3" name="Rectangle 22">
              <a:extLst>
                <a:ext uri="{FF2B5EF4-FFF2-40B4-BE49-F238E27FC236}">
                  <a16:creationId xmlns:a16="http://schemas.microsoft.com/office/drawing/2014/main" id="{C7806AEE-B425-1FA6-8186-62D35524E646}"/>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8" name="Rectangle 27">
              <a:extLst>
                <a:ext uri="{FF2B5EF4-FFF2-40B4-BE49-F238E27FC236}">
                  <a16:creationId xmlns:a16="http://schemas.microsoft.com/office/drawing/2014/main" id="{71A1DF04-66EB-EE4B-412E-935DD9A5AF35}"/>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9" name="Rectangle 28">
              <a:extLst>
                <a:ext uri="{FF2B5EF4-FFF2-40B4-BE49-F238E27FC236}">
                  <a16:creationId xmlns:a16="http://schemas.microsoft.com/office/drawing/2014/main" id="{08EA53F9-B44B-36EF-567A-97ED2F212DF3}"/>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0" name="Rectangle 29">
              <a:extLst>
                <a:ext uri="{FF2B5EF4-FFF2-40B4-BE49-F238E27FC236}">
                  <a16:creationId xmlns:a16="http://schemas.microsoft.com/office/drawing/2014/main" id="{8BCC0652-D600-F548-6286-A2F43711D7D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1" name="TextBox 30">
              <a:extLst>
                <a:ext uri="{FF2B5EF4-FFF2-40B4-BE49-F238E27FC236}">
                  <a16:creationId xmlns:a16="http://schemas.microsoft.com/office/drawing/2014/main" id="{EDCBDA5C-EB43-9EBB-A139-1B2FE9CE179C}"/>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32" name="Rectangle 31">
              <a:extLst>
                <a:ext uri="{FF2B5EF4-FFF2-40B4-BE49-F238E27FC236}">
                  <a16:creationId xmlns:a16="http://schemas.microsoft.com/office/drawing/2014/main" id="{0F69074C-4669-9383-AC40-5249760434E5}"/>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3" name="Rectangle 32">
              <a:extLst>
                <a:ext uri="{FF2B5EF4-FFF2-40B4-BE49-F238E27FC236}">
                  <a16:creationId xmlns:a16="http://schemas.microsoft.com/office/drawing/2014/main" id="{FAFB43AA-6BF0-B69B-6233-18CC3A8C982E}"/>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4" name="Rectangle 33">
              <a:extLst>
                <a:ext uri="{FF2B5EF4-FFF2-40B4-BE49-F238E27FC236}">
                  <a16:creationId xmlns:a16="http://schemas.microsoft.com/office/drawing/2014/main" id="{DAEDE7C2-507E-CC66-FF98-6F09AAE964D9}"/>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5" name="Rectangle 34">
              <a:extLst>
                <a:ext uri="{FF2B5EF4-FFF2-40B4-BE49-F238E27FC236}">
                  <a16:creationId xmlns:a16="http://schemas.microsoft.com/office/drawing/2014/main" id="{AB6BF922-06DE-C38A-88D8-1BC756C08ECA}"/>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6" name="Rectangle 35">
              <a:extLst>
                <a:ext uri="{FF2B5EF4-FFF2-40B4-BE49-F238E27FC236}">
                  <a16:creationId xmlns:a16="http://schemas.microsoft.com/office/drawing/2014/main" id="{B5881F28-685F-D73B-6CB0-267A49FCA86E}"/>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7" name="Rectangle 36">
              <a:extLst>
                <a:ext uri="{FF2B5EF4-FFF2-40B4-BE49-F238E27FC236}">
                  <a16:creationId xmlns:a16="http://schemas.microsoft.com/office/drawing/2014/main" id="{B9BA7481-93F8-08F1-1C85-DBA7DEAC4D98}"/>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8" name="Rectangle 37">
              <a:extLst>
                <a:ext uri="{FF2B5EF4-FFF2-40B4-BE49-F238E27FC236}">
                  <a16:creationId xmlns:a16="http://schemas.microsoft.com/office/drawing/2014/main" id="{0D5163F8-2294-B96C-FB78-DE6AC3A22485}"/>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4763B7E4-2B5E-7A26-613B-A6520AF70D09}"/>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435EB24A-EDC4-C517-8EEB-FA64672D41CD}"/>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309F3357-13E9-1D00-EE65-B2942E7550B5}"/>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1A0692A7-1A73-BEB6-836F-C5B3E58663EE}"/>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C2AE4D32-2D8B-2EDA-9B27-D3DFAE6C0179}"/>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B2B504B5-2A32-A820-D44B-BAAD9E6130CA}"/>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1A64DA1D-7628-6F63-EE16-DE35E9D9B8BD}"/>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9D4A9102-75C9-C685-EF63-B69098DF7000}"/>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8" name="Rectangle 47">
              <a:extLst>
                <a:ext uri="{FF2B5EF4-FFF2-40B4-BE49-F238E27FC236}">
                  <a16:creationId xmlns:a16="http://schemas.microsoft.com/office/drawing/2014/main" id="{6725A731-F848-CD8D-A73C-CF7BE606C483}"/>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8FD359B4-B866-40FC-1919-1D439B9B7F2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67FED36F-0F16-AEEA-5361-3CDD8634B315}"/>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203CC22C-8EE4-1D0D-D79D-F64470BD6F73}"/>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9D22D4F4-9286-7468-9A5B-C6022A440945}"/>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EE56C8A3-B239-ED35-E850-3DB4F810562F}"/>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D9B11CBC-1447-CE92-7694-18DB278EAC44}"/>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5" name="Rectangle 54">
              <a:extLst>
                <a:ext uri="{FF2B5EF4-FFF2-40B4-BE49-F238E27FC236}">
                  <a16:creationId xmlns:a16="http://schemas.microsoft.com/office/drawing/2014/main" id="{0EC99E47-3BB1-5257-E5FE-1A4EA118786A}"/>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6" name="Rectangle 55">
              <a:extLst>
                <a:ext uri="{FF2B5EF4-FFF2-40B4-BE49-F238E27FC236}">
                  <a16:creationId xmlns:a16="http://schemas.microsoft.com/office/drawing/2014/main" id="{8BC7C860-71D4-834B-3BE3-DDF86BDE711E}"/>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7" name="Rectangle 56">
              <a:extLst>
                <a:ext uri="{FF2B5EF4-FFF2-40B4-BE49-F238E27FC236}">
                  <a16:creationId xmlns:a16="http://schemas.microsoft.com/office/drawing/2014/main" id="{7DE659B2-4868-7FC8-CDA4-0B36519E6724}"/>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8" name="Rectangle 57">
              <a:extLst>
                <a:ext uri="{FF2B5EF4-FFF2-40B4-BE49-F238E27FC236}">
                  <a16:creationId xmlns:a16="http://schemas.microsoft.com/office/drawing/2014/main" id="{28A8A2D7-C5AF-B180-C17E-1CE5235CB1E3}"/>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9" name="Rectangle 58">
              <a:extLst>
                <a:ext uri="{FF2B5EF4-FFF2-40B4-BE49-F238E27FC236}">
                  <a16:creationId xmlns:a16="http://schemas.microsoft.com/office/drawing/2014/main" id="{455B113A-4027-51A6-E4E6-E3F2454F8577}"/>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23A6DFFE-66CD-4DB9-3593-7D2D12B83B80}"/>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1" name="Rectangle 60">
              <a:extLst>
                <a:ext uri="{FF2B5EF4-FFF2-40B4-BE49-F238E27FC236}">
                  <a16:creationId xmlns:a16="http://schemas.microsoft.com/office/drawing/2014/main" id="{71FE9371-7F0D-8330-34E4-95BD5C7EA69D}"/>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2" name="Rectangle 61">
              <a:extLst>
                <a:ext uri="{FF2B5EF4-FFF2-40B4-BE49-F238E27FC236}">
                  <a16:creationId xmlns:a16="http://schemas.microsoft.com/office/drawing/2014/main" id="{DCB288CB-1D79-7E0D-47F0-B967D8DF6AE7}"/>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3" name="Rectangle 62">
              <a:extLst>
                <a:ext uri="{FF2B5EF4-FFF2-40B4-BE49-F238E27FC236}">
                  <a16:creationId xmlns:a16="http://schemas.microsoft.com/office/drawing/2014/main" id="{A882367F-2BF0-12F7-C04F-F87CE2D86773}"/>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8" name="Rectangle 127">
              <a:extLst>
                <a:ext uri="{FF2B5EF4-FFF2-40B4-BE49-F238E27FC236}">
                  <a16:creationId xmlns:a16="http://schemas.microsoft.com/office/drawing/2014/main" id="{1300F109-2AA8-26BD-8B7B-17A056BA7105}"/>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9" name="Rectangle 128">
              <a:extLst>
                <a:ext uri="{FF2B5EF4-FFF2-40B4-BE49-F238E27FC236}">
                  <a16:creationId xmlns:a16="http://schemas.microsoft.com/office/drawing/2014/main" id="{F5C6C721-7F30-47B3-D534-376A6EA36BC2}"/>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E9ED8FF6-9CA1-A64C-03EE-2B2DA2712494}"/>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31" name="Rectangle 130">
              <a:extLst>
                <a:ext uri="{FF2B5EF4-FFF2-40B4-BE49-F238E27FC236}">
                  <a16:creationId xmlns:a16="http://schemas.microsoft.com/office/drawing/2014/main" id="{A0D1E964-DD1D-B70B-1602-6E31423389A2}"/>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32" name="TextBox 131">
              <a:extLst>
                <a:ext uri="{FF2B5EF4-FFF2-40B4-BE49-F238E27FC236}">
                  <a16:creationId xmlns:a16="http://schemas.microsoft.com/office/drawing/2014/main" id="{AA956708-B768-12ED-E58E-5FDA0A8F2B58}"/>
                </a:ext>
              </a:extLst>
            </p:cNvPr>
            <p:cNvSpPr txBox="1"/>
            <p:nvPr/>
          </p:nvSpPr>
          <p:spPr>
            <a:xfrm>
              <a:off x="6179531" y="2792515"/>
              <a:ext cx="630936" cy="184666"/>
            </a:xfrm>
            <a:prstGeom prst="rect">
              <a:avLst/>
            </a:prstGeom>
            <a:noFill/>
          </p:spPr>
          <p:txBody>
            <a:bodyPr wrap="square" lIns="0" rIns="0" rtlCol="0">
              <a:spAutoFit/>
            </a:bodyPr>
            <a:lstStyle/>
            <a:p>
              <a:r>
                <a:rPr lang="en-US" sz="600">
                  <a:solidFill>
                    <a:schemeClr val="tx1"/>
                  </a:solidFill>
                </a:rPr>
                <a:t>Bright Blue</a:t>
              </a:r>
            </a:p>
          </p:txBody>
        </p:sp>
        <p:sp>
          <p:nvSpPr>
            <p:cNvPr id="133" name="TextBox 132">
              <a:extLst>
                <a:ext uri="{FF2B5EF4-FFF2-40B4-BE49-F238E27FC236}">
                  <a16:creationId xmlns:a16="http://schemas.microsoft.com/office/drawing/2014/main" id="{6C8E03D3-79FA-5790-2AE5-EEAB3C36429F}"/>
                </a:ext>
              </a:extLst>
            </p:cNvPr>
            <p:cNvSpPr txBox="1"/>
            <p:nvPr/>
          </p:nvSpPr>
          <p:spPr>
            <a:xfrm>
              <a:off x="6180244" y="5875802"/>
              <a:ext cx="630223" cy="184666"/>
            </a:xfrm>
            <a:prstGeom prst="rect">
              <a:avLst/>
            </a:prstGeom>
            <a:noFill/>
          </p:spPr>
          <p:txBody>
            <a:bodyPr wrap="square" lIns="0" rIns="0" rtlCol="0">
              <a:spAutoFit/>
            </a:bodyPr>
            <a:lstStyle/>
            <a:p>
              <a:r>
                <a:rPr lang="en-US" sz="600"/>
                <a:t>5% Charcoal</a:t>
              </a:r>
              <a:endParaRPr lang="en-US" sz="600">
                <a:solidFill>
                  <a:schemeClr val="tx1"/>
                </a:solidFill>
              </a:endParaRPr>
            </a:p>
          </p:txBody>
        </p:sp>
        <p:sp>
          <p:nvSpPr>
            <p:cNvPr id="138" name="Rectangle 137">
              <a:extLst>
                <a:ext uri="{FF2B5EF4-FFF2-40B4-BE49-F238E27FC236}">
                  <a16:creationId xmlns:a16="http://schemas.microsoft.com/office/drawing/2014/main" id="{13D89731-3E20-97EC-F557-5C7FFF874769}"/>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1" name="TextBox 140">
              <a:extLst>
                <a:ext uri="{FF2B5EF4-FFF2-40B4-BE49-F238E27FC236}">
                  <a16:creationId xmlns:a16="http://schemas.microsoft.com/office/drawing/2014/main" id="{4499DB51-285F-C0E1-7327-524D0F8DC29F}"/>
                </a:ext>
              </a:extLst>
            </p:cNvPr>
            <p:cNvSpPr txBox="1"/>
            <p:nvPr/>
          </p:nvSpPr>
          <p:spPr>
            <a:xfrm>
              <a:off x="6180244" y="5662777"/>
              <a:ext cx="630223" cy="184666"/>
            </a:xfrm>
            <a:prstGeom prst="rect">
              <a:avLst/>
            </a:prstGeom>
            <a:noFill/>
          </p:spPr>
          <p:txBody>
            <a:bodyPr wrap="square" lIns="0" rIns="0" rtlCol="0">
              <a:spAutoFit/>
            </a:bodyPr>
            <a:lstStyle/>
            <a:p>
              <a:r>
                <a:rPr lang="en-US" sz="600"/>
                <a:t>Indigo</a:t>
              </a:r>
              <a:endParaRPr lang="en-US" sz="600">
                <a:solidFill>
                  <a:schemeClr val="tx1"/>
                </a:solidFill>
              </a:endParaRPr>
            </a:p>
          </p:txBody>
        </p:sp>
        <p:sp>
          <p:nvSpPr>
            <p:cNvPr id="143" name="TextBox 142">
              <a:extLst>
                <a:ext uri="{FF2B5EF4-FFF2-40B4-BE49-F238E27FC236}">
                  <a16:creationId xmlns:a16="http://schemas.microsoft.com/office/drawing/2014/main" id="{519CE7E2-AD4C-514C-3492-EDA3DC9093B4}"/>
                </a:ext>
              </a:extLst>
            </p:cNvPr>
            <p:cNvSpPr txBox="1"/>
            <p:nvPr/>
          </p:nvSpPr>
          <p:spPr>
            <a:xfrm>
              <a:off x="6180244" y="5451924"/>
              <a:ext cx="630223" cy="184666"/>
            </a:xfrm>
            <a:prstGeom prst="rect">
              <a:avLst/>
            </a:prstGeom>
            <a:noFill/>
          </p:spPr>
          <p:txBody>
            <a:bodyPr wrap="square" lIns="0" rIns="0" rtlCol="0">
              <a:spAutoFit/>
            </a:bodyPr>
            <a:lstStyle/>
            <a:p>
              <a:r>
                <a:rPr lang="en-US" sz="600">
                  <a:solidFill>
                    <a:schemeClr val="tx1"/>
                  </a:solidFill>
                </a:rPr>
                <a:t>Red</a:t>
              </a:r>
            </a:p>
          </p:txBody>
        </p:sp>
        <p:sp>
          <p:nvSpPr>
            <p:cNvPr id="144" name="Rectangle 143">
              <a:extLst>
                <a:ext uri="{FF2B5EF4-FFF2-40B4-BE49-F238E27FC236}">
                  <a16:creationId xmlns:a16="http://schemas.microsoft.com/office/drawing/2014/main" id="{23CA119A-007E-5B27-30C3-AE5689AEFF96}"/>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45" name="Rectangle 144">
              <a:extLst>
                <a:ext uri="{FF2B5EF4-FFF2-40B4-BE49-F238E27FC236}">
                  <a16:creationId xmlns:a16="http://schemas.microsoft.com/office/drawing/2014/main" id="{BEA27EEF-0F61-E3F6-9521-3896AF625121}"/>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46" name="Rectangle 145">
              <a:extLst>
                <a:ext uri="{FF2B5EF4-FFF2-40B4-BE49-F238E27FC236}">
                  <a16:creationId xmlns:a16="http://schemas.microsoft.com/office/drawing/2014/main" id="{E915AF73-08F2-16D9-AA05-B07B81B40C83}"/>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47" name="Rectangle 146">
              <a:extLst>
                <a:ext uri="{FF2B5EF4-FFF2-40B4-BE49-F238E27FC236}">
                  <a16:creationId xmlns:a16="http://schemas.microsoft.com/office/drawing/2014/main" id="{DAD17EFA-FE8F-3CA2-53B8-DA50C8F6628C}"/>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52" name="Rectangle 151">
              <a:extLst>
                <a:ext uri="{FF2B5EF4-FFF2-40B4-BE49-F238E27FC236}">
                  <a16:creationId xmlns:a16="http://schemas.microsoft.com/office/drawing/2014/main" id="{049E7014-C19C-D6E7-3527-B5C4EA6AD1E3}"/>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53" name="TextBox 152">
              <a:extLst>
                <a:ext uri="{FF2B5EF4-FFF2-40B4-BE49-F238E27FC236}">
                  <a16:creationId xmlns:a16="http://schemas.microsoft.com/office/drawing/2014/main" id="{6FD1D4D8-3523-B325-7345-A091E45CD0B0}"/>
                </a:ext>
              </a:extLst>
            </p:cNvPr>
            <p:cNvSpPr txBox="1"/>
            <p:nvPr/>
          </p:nvSpPr>
          <p:spPr>
            <a:xfrm>
              <a:off x="6179531" y="3472758"/>
              <a:ext cx="630936" cy="184666"/>
            </a:xfrm>
            <a:prstGeom prst="rect">
              <a:avLst/>
            </a:prstGeom>
            <a:noFill/>
          </p:spPr>
          <p:txBody>
            <a:bodyPr wrap="square" lIns="0" rIns="0" rtlCol="0">
              <a:spAutoFit/>
            </a:bodyPr>
            <a:lstStyle/>
            <a:p>
              <a:r>
                <a:rPr lang="en-US" sz="600">
                  <a:solidFill>
                    <a:schemeClr val="tx1"/>
                  </a:solidFill>
                </a:rPr>
                <a:t>Bright Teal</a:t>
              </a:r>
            </a:p>
          </p:txBody>
        </p:sp>
        <p:sp>
          <p:nvSpPr>
            <p:cNvPr id="154" name="Rectangle 153">
              <a:extLst>
                <a:ext uri="{FF2B5EF4-FFF2-40B4-BE49-F238E27FC236}">
                  <a16:creationId xmlns:a16="http://schemas.microsoft.com/office/drawing/2014/main" id="{1D5CFA12-39C3-771C-FCAB-0A5BE8423194}"/>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55" name="TextBox 154">
              <a:extLst>
                <a:ext uri="{FF2B5EF4-FFF2-40B4-BE49-F238E27FC236}">
                  <a16:creationId xmlns:a16="http://schemas.microsoft.com/office/drawing/2014/main" id="{5912EDF8-FB90-D9F2-1C6C-8E9FD5D3EBE0}"/>
                </a:ext>
              </a:extLst>
            </p:cNvPr>
            <p:cNvSpPr txBox="1"/>
            <p:nvPr/>
          </p:nvSpPr>
          <p:spPr>
            <a:xfrm>
              <a:off x="6179531" y="4147128"/>
              <a:ext cx="630936" cy="184666"/>
            </a:xfrm>
            <a:prstGeom prst="rect">
              <a:avLst/>
            </a:prstGeom>
            <a:noFill/>
          </p:spPr>
          <p:txBody>
            <a:bodyPr wrap="square" lIns="0" rIns="0" rtlCol="0">
              <a:spAutoFit/>
            </a:bodyPr>
            <a:lstStyle/>
            <a:p>
              <a:r>
                <a:rPr lang="en-US" sz="600">
                  <a:solidFill>
                    <a:schemeClr val="tx1"/>
                  </a:solidFill>
                </a:rPr>
                <a:t>Bright Green</a:t>
              </a:r>
            </a:p>
          </p:txBody>
        </p:sp>
      </p:grpSp>
    </p:spTree>
    <p:extLst>
      <p:ext uri="{BB962C8B-B14F-4D97-AF65-F5344CB8AC3E}">
        <p14:creationId xmlns:p14="http://schemas.microsoft.com/office/powerpoint/2010/main" val="1440223274"/>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 id="2147484241" r:id="rId22"/>
    <p:sldLayoutId id="2147484242" r:id="rId23"/>
    <p:sldLayoutId id="2147484243" r:id="rId24"/>
    <p:sldLayoutId id="2147484244" r:id="rId25"/>
    <p:sldLayoutId id="2147484245" r:id="rId26"/>
    <p:sldLayoutId id="2147484246" r:id="rId27"/>
    <p:sldLayoutId id="2147484247" r:id="rId28"/>
    <p:sldLayoutId id="2147484248" r:id="rId29"/>
    <p:sldLayoutId id="2147484249" r:id="rId30"/>
    <p:sldLayoutId id="2147484250" r:id="rId31"/>
    <p:sldLayoutId id="2147484251" r:id="rId32"/>
    <p:sldLayoutId id="2147484252" r:id="rId33"/>
    <p:sldLayoutId id="2147484253" r:id="rId34"/>
    <p:sldLayoutId id="2147484254" r:id="rId35"/>
    <p:sldLayoutId id="2147484255" r:id="rId36"/>
    <p:sldLayoutId id="2147484256" r:id="rId37"/>
    <p:sldLayoutId id="2147484257" r:id="rId38"/>
    <p:sldLayoutId id="2147484258" r:id="rId39"/>
    <p:sldLayoutId id="2147484259" r:id="rId40"/>
    <p:sldLayoutId id="2147484260" r:id="rId41"/>
    <p:sldLayoutId id="2147484261" r:id="rId42"/>
    <p:sldLayoutId id="2147484262" r:id="rId43"/>
    <p:sldLayoutId id="2147484263" r:id="rId44"/>
    <p:sldLayoutId id="2147484264" r:id="rId45"/>
    <p:sldLayoutId id="2147484265"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8E1E63C-4E57-30A4-BEFB-EA3B6986DE95}"/>
              </a:ext>
            </a:extLst>
          </p:cNvPr>
          <p:cNvGraphicFramePr>
            <a:graphicFrameLocks noChangeAspect="1"/>
          </p:cNvGraphicFramePr>
          <p:nvPr userDrawn="1">
            <p:custDataLst>
              <p:tags r:id="rId17"/>
            </p:custDataLst>
            <p:extLst>
              <p:ext uri="{D42A27DB-BD31-4B8C-83A1-F6EECF244321}">
                <p14:modId xmlns:p14="http://schemas.microsoft.com/office/powerpoint/2010/main" val="634393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3" imgH="476" progId="TCLayout.ActiveDocument.1">
                  <p:embed/>
                </p:oleObj>
              </mc:Choice>
              <mc:Fallback>
                <p:oleObj name="think-cell Slide" r:id="rId18" imgW="473" imgH="476" progId="TCLayout.ActiveDocument.1">
                  <p:embed/>
                  <p:pic>
                    <p:nvPicPr>
                      <p:cNvPr id="2" name="think-cell data - do not delete" hidden="1">
                        <a:extLst>
                          <a:ext uri="{FF2B5EF4-FFF2-40B4-BE49-F238E27FC236}">
                            <a16:creationId xmlns:a16="http://schemas.microsoft.com/office/drawing/2014/main" id="{18E1E63C-4E57-30A4-BEFB-EA3B6986DE9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3.0.0)</a:t>
            </a:r>
            <a:endParaRPr lang="en-US" sz="1000" kern="120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a:t>5% Charcoal</a:t>
              </a:r>
              <a:endParaRPr lang="en-US" sz="60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a:t>Indigo</a:t>
              </a:r>
              <a:endParaRPr lang="en-US" sz="60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a:solidFill>
                    <a:schemeClr val="tx1"/>
                  </a:solidFill>
                </a:rPr>
                <a:t>Bright Green</a:t>
              </a:r>
            </a:p>
          </p:txBody>
        </p:sp>
      </p:grpSp>
    </p:spTree>
    <p:extLst>
      <p:ext uri="{BB962C8B-B14F-4D97-AF65-F5344CB8AC3E}">
        <p14:creationId xmlns:p14="http://schemas.microsoft.com/office/powerpoint/2010/main" val="3731022859"/>
      </p:ext>
    </p:extLst>
  </p:cSld>
  <p:clrMap bg1="lt1" tx1="dk1" bg2="lt2" tx2="dk2" accent1="accent1" accent2="accent2" accent3="accent3" accent4="accent4" accent5="accent5" accent6="accent6" hlink="hlink" folHlink="folHlink"/>
  <p:sldLayoutIdLst>
    <p:sldLayoutId id="2147484267" r:id="rId1"/>
    <p:sldLayoutId id="2147484268" r:id="rId2"/>
    <p:sldLayoutId id="2147484269" r:id="rId3"/>
    <p:sldLayoutId id="2147484270" r:id="rId4"/>
    <p:sldLayoutId id="2147484271" r:id="rId5"/>
    <p:sldLayoutId id="2147484272"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1"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0817964-17AC-B6E0-C22F-2EDFECEED46D}"/>
              </a:ext>
            </a:extLst>
          </p:cNvPr>
          <p:cNvGraphicFramePr>
            <a:graphicFrameLocks noChangeAspect="1"/>
          </p:cNvGraphicFramePr>
          <p:nvPr userDrawn="1">
            <p:custDataLst>
              <p:tags r:id="rId37"/>
            </p:custDataLst>
            <p:extLst>
              <p:ext uri="{D42A27DB-BD31-4B8C-83A1-F6EECF244321}">
                <p14:modId xmlns:p14="http://schemas.microsoft.com/office/powerpoint/2010/main" val="650131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0" imgH="411" progId="TCLayout.ActiveDocument.1">
                  <p:embed/>
                </p:oleObj>
              </mc:Choice>
              <mc:Fallback>
                <p:oleObj name="think-cell Slide" r:id="rId38" imgW="410" imgH="411" progId="TCLayout.ActiveDocument.1">
                  <p:embed/>
                  <p:pic>
                    <p:nvPicPr>
                      <p:cNvPr id="2" name="think-cell data - do not delete" hidden="1">
                        <a:extLst>
                          <a:ext uri="{FF2B5EF4-FFF2-40B4-BE49-F238E27FC236}">
                            <a16:creationId xmlns:a16="http://schemas.microsoft.com/office/drawing/2014/main" id="{30817964-17AC-B6E0-C22F-2EDFECEED46D}"/>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3.0.0)</a:t>
            </a:r>
            <a:endParaRPr lang="en-US" sz="1000" kern="120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a:t>5% Charcoal</a:t>
              </a:r>
              <a:endParaRPr lang="en-US" sz="60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a:t>Indigo</a:t>
              </a:r>
              <a:endParaRPr lang="en-US" sz="60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a:solidFill>
                    <a:schemeClr val="tx1"/>
                  </a:solidFill>
                </a:rPr>
                <a:t>Bright Green</a:t>
              </a:r>
            </a:p>
          </p:txBody>
        </p:sp>
      </p:grpSp>
    </p:spTree>
    <p:extLst>
      <p:ext uri="{BB962C8B-B14F-4D97-AF65-F5344CB8AC3E}">
        <p14:creationId xmlns:p14="http://schemas.microsoft.com/office/powerpoint/2010/main" val="3534326137"/>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 id="2147484351" r:id="rId22"/>
    <p:sldLayoutId id="2147484352" r:id="rId23"/>
    <p:sldLayoutId id="2147484353" r:id="rId24"/>
    <p:sldLayoutId id="2147484354" r:id="rId25"/>
    <p:sldLayoutId id="2147484355" r:id="rId26"/>
    <p:sldLayoutId id="2147484356" r:id="rId27"/>
    <p:sldLayoutId id="2147484357" r:id="rId28"/>
    <p:sldLayoutId id="2147484358" r:id="rId29"/>
    <p:sldLayoutId id="2147484359" r:id="rId30"/>
    <p:sldLayoutId id="2147484360" r:id="rId31"/>
    <p:sldLayoutId id="2147484361" r:id="rId32"/>
    <p:sldLayoutId id="2147484362" r:id="rId33"/>
    <p:sldLayoutId id="2147484363" r:id="rId34"/>
    <p:sldLayoutId id="2147484364"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8.xml"/><Relationship Id="rId1" Type="http://schemas.openxmlformats.org/officeDocument/2006/relationships/tags" Target="../tags/tag122.xml"/><Relationship Id="rId4" Type="http://schemas.openxmlformats.org/officeDocument/2006/relationships/image" Target="../media/image3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9.xml"/><Relationship Id="rId1" Type="http://schemas.openxmlformats.org/officeDocument/2006/relationships/tags" Target="../tags/tag130.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6.xml"/><Relationship Id="rId1" Type="http://schemas.openxmlformats.org/officeDocument/2006/relationships/tags" Target="../tags/tag131.xml"/><Relationship Id="rId5" Type="http://schemas.openxmlformats.org/officeDocument/2006/relationships/image" Target="../media/image38.emf"/><Relationship Id="rId4" Type="http://schemas.openxmlformats.org/officeDocument/2006/relationships/oleObject" Target="../embeddings/oleObject5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2.xml"/><Relationship Id="rId1" Type="http://schemas.openxmlformats.org/officeDocument/2006/relationships/tags" Target="../tags/tag132.xml"/><Relationship Id="rId6" Type="http://schemas.openxmlformats.org/officeDocument/2006/relationships/chart" Target="../charts/chart10.xml"/><Relationship Id="rId5" Type="http://schemas.openxmlformats.org/officeDocument/2006/relationships/image" Target="../media/image38.emf"/><Relationship Id="rId4" Type="http://schemas.openxmlformats.org/officeDocument/2006/relationships/oleObject" Target="../embeddings/oleObject5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4.xml"/><Relationship Id="rId1" Type="http://schemas.openxmlformats.org/officeDocument/2006/relationships/tags" Target="../tags/tag133.xml"/><Relationship Id="rId6" Type="http://schemas.openxmlformats.org/officeDocument/2006/relationships/chart" Target="../charts/chart11.xml"/><Relationship Id="rId5" Type="http://schemas.openxmlformats.org/officeDocument/2006/relationships/image" Target="../media/image38.emf"/><Relationship Id="rId4" Type="http://schemas.openxmlformats.org/officeDocument/2006/relationships/oleObject" Target="../embeddings/oleObject5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8.xml"/><Relationship Id="rId1" Type="http://schemas.openxmlformats.org/officeDocument/2006/relationships/tags" Target="../tags/tag134.xml"/><Relationship Id="rId6" Type="http://schemas.openxmlformats.org/officeDocument/2006/relationships/chart" Target="../charts/chart12.xml"/><Relationship Id="rId5" Type="http://schemas.openxmlformats.org/officeDocument/2006/relationships/image" Target="../media/image38.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8.xml"/><Relationship Id="rId1" Type="http://schemas.openxmlformats.org/officeDocument/2006/relationships/slideLayout" Target="../slideLayouts/slideLayout93.xml"/><Relationship Id="rId6" Type="http://schemas.openxmlformats.org/officeDocument/2006/relationships/image" Target="../media/image67.svg"/><Relationship Id="rId5" Type="http://schemas.openxmlformats.org/officeDocument/2006/relationships/image" Target="../media/image66.svg"/><Relationship Id="rId4" Type="http://schemas.openxmlformats.org/officeDocument/2006/relationships/image" Target="../media/image65.sv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19.xml"/><Relationship Id="rId1" Type="http://schemas.openxmlformats.org/officeDocument/2006/relationships/tags" Target="../tags/tag135.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21" Type="http://schemas.openxmlformats.org/officeDocument/2006/relationships/tags" Target="../tags/tag156.xml"/><Relationship Id="rId34" Type="http://schemas.openxmlformats.org/officeDocument/2006/relationships/chart" Target="../charts/chart14.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33" Type="http://schemas.openxmlformats.org/officeDocument/2006/relationships/hyperlink" Target="https://www.bma.org.uk/advice-and-support/nhs-delivery-and-workforce/pressures/nhs-backlog-data-analysis" TargetMode="External"/><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slideLayout" Target="../slideLayouts/slideLayout61.xml"/><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tags" Target="../tags/tag159.xml"/><Relationship Id="rId32" Type="http://schemas.openxmlformats.org/officeDocument/2006/relationships/image" Target="../media/image68.emf"/><Relationship Id="rId37" Type="http://schemas.openxmlformats.org/officeDocument/2006/relationships/chart" Target="../charts/chart16.xml"/><Relationship Id="rId5" Type="http://schemas.openxmlformats.org/officeDocument/2006/relationships/tags" Target="../tags/tag140.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tags" Target="../tags/tag163.xml"/><Relationship Id="rId36" Type="http://schemas.openxmlformats.org/officeDocument/2006/relationships/chart" Target="../charts/chart15.xml"/><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oleObject" Target="../embeddings/oleObject62.bin"/><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tags" Target="../tags/tag162.xml"/><Relationship Id="rId30" Type="http://schemas.openxmlformats.org/officeDocument/2006/relationships/notesSlide" Target="../notesSlides/notesSlide9.xml"/><Relationship Id="rId35" Type="http://schemas.openxmlformats.org/officeDocument/2006/relationships/image" Target="../media/image69.svg"/><Relationship Id="rId8" Type="http://schemas.openxmlformats.org/officeDocument/2006/relationships/tags" Target="../tags/tag143.xml"/><Relationship Id="rId3" Type="http://schemas.openxmlformats.org/officeDocument/2006/relationships/tags" Target="../tags/tag13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70.png"/><Relationship Id="rId2" Type="http://schemas.openxmlformats.org/officeDocument/2006/relationships/slideLayout" Target="../slideLayouts/slideLayout105.xml"/><Relationship Id="rId1" Type="http://schemas.openxmlformats.org/officeDocument/2006/relationships/tags" Target="../tags/tag164.xml"/><Relationship Id="rId6" Type="http://schemas.openxmlformats.org/officeDocument/2006/relationships/chart" Target="../charts/chart17.xml"/><Relationship Id="rId5" Type="http://schemas.openxmlformats.org/officeDocument/2006/relationships/image" Target="../media/image68.emf"/><Relationship Id="rId4" Type="http://schemas.openxmlformats.org/officeDocument/2006/relationships/oleObject" Target="../embeddings/oleObject63.bin"/></Relationships>
</file>

<file path=ppt/slides/_rels/slide19.xml.rels><?xml version="1.0" encoding="UTF-8" standalone="yes"?>
<Relationships xmlns="http://schemas.openxmlformats.org/package/2006/relationships"><Relationship Id="rId13" Type="http://schemas.openxmlformats.org/officeDocument/2006/relationships/tags" Target="../tags/tag177.xml"/><Relationship Id="rId18" Type="http://schemas.openxmlformats.org/officeDocument/2006/relationships/tags" Target="../tags/tag182.xml"/><Relationship Id="rId26" Type="http://schemas.openxmlformats.org/officeDocument/2006/relationships/tags" Target="../tags/tag190.xml"/><Relationship Id="rId21" Type="http://schemas.openxmlformats.org/officeDocument/2006/relationships/tags" Target="../tags/tag185.xml"/><Relationship Id="rId34" Type="http://schemas.openxmlformats.org/officeDocument/2006/relationships/oleObject" Target="../embeddings/oleObject64.bin"/><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tags" Target="../tags/tag189.xml"/><Relationship Id="rId33" Type="http://schemas.openxmlformats.org/officeDocument/2006/relationships/notesSlide" Target="../notesSlides/notesSlide11.xml"/><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29" Type="http://schemas.openxmlformats.org/officeDocument/2006/relationships/tags" Target="../tags/tag193.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tags" Target="../tags/tag188.xml"/><Relationship Id="rId32" Type="http://schemas.openxmlformats.org/officeDocument/2006/relationships/slideLayout" Target="../slideLayouts/slideLayout39.xml"/><Relationship Id="rId37" Type="http://schemas.openxmlformats.org/officeDocument/2006/relationships/chart" Target="../charts/chart19.xml"/><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tags" Target="../tags/tag187.xml"/><Relationship Id="rId28" Type="http://schemas.openxmlformats.org/officeDocument/2006/relationships/tags" Target="../tags/tag192.xml"/><Relationship Id="rId36" Type="http://schemas.openxmlformats.org/officeDocument/2006/relationships/chart" Target="../charts/chart18.xml"/><Relationship Id="rId10" Type="http://schemas.openxmlformats.org/officeDocument/2006/relationships/tags" Target="../tags/tag174.xml"/><Relationship Id="rId19" Type="http://schemas.openxmlformats.org/officeDocument/2006/relationships/tags" Target="../tags/tag183.xml"/><Relationship Id="rId31" Type="http://schemas.openxmlformats.org/officeDocument/2006/relationships/tags" Target="../tags/tag195.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tags" Target="../tags/tag186.xml"/><Relationship Id="rId27" Type="http://schemas.openxmlformats.org/officeDocument/2006/relationships/tags" Target="../tags/tag191.xml"/><Relationship Id="rId30" Type="http://schemas.openxmlformats.org/officeDocument/2006/relationships/tags" Target="../tags/tag194.xml"/><Relationship Id="rId35" Type="http://schemas.openxmlformats.org/officeDocument/2006/relationships/image" Target="../media/image71.emf"/><Relationship Id="rId8" Type="http://schemas.openxmlformats.org/officeDocument/2006/relationships/tags" Target="../tags/tag172.xml"/><Relationship Id="rId3" Type="http://schemas.openxmlformats.org/officeDocument/2006/relationships/tags" Target="../tags/tag16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7.xml"/><Relationship Id="rId1" Type="http://schemas.openxmlformats.org/officeDocument/2006/relationships/tags" Target="../tags/tag123.xml"/><Relationship Id="rId4" Type="http://schemas.openxmlformats.org/officeDocument/2006/relationships/image" Target="../media/image38.emf"/></Relationships>
</file>

<file path=ppt/slides/_rels/slide20.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svg"/><Relationship Id="rId3" Type="http://schemas.openxmlformats.org/officeDocument/2006/relationships/notesSlide" Target="../notesSlides/notesSlide12.xml"/><Relationship Id="rId7" Type="http://schemas.openxmlformats.org/officeDocument/2006/relationships/image" Target="../media/image73.svg"/><Relationship Id="rId12" Type="http://schemas.openxmlformats.org/officeDocument/2006/relationships/image" Target="../media/image78.png"/><Relationship Id="rId2" Type="http://schemas.openxmlformats.org/officeDocument/2006/relationships/slideLayout" Target="../slideLayouts/slideLayout35.xml"/><Relationship Id="rId1" Type="http://schemas.openxmlformats.org/officeDocument/2006/relationships/tags" Target="../tags/tag196.xml"/><Relationship Id="rId6" Type="http://schemas.openxmlformats.org/officeDocument/2006/relationships/hyperlink" Target="https://www.iqvia.com/library/white-papers/nutrition-as-the-keystone-for-obesity-management-medication" TargetMode="External"/><Relationship Id="rId11" Type="http://schemas.openxmlformats.org/officeDocument/2006/relationships/image" Target="../media/image77.png"/><Relationship Id="rId5" Type="http://schemas.openxmlformats.org/officeDocument/2006/relationships/image" Target="../media/image72.emf"/><Relationship Id="rId15" Type="http://schemas.openxmlformats.org/officeDocument/2006/relationships/image" Target="../media/image81.svg"/><Relationship Id="rId10" Type="http://schemas.openxmlformats.org/officeDocument/2006/relationships/image" Target="../media/image76.svg"/><Relationship Id="rId4" Type="http://schemas.openxmlformats.org/officeDocument/2006/relationships/oleObject" Target="../embeddings/oleObject65.bin"/><Relationship Id="rId9" Type="http://schemas.openxmlformats.org/officeDocument/2006/relationships/image" Target="../media/image75.svg"/><Relationship Id="rId14" Type="http://schemas.openxmlformats.org/officeDocument/2006/relationships/image" Target="../media/image80.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42.xml"/><Relationship Id="rId1" Type="http://schemas.openxmlformats.org/officeDocument/2006/relationships/tags" Target="../tags/tag197.xml"/><Relationship Id="rId5" Type="http://schemas.openxmlformats.org/officeDocument/2006/relationships/chart" Target="../charts/chart20.xml"/><Relationship Id="rId4" Type="http://schemas.openxmlformats.org/officeDocument/2006/relationships/image" Target="../media/image6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1.xml"/><Relationship Id="rId1" Type="http://schemas.openxmlformats.org/officeDocument/2006/relationships/tags" Target="../tags/tag198.xml"/><Relationship Id="rId6" Type="http://schemas.openxmlformats.org/officeDocument/2006/relationships/chart" Target="../charts/chart21.xml"/><Relationship Id="rId5" Type="http://schemas.openxmlformats.org/officeDocument/2006/relationships/image" Target="../media/image82.svg"/><Relationship Id="rId4" Type="http://schemas.openxmlformats.org/officeDocument/2006/relationships/image" Target="../media/image3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1.xml"/><Relationship Id="rId1" Type="http://schemas.openxmlformats.org/officeDocument/2006/relationships/tags" Target="../tags/tag199.xml"/><Relationship Id="rId5" Type="http://schemas.openxmlformats.org/officeDocument/2006/relationships/chart" Target="../charts/chart22.xml"/><Relationship Id="rId4" Type="http://schemas.openxmlformats.org/officeDocument/2006/relationships/image" Target="../media/image38.emf"/></Relationships>
</file>

<file path=ppt/slides/_rels/slide2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5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19.xml"/><Relationship Id="rId1" Type="http://schemas.openxmlformats.org/officeDocument/2006/relationships/tags" Target="../tags/tag200.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13.xml"/></Relationships>
</file>

<file path=ppt/slides/_rels/slide27.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90.png"/><Relationship Id="rId3" Type="http://schemas.openxmlformats.org/officeDocument/2006/relationships/notesSlide" Target="../notesSlides/notesSlide14.xml"/><Relationship Id="rId7" Type="http://schemas.openxmlformats.org/officeDocument/2006/relationships/image" Target="../media/image84.svg"/><Relationship Id="rId12" Type="http://schemas.openxmlformats.org/officeDocument/2006/relationships/image" Target="../media/image89.png"/><Relationship Id="rId2" Type="http://schemas.openxmlformats.org/officeDocument/2006/relationships/slideLayout" Target="../slideLayouts/slideLayout16.xml"/><Relationship Id="rId1" Type="http://schemas.openxmlformats.org/officeDocument/2006/relationships/tags" Target="../tags/tag203.xml"/><Relationship Id="rId6" Type="http://schemas.openxmlformats.org/officeDocument/2006/relationships/image" Target="../media/image83.svg"/><Relationship Id="rId11" Type="http://schemas.openxmlformats.org/officeDocument/2006/relationships/image" Target="../media/image88.svg"/><Relationship Id="rId5" Type="http://schemas.openxmlformats.org/officeDocument/2006/relationships/image" Target="../media/image1.emf"/><Relationship Id="rId15" Type="http://schemas.openxmlformats.org/officeDocument/2006/relationships/image" Target="../media/image92.svg"/><Relationship Id="rId10" Type="http://schemas.openxmlformats.org/officeDocument/2006/relationships/image" Target="../media/image87.png"/><Relationship Id="rId4" Type="http://schemas.openxmlformats.org/officeDocument/2006/relationships/oleObject" Target="../embeddings/oleObject71.bin"/><Relationship Id="rId9" Type="http://schemas.openxmlformats.org/officeDocument/2006/relationships/image" Target="../media/image86.png"/><Relationship Id="rId14" Type="http://schemas.openxmlformats.org/officeDocument/2006/relationships/image" Target="../media/image91.svg"/></Relationships>
</file>

<file path=ppt/slides/_rels/slide28.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notesSlide" Target="../notesSlides/notesSlide15.xml"/><Relationship Id="rId7" Type="http://schemas.openxmlformats.org/officeDocument/2006/relationships/image" Target="../media/image94.svg"/><Relationship Id="rId2" Type="http://schemas.openxmlformats.org/officeDocument/2006/relationships/slideLayout" Target="../slideLayouts/slideLayout37.xml"/><Relationship Id="rId1" Type="http://schemas.openxmlformats.org/officeDocument/2006/relationships/tags" Target="../tags/tag204.xml"/><Relationship Id="rId6" Type="http://schemas.openxmlformats.org/officeDocument/2006/relationships/image" Target="../media/image93.svg"/><Relationship Id="rId5" Type="http://schemas.openxmlformats.org/officeDocument/2006/relationships/image" Target="../media/image38.emf"/><Relationship Id="rId4" Type="http://schemas.openxmlformats.org/officeDocument/2006/relationships/oleObject" Target="../embeddings/oleObject72.bin"/></Relationships>
</file>

<file path=ppt/slides/_rels/slide29.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notesSlide" Target="../notesSlides/notesSlide16.xml"/><Relationship Id="rId7" Type="http://schemas.openxmlformats.org/officeDocument/2006/relationships/hyperlink" Target="https://www.data.gov.uk/dataset/09aa8f38-547a-46b7-a117-2cb710ad939b/https-www-hee-nhs-uk-our-work-pharmacy-community-pharmacy-workforce-survey" TargetMode="External"/><Relationship Id="rId2" Type="http://schemas.openxmlformats.org/officeDocument/2006/relationships/slideLayout" Target="../slideLayouts/slideLayout34.xml"/><Relationship Id="rId1" Type="http://schemas.openxmlformats.org/officeDocument/2006/relationships/tags" Target="../tags/tag205.xml"/><Relationship Id="rId6" Type="http://schemas.openxmlformats.org/officeDocument/2006/relationships/chart" Target="../charts/chart25.xml"/><Relationship Id="rId5" Type="http://schemas.openxmlformats.org/officeDocument/2006/relationships/image" Target="../media/image38.emf"/><Relationship Id="rId4" Type="http://schemas.openxmlformats.org/officeDocument/2006/relationships/oleObject" Target="../embeddings/oleObject73.bin"/></Relationships>
</file>

<file path=ppt/slides/_rels/slide3.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notesSlide" Target="../notesSlides/notesSlide1.xml"/><Relationship Id="rId7" Type="http://schemas.openxmlformats.org/officeDocument/2006/relationships/image" Target="../media/image55.svg"/><Relationship Id="rId2" Type="http://schemas.openxmlformats.org/officeDocument/2006/relationships/slideLayout" Target="../slideLayouts/slideLayout18.xml"/><Relationship Id="rId1" Type="http://schemas.openxmlformats.org/officeDocument/2006/relationships/tags" Target="../tags/tag124.xml"/><Relationship Id="rId6" Type="http://schemas.openxmlformats.org/officeDocument/2006/relationships/image" Target="../media/image54.svg"/><Relationship Id="rId11" Type="http://schemas.openxmlformats.org/officeDocument/2006/relationships/image" Target="../media/image59.svg"/><Relationship Id="rId5" Type="http://schemas.openxmlformats.org/officeDocument/2006/relationships/image" Target="../media/image1.emf"/><Relationship Id="rId10" Type="http://schemas.openxmlformats.org/officeDocument/2006/relationships/image" Target="../media/image58.svg"/><Relationship Id="rId4" Type="http://schemas.openxmlformats.org/officeDocument/2006/relationships/oleObject" Target="../embeddings/oleObject50.bin"/><Relationship Id="rId9" Type="http://schemas.openxmlformats.org/officeDocument/2006/relationships/image" Target="../media/image57.svg"/></Relationships>
</file>

<file path=ppt/slides/_rels/slide30.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notesSlide" Target="../notesSlides/notesSlide17.xml"/><Relationship Id="rId7" Type="http://schemas.openxmlformats.org/officeDocument/2006/relationships/image" Target="../media/image97.jpeg"/><Relationship Id="rId2" Type="http://schemas.openxmlformats.org/officeDocument/2006/relationships/slideLayout" Target="../slideLayouts/slideLayout36.xml"/><Relationship Id="rId1" Type="http://schemas.openxmlformats.org/officeDocument/2006/relationships/tags" Target="../tags/tag206.xml"/><Relationship Id="rId6" Type="http://schemas.openxmlformats.org/officeDocument/2006/relationships/image" Target="../media/image96.jpe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18.xml"/><Relationship Id="rId1" Type="http://schemas.openxmlformats.org/officeDocument/2006/relationships/tags" Target="../tags/tag207.xml"/><Relationship Id="rId4" Type="http://schemas.openxmlformats.org/officeDocument/2006/relationships/image" Target="../media/image3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80.xml"/><Relationship Id="rId1" Type="http://schemas.openxmlformats.org/officeDocument/2006/relationships/tags" Target="../tags/tag208.xml"/><Relationship Id="rId5" Type="http://schemas.openxmlformats.org/officeDocument/2006/relationships/hyperlink" Target="mailto:Chris.Pilsbury@iqvia.com" TargetMode="External"/><Relationship Id="rId4" Type="http://schemas.openxmlformats.org/officeDocument/2006/relationships/image" Target="../media/image99.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19.xml"/><Relationship Id="rId1" Type="http://schemas.openxmlformats.org/officeDocument/2006/relationships/tags" Target="../tags/tag12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notesSlide" Target="../notesSlides/notesSlide2.xml"/><Relationship Id="rId7" Type="http://schemas.openxmlformats.org/officeDocument/2006/relationships/oleObject" Target="../embeddings/oleObject52.bin"/><Relationship Id="rId2" Type="http://schemas.openxmlformats.org/officeDocument/2006/relationships/slideLayout" Target="../slideLayouts/slideLayout43.xml"/><Relationship Id="rId1" Type="http://schemas.openxmlformats.org/officeDocument/2006/relationships/tags" Target="../tags/tag126.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5.xml"/><Relationship Id="rId2" Type="http://schemas.openxmlformats.org/officeDocument/2006/relationships/slideLayout" Target="../slideLayouts/slideLayout34.xml"/><Relationship Id="rId1" Type="http://schemas.openxmlformats.org/officeDocument/2006/relationships/tags" Target="../tags/tag127.xml"/><Relationship Id="rId6" Type="http://schemas.openxmlformats.org/officeDocument/2006/relationships/chart" Target="../charts/chart4.xml"/><Relationship Id="rId5" Type="http://schemas.openxmlformats.org/officeDocument/2006/relationships/image" Target="../media/image38.emf"/><Relationship Id="rId4" Type="http://schemas.openxmlformats.org/officeDocument/2006/relationships/oleObject" Target="../embeddings/oleObject53.bin"/></Relationships>
</file>

<file path=ppt/slides/_rels/slide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0.png"/><Relationship Id="rId7" Type="http://schemas.openxmlformats.org/officeDocument/2006/relationships/image" Target="../media/image62.png"/><Relationship Id="rId2" Type="http://schemas.openxmlformats.org/officeDocument/2006/relationships/slideLayout" Target="../slideLayouts/slideLayout14.xml"/><Relationship Id="rId1" Type="http://schemas.openxmlformats.org/officeDocument/2006/relationships/tags" Target="../tags/tag128.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61.png"/><Relationship Id="rId9" Type="http://schemas.openxmlformats.org/officeDocument/2006/relationships/image" Target="../media/image64.png"/></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41.xml"/><Relationship Id="rId1" Type="http://schemas.openxmlformats.org/officeDocument/2006/relationships/tags" Target="../tags/tag129.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3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2716CB-3D03-A44C-4D3F-3BFB3B1D210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6" name="think-cell data - do not delete" hidden="1">
                        <a:extLst>
                          <a:ext uri="{FF2B5EF4-FFF2-40B4-BE49-F238E27FC236}">
                            <a16:creationId xmlns:a16="http://schemas.microsoft.com/office/drawing/2014/main" id="{952716CB-3D03-A44C-4D3F-3BFB3B1D21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16045A7-472D-71C5-1AE9-F8BF27BF16CA}"/>
              </a:ext>
            </a:extLst>
          </p:cNvPr>
          <p:cNvSpPr>
            <a:spLocks noGrp="1"/>
          </p:cNvSpPr>
          <p:nvPr>
            <p:ph type="body" sz="quarter" idx="11"/>
          </p:nvPr>
        </p:nvSpPr>
        <p:spPr>
          <a:xfrm>
            <a:off x="560269" y="3710711"/>
            <a:ext cx="4849931" cy="1035087"/>
          </a:xfrm>
        </p:spPr>
        <p:txBody>
          <a:bodyPr/>
          <a:lstStyle/>
          <a:p>
            <a:r>
              <a:rPr lang="en-GB"/>
              <a:t>22</a:t>
            </a:r>
            <a:r>
              <a:rPr lang="en-GB" baseline="30000"/>
              <a:t>nd</a:t>
            </a:r>
            <a:r>
              <a:rPr lang="en-GB"/>
              <a:t> June 2026</a:t>
            </a:r>
          </a:p>
        </p:txBody>
      </p:sp>
      <p:sp>
        <p:nvSpPr>
          <p:cNvPr id="3" name="Title 2">
            <a:extLst>
              <a:ext uri="{FF2B5EF4-FFF2-40B4-BE49-F238E27FC236}">
                <a16:creationId xmlns:a16="http://schemas.microsoft.com/office/drawing/2014/main" id="{5B21E629-629F-2751-D973-645434A5761B}"/>
              </a:ext>
            </a:extLst>
          </p:cNvPr>
          <p:cNvSpPr>
            <a:spLocks noGrp="1"/>
          </p:cNvSpPr>
          <p:nvPr>
            <p:ph type="ctrTitle"/>
          </p:nvPr>
        </p:nvSpPr>
        <p:spPr>
          <a:xfrm>
            <a:off x="560270" y="1439889"/>
            <a:ext cx="5425860" cy="2088828"/>
          </a:xfrm>
        </p:spPr>
        <p:txBody>
          <a:bodyPr vert="horz" rIns="91440"/>
          <a:lstStyle/>
          <a:p>
            <a:r>
              <a:rPr lang="en-US" sz="2800" dirty="0"/>
              <a:t>What market data tells us about the present and the future of community pharmacy</a:t>
            </a:r>
            <a:endParaRPr lang="en-GB" sz="2800" b="1" dirty="0"/>
          </a:p>
        </p:txBody>
      </p:sp>
      <p:sp>
        <p:nvSpPr>
          <p:cNvPr id="4" name="Text Placeholder 3">
            <a:extLst>
              <a:ext uri="{FF2B5EF4-FFF2-40B4-BE49-F238E27FC236}">
                <a16:creationId xmlns:a16="http://schemas.microsoft.com/office/drawing/2014/main" id="{A3164C8C-A1B2-7509-8DB0-5B739899942D}"/>
              </a:ext>
            </a:extLst>
          </p:cNvPr>
          <p:cNvSpPr>
            <a:spLocks noGrp="1"/>
          </p:cNvSpPr>
          <p:nvPr>
            <p:ph type="body" sz="quarter" idx="17"/>
          </p:nvPr>
        </p:nvSpPr>
        <p:spPr/>
        <p:txBody>
          <a:bodyPr/>
          <a:lstStyle/>
          <a:p>
            <a:r>
              <a:rPr lang="en-GB" dirty="0"/>
              <a:t>Joanne Redding, Director Supplier Relationships, UK Market Intelligence</a:t>
            </a:r>
          </a:p>
        </p:txBody>
      </p:sp>
    </p:spTree>
    <p:extLst>
      <p:ext uri="{BB962C8B-B14F-4D97-AF65-F5344CB8AC3E}">
        <p14:creationId xmlns:p14="http://schemas.microsoft.com/office/powerpoint/2010/main" val="407749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3C4464-498A-2284-5C11-1F08C20C41D5}"/>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F83A914-AA3D-44CE-F737-918E872DE6F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DF83A914-AA3D-44CE-F737-918E872DE6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08B167-B278-08DC-889F-E2F2862C9276}"/>
              </a:ext>
            </a:extLst>
          </p:cNvPr>
          <p:cNvSpPr>
            <a:spLocks noGrp="1"/>
          </p:cNvSpPr>
          <p:nvPr>
            <p:ph type="title"/>
          </p:nvPr>
        </p:nvSpPr>
        <p:spPr/>
        <p:txBody>
          <a:bodyPr vert="horz"/>
          <a:lstStyle/>
          <a:p>
            <a:r>
              <a:rPr lang="en-US"/>
              <a:t>Expanding NHS services</a:t>
            </a:r>
          </a:p>
        </p:txBody>
      </p:sp>
    </p:spTree>
    <p:extLst>
      <p:ext uri="{BB962C8B-B14F-4D97-AF65-F5344CB8AC3E}">
        <p14:creationId xmlns:p14="http://schemas.microsoft.com/office/powerpoint/2010/main" val="243587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0260FEC-1AF9-F53F-226C-E2A1F94F95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think-cell data - do not delete" hidden="1">
                        <a:extLst>
                          <a:ext uri="{FF2B5EF4-FFF2-40B4-BE49-F238E27FC236}">
                            <a16:creationId xmlns:a16="http://schemas.microsoft.com/office/drawing/2014/main" id="{A0260FEC-1AF9-F53F-226C-E2A1F94F95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F430CC-BB70-280E-F4A0-FE7D144ADF31}"/>
              </a:ext>
            </a:extLst>
          </p:cNvPr>
          <p:cNvSpPr>
            <a:spLocks noGrp="1"/>
          </p:cNvSpPr>
          <p:nvPr>
            <p:ph type="title"/>
          </p:nvPr>
        </p:nvSpPr>
        <p:spPr/>
        <p:txBody>
          <a:bodyPr vert="horz"/>
          <a:lstStyle/>
          <a:p>
            <a:r>
              <a:rPr lang="en-GB"/>
              <a:t>Pharmacy needs to play a key role in the 3 “key shifts” in that underpin the Government’s 10 Year Health Plan</a:t>
            </a:r>
          </a:p>
        </p:txBody>
      </p:sp>
      <p:sp>
        <p:nvSpPr>
          <p:cNvPr id="4" name="Footer Placeholder 3">
            <a:extLst>
              <a:ext uri="{FF2B5EF4-FFF2-40B4-BE49-F238E27FC236}">
                <a16:creationId xmlns:a16="http://schemas.microsoft.com/office/drawing/2014/main" id="{484503A1-197D-AC12-413A-D557C7B30B60}"/>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11" name="Rectangle: Rounded Corners 10">
            <a:extLst>
              <a:ext uri="{FF2B5EF4-FFF2-40B4-BE49-F238E27FC236}">
                <a16:creationId xmlns:a16="http://schemas.microsoft.com/office/drawing/2014/main" id="{9DCB105E-6E10-129A-BE90-34527C0B6E26}"/>
              </a:ext>
            </a:extLst>
          </p:cNvPr>
          <p:cNvSpPr/>
          <p:nvPr/>
        </p:nvSpPr>
        <p:spPr>
          <a:xfrm>
            <a:off x="1163626" y="2328333"/>
            <a:ext cx="4051839" cy="622386"/>
          </a:xfrm>
          <a:prstGeom prst="roundRect">
            <a:avLst>
              <a:gd name="adj" fmla="val 50000"/>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a:ln>
                  <a:noFill/>
                </a:ln>
                <a:solidFill>
                  <a:srgbClr val="C00000"/>
                </a:solidFill>
                <a:effectLst/>
                <a:uLnTx/>
                <a:uFillTx/>
                <a:latin typeface="Noto Sans"/>
                <a:ea typeface="+mn-ea"/>
                <a:cs typeface="+mn-cs"/>
              </a:rPr>
              <a:t>HOSPITAL</a:t>
            </a:r>
          </a:p>
        </p:txBody>
      </p:sp>
      <p:sp>
        <p:nvSpPr>
          <p:cNvPr id="12" name="Arrow: Striped Right 11">
            <a:extLst>
              <a:ext uri="{FF2B5EF4-FFF2-40B4-BE49-F238E27FC236}">
                <a16:creationId xmlns:a16="http://schemas.microsoft.com/office/drawing/2014/main" id="{F8531EDD-C079-AD5A-2797-0094031B1CF3}"/>
              </a:ext>
            </a:extLst>
          </p:cNvPr>
          <p:cNvSpPr/>
          <p:nvPr/>
        </p:nvSpPr>
        <p:spPr>
          <a:xfrm>
            <a:off x="5606796" y="2397210"/>
            <a:ext cx="978408" cy="484632"/>
          </a:xfrm>
          <a:prstGeom prst="strip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Noto Sans"/>
                <a:ea typeface="+mn-ea"/>
                <a:cs typeface="+mn-cs"/>
              </a:rPr>
              <a:t>TO</a:t>
            </a:r>
          </a:p>
        </p:txBody>
      </p:sp>
      <p:sp>
        <p:nvSpPr>
          <p:cNvPr id="13" name="Rectangle: Rounded Corners 12">
            <a:extLst>
              <a:ext uri="{FF2B5EF4-FFF2-40B4-BE49-F238E27FC236}">
                <a16:creationId xmlns:a16="http://schemas.microsoft.com/office/drawing/2014/main" id="{570EEF20-3715-CD9F-5936-C942470F0582}"/>
              </a:ext>
            </a:extLst>
          </p:cNvPr>
          <p:cNvSpPr/>
          <p:nvPr/>
        </p:nvSpPr>
        <p:spPr>
          <a:xfrm>
            <a:off x="6976535" y="2328333"/>
            <a:ext cx="4051839" cy="622386"/>
          </a:xfrm>
          <a:prstGeom prst="roundRect">
            <a:avLst>
              <a:gd name="adj" fmla="val 50000"/>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a:ln>
                  <a:noFill/>
                </a:ln>
                <a:solidFill>
                  <a:srgbClr val="00B050"/>
                </a:solidFill>
                <a:effectLst/>
                <a:uLnTx/>
                <a:uFillTx/>
                <a:latin typeface="Noto Sans"/>
                <a:ea typeface="+mn-ea"/>
                <a:cs typeface="+mn-cs"/>
              </a:rPr>
              <a:t>COMMUNITY</a:t>
            </a:r>
          </a:p>
        </p:txBody>
      </p:sp>
      <p:sp>
        <p:nvSpPr>
          <p:cNvPr id="14" name="Flowchart: Connector 13">
            <a:extLst>
              <a:ext uri="{FF2B5EF4-FFF2-40B4-BE49-F238E27FC236}">
                <a16:creationId xmlns:a16="http://schemas.microsoft.com/office/drawing/2014/main" id="{DDCCB58A-359B-0484-D4E2-7C8AAE33BABF}"/>
              </a:ext>
            </a:extLst>
          </p:cNvPr>
          <p:cNvSpPr/>
          <p:nvPr/>
        </p:nvSpPr>
        <p:spPr>
          <a:xfrm>
            <a:off x="510761" y="2410926"/>
            <a:ext cx="457200" cy="4572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Noto Sans"/>
                <a:ea typeface="+mn-ea"/>
                <a:cs typeface="+mn-cs"/>
              </a:rPr>
              <a:t>1</a:t>
            </a:r>
          </a:p>
        </p:txBody>
      </p:sp>
      <p:sp>
        <p:nvSpPr>
          <p:cNvPr id="15" name="Rectangle: Rounded Corners 14">
            <a:extLst>
              <a:ext uri="{FF2B5EF4-FFF2-40B4-BE49-F238E27FC236}">
                <a16:creationId xmlns:a16="http://schemas.microsoft.com/office/drawing/2014/main" id="{A2D35885-ACD3-E38A-7E23-3D430A375C0A}"/>
              </a:ext>
            </a:extLst>
          </p:cNvPr>
          <p:cNvSpPr/>
          <p:nvPr/>
        </p:nvSpPr>
        <p:spPr>
          <a:xfrm>
            <a:off x="1163625" y="3596089"/>
            <a:ext cx="4051839" cy="622386"/>
          </a:xfrm>
          <a:prstGeom prst="roundRect">
            <a:avLst>
              <a:gd name="adj" fmla="val 50000"/>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a:ln>
                  <a:noFill/>
                </a:ln>
                <a:solidFill>
                  <a:srgbClr val="C00000"/>
                </a:solidFill>
                <a:effectLst/>
                <a:uLnTx/>
                <a:uFillTx/>
                <a:latin typeface="Noto Sans"/>
                <a:ea typeface="+mn-ea"/>
                <a:cs typeface="+mn-cs"/>
              </a:rPr>
              <a:t>SICKNESS</a:t>
            </a:r>
          </a:p>
        </p:txBody>
      </p:sp>
      <p:sp>
        <p:nvSpPr>
          <p:cNvPr id="16" name="Rectangle: Rounded Corners 15">
            <a:extLst>
              <a:ext uri="{FF2B5EF4-FFF2-40B4-BE49-F238E27FC236}">
                <a16:creationId xmlns:a16="http://schemas.microsoft.com/office/drawing/2014/main" id="{2C539334-58E5-4C9C-5BE6-D5B1DAEFBC67}"/>
              </a:ext>
            </a:extLst>
          </p:cNvPr>
          <p:cNvSpPr/>
          <p:nvPr/>
        </p:nvSpPr>
        <p:spPr>
          <a:xfrm>
            <a:off x="6976534" y="3596089"/>
            <a:ext cx="4051839" cy="622386"/>
          </a:xfrm>
          <a:prstGeom prst="roundRect">
            <a:avLst>
              <a:gd name="adj" fmla="val 50000"/>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a:ln>
                  <a:noFill/>
                </a:ln>
                <a:solidFill>
                  <a:srgbClr val="00B050"/>
                </a:solidFill>
                <a:effectLst/>
                <a:uLnTx/>
                <a:uFillTx/>
                <a:latin typeface="Noto Sans"/>
                <a:ea typeface="+mn-ea"/>
                <a:cs typeface="+mn-cs"/>
              </a:rPr>
              <a:t>PREVENTION</a:t>
            </a:r>
          </a:p>
        </p:txBody>
      </p:sp>
      <p:sp>
        <p:nvSpPr>
          <p:cNvPr id="17" name="Arrow: Striped Right 16">
            <a:extLst>
              <a:ext uri="{FF2B5EF4-FFF2-40B4-BE49-F238E27FC236}">
                <a16:creationId xmlns:a16="http://schemas.microsoft.com/office/drawing/2014/main" id="{DE5134BE-DA4F-87C8-34F4-94E4B023C14E}"/>
              </a:ext>
            </a:extLst>
          </p:cNvPr>
          <p:cNvSpPr/>
          <p:nvPr/>
        </p:nvSpPr>
        <p:spPr>
          <a:xfrm>
            <a:off x="5606796" y="3664966"/>
            <a:ext cx="978408" cy="484632"/>
          </a:xfrm>
          <a:prstGeom prst="strip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Noto Sans"/>
                <a:ea typeface="+mn-ea"/>
                <a:cs typeface="+mn-cs"/>
              </a:rPr>
              <a:t>TO</a:t>
            </a:r>
          </a:p>
        </p:txBody>
      </p:sp>
      <p:sp>
        <p:nvSpPr>
          <p:cNvPr id="18" name="Flowchart: Connector 17">
            <a:extLst>
              <a:ext uri="{FF2B5EF4-FFF2-40B4-BE49-F238E27FC236}">
                <a16:creationId xmlns:a16="http://schemas.microsoft.com/office/drawing/2014/main" id="{78483B9B-F9F0-0502-D03E-E4723EEABB91}"/>
              </a:ext>
            </a:extLst>
          </p:cNvPr>
          <p:cNvSpPr/>
          <p:nvPr/>
        </p:nvSpPr>
        <p:spPr>
          <a:xfrm>
            <a:off x="510761" y="3678682"/>
            <a:ext cx="457200" cy="4572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Noto Sans"/>
                <a:ea typeface="+mn-ea"/>
                <a:cs typeface="+mn-cs"/>
              </a:rPr>
              <a:t>2</a:t>
            </a:r>
          </a:p>
        </p:txBody>
      </p:sp>
      <p:sp>
        <p:nvSpPr>
          <p:cNvPr id="19" name="Rectangle: Rounded Corners 18">
            <a:extLst>
              <a:ext uri="{FF2B5EF4-FFF2-40B4-BE49-F238E27FC236}">
                <a16:creationId xmlns:a16="http://schemas.microsoft.com/office/drawing/2014/main" id="{706F21FF-BF5D-379D-A988-DB99ED53883C}"/>
              </a:ext>
            </a:extLst>
          </p:cNvPr>
          <p:cNvSpPr/>
          <p:nvPr/>
        </p:nvSpPr>
        <p:spPr>
          <a:xfrm>
            <a:off x="1163624" y="4863845"/>
            <a:ext cx="4051839" cy="622386"/>
          </a:xfrm>
          <a:prstGeom prst="roundRect">
            <a:avLst>
              <a:gd name="adj" fmla="val 50000"/>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a:ln>
                  <a:noFill/>
                </a:ln>
                <a:solidFill>
                  <a:srgbClr val="C00000"/>
                </a:solidFill>
                <a:effectLst/>
                <a:uLnTx/>
                <a:uFillTx/>
                <a:latin typeface="Noto Sans"/>
                <a:ea typeface="+mn-ea"/>
                <a:cs typeface="+mn-cs"/>
              </a:rPr>
              <a:t>ANALOGUE</a:t>
            </a:r>
          </a:p>
        </p:txBody>
      </p:sp>
      <p:sp>
        <p:nvSpPr>
          <p:cNvPr id="20" name="Rectangle: Rounded Corners 19">
            <a:extLst>
              <a:ext uri="{FF2B5EF4-FFF2-40B4-BE49-F238E27FC236}">
                <a16:creationId xmlns:a16="http://schemas.microsoft.com/office/drawing/2014/main" id="{D8FCED7E-0BD6-1282-E02D-E864DA63926A}"/>
              </a:ext>
            </a:extLst>
          </p:cNvPr>
          <p:cNvSpPr/>
          <p:nvPr/>
        </p:nvSpPr>
        <p:spPr>
          <a:xfrm>
            <a:off x="6976534" y="4863845"/>
            <a:ext cx="4051839" cy="622386"/>
          </a:xfrm>
          <a:prstGeom prst="roundRect">
            <a:avLst>
              <a:gd name="adj" fmla="val 50000"/>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a:ln>
                  <a:noFill/>
                </a:ln>
                <a:solidFill>
                  <a:srgbClr val="00B050"/>
                </a:solidFill>
                <a:effectLst/>
                <a:uLnTx/>
                <a:uFillTx/>
                <a:latin typeface="Noto Sans"/>
                <a:ea typeface="+mn-ea"/>
                <a:cs typeface="+mn-cs"/>
              </a:rPr>
              <a:t>DIGITAL</a:t>
            </a:r>
          </a:p>
        </p:txBody>
      </p:sp>
      <p:sp>
        <p:nvSpPr>
          <p:cNvPr id="21" name="Arrow: Striped Right 20">
            <a:extLst>
              <a:ext uri="{FF2B5EF4-FFF2-40B4-BE49-F238E27FC236}">
                <a16:creationId xmlns:a16="http://schemas.microsoft.com/office/drawing/2014/main" id="{17B4CA8B-9952-4294-2F92-6BD46B359C3D}"/>
              </a:ext>
            </a:extLst>
          </p:cNvPr>
          <p:cNvSpPr/>
          <p:nvPr/>
        </p:nvSpPr>
        <p:spPr>
          <a:xfrm>
            <a:off x="5606796" y="4932722"/>
            <a:ext cx="978408" cy="484632"/>
          </a:xfrm>
          <a:prstGeom prst="strip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Noto Sans"/>
                <a:ea typeface="+mn-ea"/>
                <a:cs typeface="+mn-cs"/>
              </a:rPr>
              <a:t>TO</a:t>
            </a:r>
          </a:p>
        </p:txBody>
      </p:sp>
      <p:sp>
        <p:nvSpPr>
          <p:cNvPr id="22" name="Flowchart: Connector 21">
            <a:extLst>
              <a:ext uri="{FF2B5EF4-FFF2-40B4-BE49-F238E27FC236}">
                <a16:creationId xmlns:a16="http://schemas.microsoft.com/office/drawing/2014/main" id="{B53A1FDB-E2B8-31DC-3054-F6C7D4803F6F}"/>
              </a:ext>
            </a:extLst>
          </p:cNvPr>
          <p:cNvSpPr/>
          <p:nvPr/>
        </p:nvSpPr>
        <p:spPr>
          <a:xfrm>
            <a:off x="510761" y="4946438"/>
            <a:ext cx="457200" cy="4572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Noto Sans"/>
                <a:ea typeface="+mn-ea"/>
                <a:cs typeface="+mn-cs"/>
              </a:rPr>
              <a:t>3</a:t>
            </a:r>
          </a:p>
        </p:txBody>
      </p:sp>
      <p:sp>
        <p:nvSpPr>
          <p:cNvPr id="23" name="TextBox 22">
            <a:extLst>
              <a:ext uri="{FF2B5EF4-FFF2-40B4-BE49-F238E27FC236}">
                <a16:creationId xmlns:a16="http://schemas.microsoft.com/office/drawing/2014/main" id="{9CA4FD2C-AE73-262F-5D1A-FA2C56EBAAE2}"/>
              </a:ext>
            </a:extLst>
          </p:cNvPr>
          <p:cNvSpPr txBox="1"/>
          <p:nvPr/>
        </p:nvSpPr>
        <p:spPr>
          <a:xfrm>
            <a:off x="4466167" y="1911737"/>
            <a:ext cx="32596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140B42"/>
                </a:solidFill>
                <a:effectLst/>
                <a:uLnTx/>
                <a:uFillTx/>
                <a:latin typeface="Noto Sans"/>
                <a:ea typeface="+mn-ea"/>
                <a:cs typeface="+mn-cs"/>
              </a:rPr>
              <a:t>moving care from hospitals to communities …</a:t>
            </a:r>
          </a:p>
        </p:txBody>
      </p:sp>
      <p:sp>
        <p:nvSpPr>
          <p:cNvPr id="24" name="TextBox 23">
            <a:extLst>
              <a:ext uri="{FF2B5EF4-FFF2-40B4-BE49-F238E27FC236}">
                <a16:creationId xmlns:a16="http://schemas.microsoft.com/office/drawing/2014/main" id="{CECA6CC2-43D4-7944-9F63-5751D32CA0DD}"/>
              </a:ext>
            </a:extLst>
          </p:cNvPr>
          <p:cNvSpPr txBox="1"/>
          <p:nvPr/>
        </p:nvSpPr>
        <p:spPr>
          <a:xfrm>
            <a:off x="4840815" y="4443963"/>
            <a:ext cx="25103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140B42"/>
                </a:solidFill>
                <a:effectLst/>
                <a:uLnTx/>
                <a:uFillTx/>
                <a:latin typeface="Noto Sans"/>
                <a:ea typeface="+mn-ea"/>
                <a:cs typeface="+mn-cs"/>
              </a:rPr>
              <a:t>making better use of technology…</a:t>
            </a:r>
          </a:p>
        </p:txBody>
      </p:sp>
      <p:sp>
        <p:nvSpPr>
          <p:cNvPr id="26" name="TextBox 25">
            <a:extLst>
              <a:ext uri="{FF2B5EF4-FFF2-40B4-BE49-F238E27FC236}">
                <a16:creationId xmlns:a16="http://schemas.microsoft.com/office/drawing/2014/main" id="{3E453FC7-8E10-1AC3-EE40-3B2748A4851B}"/>
              </a:ext>
            </a:extLst>
          </p:cNvPr>
          <p:cNvSpPr txBox="1"/>
          <p:nvPr/>
        </p:nvSpPr>
        <p:spPr>
          <a:xfrm>
            <a:off x="4159096" y="3176207"/>
            <a:ext cx="387380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140B42"/>
                </a:solidFill>
                <a:effectLst/>
                <a:uLnTx/>
                <a:uFillTx/>
                <a:latin typeface="Noto Sans"/>
                <a:ea typeface="+mn-ea"/>
                <a:cs typeface="+mn-cs"/>
              </a:rPr>
              <a:t>focusing on preventing sickness, not just treating it …</a:t>
            </a:r>
          </a:p>
        </p:txBody>
      </p:sp>
      <p:cxnSp>
        <p:nvCxnSpPr>
          <p:cNvPr id="28" name="Connector: Elbow 27">
            <a:extLst>
              <a:ext uri="{FF2B5EF4-FFF2-40B4-BE49-F238E27FC236}">
                <a16:creationId xmlns:a16="http://schemas.microsoft.com/office/drawing/2014/main" id="{151BE456-D5B0-CF3C-B323-943A0C76BDD2}"/>
              </a:ext>
            </a:extLst>
          </p:cNvPr>
          <p:cNvCxnSpPr>
            <a:stCxn id="11" idx="0"/>
            <a:endCxn id="23" idx="1"/>
          </p:cNvCxnSpPr>
          <p:nvPr/>
        </p:nvCxnSpPr>
        <p:spPr>
          <a:xfrm rot="5400000" flipH="1" flipV="1">
            <a:off x="3688808" y="1550975"/>
            <a:ext cx="278096" cy="1276621"/>
          </a:xfrm>
          <a:prstGeom prst="bentConnector2">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63C92814-59AF-9DC6-861A-100E23AAD1BE}"/>
              </a:ext>
            </a:extLst>
          </p:cNvPr>
          <p:cNvCxnSpPr>
            <a:stCxn id="23" idx="3"/>
            <a:endCxn id="13" idx="0"/>
          </p:cNvCxnSpPr>
          <p:nvPr/>
        </p:nvCxnSpPr>
        <p:spPr>
          <a:xfrm>
            <a:off x="7725833" y="2050237"/>
            <a:ext cx="1276622" cy="278096"/>
          </a:xfrm>
          <a:prstGeom prst="bentConnector2">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A5C7A3B-94F6-3A33-305E-6133A3A22BC5}"/>
              </a:ext>
            </a:extLst>
          </p:cNvPr>
          <p:cNvCxnSpPr>
            <a:stCxn id="26" idx="3"/>
            <a:endCxn id="16" idx="0"/>
          </p:cNvCxnSpPr>
          <p:nvPr/>
        </p:nvCxnSpPr>
        <p:spPr>
          <a:xfrm>
            <a:off x="8032903" y="3314707"/>
            <a:ext cx="969551" cy="281382"/>
          </a:xfrm>
          <a:prstGeom prst="bentConnector2">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C8CD2094-DFDD-5866-B4B2-9CB090FF47FC}"/>
              </a:ext>
            </a:extLst>
          </p:cNvPr>
          <p:cNvCxnSpPr>
            <a:stCxn id="24" idx="3"/>
            <a:endCxn id="20" idx="0"/>
          </p:cNvCxnSpPr>
          <p:nvPr/>
        </p:nvCxnSpPr>
        <p:spPr>
          <a:xfrm>
            <a:off x="7351182" y="4582463"/>
            <a:ext cx="1651272" cy="281382"/>
          </a:xfrm>
          <a:prstGeom prst="bentConnector2">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FBE71848-70FE-0B52-B17B-96FFABA698BE}"/>
              </a:ext>
            </a:extLst>
          </p:cNvPr>
          <p:cNvCxnSpPr>
            <a:stCxn id="15" idx="0"/>
            <a:endCxn id="26" idx="1"/>
          </p:cNvCxnSpPr>
          <p:nvPr/>
        </p:nvCxnSpPr>
        <p:spPr>
          <a:xfrm rot="5400000" flipH="1" flipV="1">
            <a:off x="3533629" y="2970623"/>
            <a:ext cx="281382" cy="969551"/>
          </a:xfrm>
          <a:prstGeom prst="bentConnector2">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AB8FD84C-D342-9687-BD63-988823ADED9C}"/>
              </a:ext>
            </a:extLst>
          </p:cNvPr>
          <p:cNvCxnSpPr>
            <a:stCxn id="19" idx="0"/>
            <a:endCxn id="24" idx="1"/>
          </p:cNvCxnSpPr>
          <p:nvPr/>
        </p:nvCxnSpPr>
        <p:spPr>
          <a:xfrm rot="5400000" flipH="1" flipV="1">
            <a:off x="3874488" y="3897519"/>
            <a:ext cx="281382" cy="1651271"/>
          </a:xfrm>
          <a:prstGeom prst="bentConnector2">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825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7995A28-6AE9-5D86-6157-DDEB1C0051B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2" name="think-cell data - do not delete" hidden="1">
                        <a:extLst>
                          <a:ext uri="{FF2B5EF4-FFF2-40B4-BE49-F238E27FC236}">
                            <a16:creationId xmlns:a16="http://schemas.microsoft.com/office/drawing/2014/main" id="{C7995A28-6AE9-5D86-6157-DDEB1C0051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Chart 9">
            <a:extLst>
              <a:ext uri="{FF2B5EF4-FFF2-40B4-BE49-F238E27FC236}">
                <a16:creationId xmlns:a16="http://schemas.microsoft.com/office/drawing/2014/main" id="{CB9C4E68-5B33-43AC-A948-AD89D9BB7A5B}"/>
              </a:ext>
            </a:extLst>
          </p:cNvPr>
          <p:cNvGraphicFramePr/>
          <p:nvPr/>
        </p:nvGraphicFramePr>
        <p:xfrm>
          <a:off x="384694" y="1623526"/>
          <a:ext cx="11145667" cy="4764332"/>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 Placeholder 6">
            <a:extLst>
              <a:ext uri="{FF2B5EF4-FFF2-40B4-BE49-F238E27FC236}">
                <a16:creationId xmlns:a16="http://schemas.microsoft.com/office/drawing/2014/main" id="{F9F6EA48-F7D3-45BF-A284-030A7B2EA107}"/>
              </a:ext>
            </a:extLst>
          </p:cNvPr>
          <p:cNvSpPr>
            <a:spLocks noGrp="1"/>
          </p:cNvSpPr>
          <p:nvPr>
            <p:ph type="body" sz="quarter" idx="16"/>
          </p:nvPr>
        </p:nvSpPr>
        <p:spPr>
          <a:prstGeom prst="rect">
            <a:avLst/>
          </a:prstGeom>
        </p:spPr>
        <p:txBody>
          <a:bodyPr/>
          <a:lstStyle/>
          <a:p>
            <a:r>
              <a:rPr lang="en-GB"/>
              <a:t>Service fees have changed from Apr 2025 following new NHS England pharmacy contract</a:t>
            </a:r>
          </a:p>
        </p:txBody>
      </p:sp>
      <p:sp>
        <p:nvSpPr>
          <p:cNvPr id="6" name="Title 5">
            <a:extLst>
              <a:ext uri="{FF2B5EF4-FFF2-40B4-BE49-F238E27FC236}">
                <a16:creationId xmlns:a16="http://schemas.microsoft.com/office/drawing/2014/main" id="{55C2E535-23DC-438D-B924-A6199C0D2CEC}"/>
              </a:ext>
            </a:extLst>
          </p:cNvPr>
          <p:cNvSpPr>
            <a:spLocks noGrp="1"/>
          </p:cNvSpPr>
          <p:nvPr>
            <p:ph type="title"/>
          </p:nvPr>
        </p:nvSpPr>
        <p:spPr/>
        <p:txBody>
          <a:bodyPr vert="horz"/>
          <a:lstStyle/>
          <a:p>
            <a:r>
              <a:rPr lang="en-GB"/>
              <a:t>Delivery of advanced services in community pharmacies has continued to evolve</a:t>
            </a:r>
          </a:p>
        </p:txBody>
      </p:sp>
      <p:sp>
        <p:nvSpPr>
          <p:cNvPr id="5" name="Footer Placeholder 4">
            <a:extLst>
              <a:ext uri="{FF2B5EF4-FFF2-40B4-BE49-F238E27FC236}">
                <a16:creationId xmlns:a16="http://schemas.microsoft.com/office/drawing/2014/main" id="{1C54AE8F-5387-4833-82C3-AB854CFDD2C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Source: NHS BSA Dispensing data; *DMS is an Essential service but included in the above analysis; **Smoking Cessation service fees could not be calculated as unique patient consultations unavailable</a:t>
            </a:r>
          </a:p>
        </p:txBody>
      </p:sp>
      <p:sp>
        <p:nvSpPr>
          <p:cNvPr id="11" name="TextBox 10">
            <a:extLst>
              <a:ext uri="{FF2B5EF4-FFF2-40B4-BE49-F238E27FC236}">
                <a16:creationId xmlns:a16="http://schemas.microsoft.com/office/drawing/2014/main" id="{3A508141-E769-460F-B45D-51962D865513}"/>
              </a:ext>
            </a:extLst>
          </p:cNvPr>
          <p:cNvSpPr txBox="1"/>
          <p:nvPr/>
        </p:nvSpPr>
        <p:spPr>
          <a:xfrm>
            <a:off x="0" y="1831"/>
            <a:ext cx="48799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Arial" panose="020B0604020202020204"/>
                <a:ea typeface="+mn-ea"/>
                <a:cs typeface="+mn-cs"/>
              </a:rPr>
              <a:t>NHS England – Pharmacy Contractors – </a:t>
            </a:r>
            <a:r>
              <a:rPr kumimoji="0" lang="en-GB" sz="1000" b="1" i="1" u="none" strike="noStrike" kern="1200" cap="none" spc="0" normalizeH="0" baseline="0" noProof="0">
                <a:ln>
                  <a:noFill/>
                </a:ln>
                <a:solidFill>
                  <a:srgbClr val="000000"/>
                </a:solidFill>
                <a:effectLst/>
                <a:uLnTx/>
                <a:uFillTx/>
                <a:latin typeface="Arial" panose="020B0604020202020204"/>
                <a:ea typeface="+mn-ea"/>
                <a:cs typeface="+mn-cs"/>
              </a:rPr>
              <a:t>Advanced Services</a:t>
            </a:r>
          </a:p>
        </p:txBody>
      </p:sp>
      <p:sp>
        <p:nvSpPr>
          <p:cNvPr id="14" name="TextBox 13">
            <a:extLst>
              <a:ext uri="{FF2B5EF4-FFF2-40B4-BE49-F238E27FC236}">
                <a16:creationId xmlns:a16="http://schemas.microsoft.com/office/drawing/2014/main" id="{3E553582-30A0-AC8E-A9A3-9372F32B08C9}"/>
              </a:ext>
            </a:extLst>
          </p:cNvPr>
          <p:cNvSpPr txBox="1"/>
          <p:nvPr/>
        </p:nvSpPr>
        <p:spPr>
          <a:xfrm>
            <a:off x="1342379" y="3355035"/>
            <a:ext cx="1260745" cy="646331"/>
          </a:xfrm>
          <a:prstGeom prst="rect">
            <a:avLst/>
          </a:prstGeom>
          <a:solidFill>
            <a:schemeClr val="bg1"/>
          </a:solidFill>
          <a:ln>
            <a:solidFill>
              <a:schemeClr val="tx2"/>
            </a:solidFill>
          </a:ln>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Noto Sans"/>
                <a:ea typeface="+mn-ea"/>
                <a:cs typeface="+mn-cs"/>
              </a:rPr>
              <a:t>Apr 23</a:t>
            </a:r>
            <a:r>
              <a:rPr kumimoji="0" lang="en-GB" sz="1200" b="0" i="0" u="none" strike="noStrike" kern="1200" cap="none" spc="0" normalizeH="0" baseline="0" noProof="0" dirty="0">
                <a:ln>
                  <a:noFill/>
                </a:ln>
                <a:solidFill>
                  <a:srgbClr val="000000"/>
                </a:solidFill>
                <a:effectLst/>
                <a:uLnTx/>
                <a:uFillTx/>
                <a:latin typeface="Noto Sans"/>
                <a:ea typeface="+mn-ea"/>
                <a:cs typeface="+mn-cs"/>
              </a:rPr>
              <a:t> – Contraception service starts</a:t>
            </a:r>
          </a:p>
        </p:txBody>
      </p:sp>
      <p:cxnSp>
        <p:nvCxnSpPr>
          <p:cNvPr id="16" name="Straight Arrow Connector 15">
            <a:extLst>
              <a:ext uri="{FF2B5EF4-FFF2-40B4-BE49-F238E27FC236}">
                <a16:creationId xmlns:a16="http://schemas.microsoft.com/office/drawing/2014/main" id="{7B39E97E-CBAF-7909-81BA-D9600A8B6850}"/>
              </a:ext>
            </a:extLst>
          </p:cNvPr>
          <p:cNvCxnSpPr>
            <a:cxnSpLocks/>
          </p:cNvCxnSpPr>
          <p:nvPr/>
        </p:nvCxnSpPr>
        <p:spPr>
          <a:xfrm>
            <a:off x="1950980" y="4004186"/>
            <a:ext cx="0" cy="8394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FB421F8-F82D-10D4-C861-A39D48BC1BD7}"/>
              </a:ext>
            </a:extLst>
          </p:cNvPr>
          <p:cNvSpPr txBox="1"/>
          <p:nvPr/>
        </p:nvSpPr>
        <p:spPr>
          <a:xfrm>
            <a:off x="5139601" y="2255691"/>
            <a:ext cx="1692633" cy="646331"/>
          </a:xfrm>
          <a:prstGeom prst="rect">
            <a:avLst/>
          </a:prstGeom>
          <a:solidFill>
            <a:schemeClr val="bg1"/>
          </a:solidFill>
          <a:ln>
            <a:solidFill>
              <a:schemeClr val="tx2"/>
            </a:solidFill>
          </a:ln>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Noto Sans"/>
                <a:ea typeface="+mn-ea"/>
                <a:cs typeface="+mn-cs"/>
              </a:rPr>
              <a:t>Oct 24</a:t>
            </a:r>
            <a:r>
              <a:rPr kumimoji="0" lang="en-GB" sz="1200" b="0" i="0" u="none" strike="noStrike" kern="1200" cap="none" spc="0" normalizeH="0" baseline="0" noProof="0" dirty="0">
                <a:ln>
                  <a:noFill/>
                </a:ln>
                <a:solidFill>
                  <a:srgbClr val="000000"/>
                </a:solidFill>
                <a:effectLst/>
                <a:uLnTx/>
                <a:uFillTx/>
                <a:latin typeface="Noto Sans"/>
                <a:ea typeface="+mn-ea"/>
                <a:cs typeface="+mn-cs"/>
              </a:rPr>
              <a:t> – Start of Flu vaccinations delayed from Sep to Oct</a:t>
            </a:r>
          </a:p>
        </p:txBody>
      </p:sp>
      <p:cxnSp>
        <p:nvCxnSpPr>
          <p:cNvPr id="8" name="Straight Arrow Connector 7">
            <a:extLst>
              <a:ext uri="{FF2B5EF4-FFF2-40B4-BE49-F238E27FC236}">
                <a16:creationId xmlns:a16="http://schemas.microsoft.com/office/drawing/2014/main" id="{FFC4B1E5-36F7-5A67-9523-E6CD8022B394}"/>
              </a:ext>
            </a:extLst>
          </p:cNvPr>
          <p:cNvCxnSpPr>
            <a:cxnSpLocks/>
          </p:cNvCxnSpPr>
          <p:nvPr/>
        </p:nvCxnSpPr>
        <p:spPr>
          <a:xfrm>
            <a:off x="6009794" y="2905072"/>
            <a:ext cx="0" cy="23294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28EED9D-5E7E-1854-A956-E5B2F70B0205}"/>
              </a:ext>
            </a:extLst>
          </p:cNvPr>
          <p:cNvSpPr txBox="1"/>
          <p:nvPr/>
        </p:nvSpPr>
        <p:spPr>
          <a:xfrm>
            <a:off x="3205770" y="3005136"/>
            <a:ext cx="1758485" cy="646331"/>
          </a:xfrm>
          <a:prstGeom prst="rect">
            <a:avLst/>
          </a:prstGeom>
          <a:solidFill>
            <a:schemeClr val="bg1"/>
          </a:solidFill>
          <a:ln>
            <a:solidFill>
              <a:schemeClr val="tx2"/>
            </a:solidFill>
          </a:ln>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Noto Sans"/>
                <a:ea typeface="+mn-ea"/>
                <a:cs typeface="+mn-cs"/>
              </a:rPr>
              <a:t>Jan 24</a:t>
            </a:r>
            <a:r>
              <a:rPr kumimoji="0" lang="en-GB" sz="1200" b="0" i="0" u="none" strike="noStrike" kern="1200" cap="none" spc="0" normalizeH="0" baseline="0" noProof="0" dirty="0">
                <a:ln>
                  <a:noFill/>
                </a:ln>
                <a:solidFill>
                  <a:srgbClr val="000000"/>
                </a:solidFill>
                <a:effectLst/>
                <a:uLnTx/>
                <a:uFillTx/>
                <a:latin typeface="Noto Sans"/>
                <a:ea typeface="+mn-ea"/>
                <a:cs typeface="+mn-cs"/>
              </a:rPr>
              <a:t> – Pharmacy First service launches, replacing CPCS</a:t>
            </a:r>
          </a:p>
        </p:txBody>
      </p:sp>
      <p:cxnSp>
        <p:nvCxnSpPr>
          <p:cNvPr id="15" name="Straight Arrow Connector 14">
            <a:extLst>
              <a:ext uri="{FF2B5EF4-FFF2-40B4-BE49-F238E27FC236}">
                <a16:creationId xmlns:a16="http://schemas.microsoft.com/office/drawing/2014/main" id="{C1A4269F-3453-11C5-763C-F595164286C0}"/>
              </a:ext>
            </a:extLst>
          </p:cNvPr>
          <p:cNvCxnSpPr>
            <a:cxnSpLocks/>
          </p:cNvCxnSpPr>
          <p:nvPr/>
        </p:nvCxnSpPr>
        <p:spPr>
          <a:xfrm>
            <a:off x="4071839" y="3656217"/>
            <a:ext cx="0" cy="97203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6B8AE30-F55A-2F20-8E72-070937120DE2}"/>
              </a:ext>
            </a:extLst>
          </p:cNvPr>
          <p:cNvSpPr txBox="1"/>
          <p:nvPr/>
        </p:nvSpPr>
        <p:spPr>
          <a:xfrm>
            <a:off x="6668721" y="3455886"/>
            <a:ext cx="1339999" cy="646331"/>
          </a:xfrm>
          <a:prstGeom prst="rect">
            <a:avLst/>
          </a:prstGeom>
          <a:solidFill>
            <a:schemeClr val="bg1"/>
          </a:solidFill>
          <a:ln>
            <a:solidFill>
              <a:schemeClr val="tx2"/>
            </a:solidFill>
          </a:ln>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Noto Sans"/>
                <a:ea typeface="+mn-ea"/>
                <a:cs typeface="+mn-cs"/>
              </a:rPr>
              <a:t>Apr 25 </a:t>
            </a:r>
            <a:r>
              <a:rPr kumimoji="0" lang="en-GB" sz="1200" b="0" i="0" u="none" strike="noStrike" kern="1200" cap="none" spc="0" normalizeH="0" baseline="0" noProof="0" dirty="0">
                <a:ln>
                  <a:noFill/>
                </a:ln>
                <a:solidFill>
                  <a:srgbClr val="000000"/>
                </a:solidFill>
                <a:effectLst/>
                <a:uLnTx/>
                <a:uFillTx/>
                <a:latin typeface="Noto Sans"/>
                <a:ea typeface="+mn-ea"/>
                <a:cs typeface="+mn-cs"/>
              </a:rPr>
              <a:t>– NMS reimbursement simplified</a:t>
            </a:r>
          </a:p>
        </p:txBody>
      </p:sp>
      <p:cxnSp>
        <p:nvCxnSpPr>
          <p:cNvPr id="20" name="Straight Arrow Connector 19">
            <a:extLst>
              <a:ext uri="{FF2B5EF4-FFF2-40B4-BE49-F238E27FC236}">
                <a16:creationId xmlns:a16="http://schemas.microsoft.com/office/drawing/2014/main" id="{1A8DD89D-58C8-5C37-B162-A304058E6F96}"/>
              </a:ext>
            </a:extLst>
          </p:cNvPr>
          <p:cNvCxnSpPr>
            <a:cxnSpLocks/>
          </p:cNvCxnSpPr>
          <p:nvPr/>
        </p:nvCxnSpPr>
        <p:spPr>
          <a:xfrm>
            <a:off x="7347665" y="4090284"/>
            <a:ext cx="0" cy="34568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5414B17-B9F0-D69A-1E83-7B722B2A4FB5}"/>
              </a:ext>
            </a:extLst>
          </p:cNvPr>
          <p:cNvSpPr txBox="1"/>
          <p:nvPr/>
        </p:nvSpPr>
        <p:spPr>
          <a:xfrm>
            <a:off x="7619089" y="1657486"/>
            <a:ext cx="1562208" cy="646331"/>
          </a:xfrm>
          <a:prstGeom prst="rect">
            <a:avLst/>
          </a:prstGeom>
          <a:solidFill>
            <a:schemeClr val="bg1"/>
          </a:solidFill>
          <a:ln>
            <a:solidFill>
              <a:schemeClr val="tx2"/>
            </a:solidFill>
          </a:ln>
        </p:spPr>
        <p:txBody>
          <a:bodyPr wrap="square" lIns="91440" tIns="45720" rIns="91440" bIns="45720" rtlCol="0" anchor="ctr">
            <a:spAutoFit/>
          </a:bodyPr>
          <a:lstStyle>
            <a:defPPr>
              <a:defRPr lang="en-US"/>
            </a:defPPr>
            <a:lvl1pPr>
              <a:defRPr sz="1100" b="1">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Noto Sans"/>
                <a:ea typeface="+mn-ea"/>
                <a:cs typeface="+mn-cs"/>
              </a:rPr>
              <a:t>Sep 25 </a:t>
            </a:r>
            <a:r>
              <a:rPr kumimoji="0" lang="en-GB" sz="1200" b="0" i="0" u="none" strike="noStrike" kern="1200" cap="none" spc="0" normalizeH="0" baseline="0" noProof="0" dirty="0">
                <a:ln>
                  <a:noFill/>
                </a:ln>
                <a:solidFill>
                  <a:srgbClr val="000000"/>
                </a:solidFill>
                <a:effectLst/>
                <a:uLnTx/>
                <a:uFillTx/>
                <a:latin typeface="Noto Sans"/>
                <a:ea typeface="+mn-ea"/>
                <a:cs typeface="+mn-cs"/>
              </a:rPr>
              <a:t>– Covid 19 vaccination service launches </a:t>
            </a:r>
          </a:p>
        </p:txBody>
      </p:sp>
      <p:cxnSp>
        <p:nvCxnSpPr>
          <p:cNvPr id="3" name="Straight Arrow Connector 2">
            <a:extLst>
              <a:ext uri="{FF2B5EF4-FFF2-40B4-BE49-F238E27FC236}">
                <a16:creationId xmlns:a16="http://schemas.microsoft.com/office/drawing/2014/main" id="{92B3DA57-9ADD-98B0-F21C-657A14DD6C95}"/>
              </a:ext>
            </a:extLst>
          </p:cNvPr>
          <p:cNvCxnSpPr>
            <a:cxnSpLocks/>
          </p:cNvCxnSpPr>
          <p:nvPr/>
        </p:nvCxnSpPr>
        <p:spPr>
          <a:xfrm>
            <a:off x="8498525" y="2311908"/>
            <a:ext cx="0" cy="46501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768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9280B-1031-B84C-B186-DC226A60E77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EF0E00-E72B-C1D1-5966-29A37E3B021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10" name="think-cell data - do not delete" hidden="1">
                        <a:extLst>
                          <a:ext uri="{FF2B5EF4-FFF2-40B4-BE49-F238E27FC236}">
                            <a16:creationId xmlns:a16="http://schemas.microsoft.com/office/drawing/2014/main" id="{E7EF0E00-E72B-C1D1-5966-29A37E3B02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Content Placeholder 6">
            <a:extLst>
              <a:ext uri="{FF2B5EF4-FFF2-40B4-BE49-F238E27FC236}">
                <a16:creationId xmlns:a16="http://schemas.microsoft.com/office/drawing/2014/main" id="{C3BD01BD-7154-D007-A81C-8DCC0C56C883}"/>
              </a:ext>
            </a:extLst>
          </p:cNvPr>
          <p:cNvGraphicFramePr>
            <a:graphicFrameLocks noGrp="1"/>
          </p:cNvGraphicFramePr>
          <p:nvPr>
            <p:ph idx="1"/>
          </p:nvPr>
        </p:nvGraphicFramePr>
        <p:xfrm>
          <a:off x="663977" y="1484916"/>
          <a:ext cx="6728893" cy="4656430"/>
        </p:xfrm>
        <a:graphic>
          <a:graphicData uri="http://schemas.openxmlformats.org/drawingml/2006/chart">
            <c:chart xmlns:c="http://schemas.openxmlformats.org/drawingml/2006/chart" xmlns:r="http://schemas.openxmlformats.org/officeDocument/2006/relationships" r:id="rId6"/>
          </a:graphicData>
        </a:graphic>
      </p:graphicFrame>
      <p:sp>
        <p:nvSpPr>
          <p:cNvPr id="3" name="Title 2">
            <a:extLst>
              <a:ext uri="{FF2B5EF4-FFF2-40B4-BE49-F238E27FC236}">
                <a16:creationId xmlns:a16="http://schemas.microsoft.com/office/drawing/2014/main" id="{2ED8E7E8-3C39-48E2-0B75-3C5851DCB087}"/>
              </a:ext>
            </a:extLst>
          </p:cNvPr>
          <p:cNvSpPr>
            <a:spLocks noGrp="1"/>
          </p:cNvSpPr>
          <p:nvPr>
            <p:ph type="title"/>
          </p:nvPr>
        </p:nvSpPr>
        <p:spPr>
          <a:xfrm>
            <a:off x="426720" y="470142"/>
            <a:ext cx="11338560" cy="768263"/>
          </a:xfrm>
        </p:spPr>
        <p:txBody>
          <a:bodyPr vert="horz" rIns="91440"/>
          <a:lstStyle/>
          <a:p>
            <a:r>
              <a:rPr lang="en-GB"/>
              <a:t>On top of the fee per consultation, the fixed payment for 20-29 or 30+ Pharmacy First consultations makes all the difference </a:t>
            </a:r>
          </a:p>
        </p:txBody>
      </p:sp>
      <p:sp>
        <p:nvSpPr>
          <p:cNvPr id="4" name="Footer Placeholder 3">
            <a:extLst>
              <a:ext uri="{FF2B5EF4-FFF2-40B4-BE49-F238E27FC236}">
                <a16:creationId xmlns:a16="http://schemas.microsoft.com/office/drawing/2014/main" id="{ECFE84F5-3FA2-5F53-BDF7-BE97CDADC04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Noto Sans"/>
                <a:ea typeface="+mn-ea"/>
                <a:cs typeface="+mn-cs"/>
              </a:rPr>
              <a:t>Source: NHS BSA Dispensing data, Jan 26</a:t>
            </a: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graphicFrame>
        <p:nvGraphicFramePr>
          <p:cNvPr id="8" name="Table 7">
            <a:extLst>
              <a:ext uri="{FF2B5EF4-FFF2-40B4-BE49-F238E27FC236}">
                <a16:creationId xmlns:a16="http://schemas.microsoft.com/office/drawing/2014/main" id="{3B3E98E2-9595-3CE2-4986-968F6069F006}"/>
              </a:ext>
            </a:extLst>
          </p:cNvPr>
          <p:cNvGraphicFramePr>
            <a:graphicFrameLocks noGrp="1"/>
          </p:cNvGraphicFramePr>
          <p:nvPr/>
        </p:nvGraphicFramePr>
        <p:xfrm>
          <a:off x="8144031" y="2639357"/>
          <a:ext cx="3052294" cy="2150708"/>
        </p:xfrm>
        <a:graphic>
          <a:graphicData uri="http://schemas.openxmlformats.org/drawingml/2006/table">
            <a:tbl>
              <a:tblPr firstRow="1">
                <a:tableStyleId>{1FECB4D8-DB02-4DC6-A0A2-4F2EBAE1DC90}</a:tableStyleId>
              </a:tblPr>
              <a:tblGrid>
                <a:gridCol w="1563010">
                  <a:extLst>
                    <a:ext uri="{9D8B030D-6E8A-4147-A177-3AD203B41FA5}">
                      <a16:colId xmlns:a16="http://schemas.microsoft.com/office/drawing/2014/main" val="401513523"/>
                    </a:ext>
                  </a:extLst>
                </a:gridCol>
                <a:gridCol w="1489284">
                  <a:extLst>
                    <a:ext uri="{9D8B030D-6E8A-4147-A177-3AD203B41FA5}">
                      <a16:colId xmlns:a16="http://schemas.microsoft.com/office/drawing/2014/main" val="2002005605"/>
                    </a:ext>
                  </a:extLst>
                </a:gridCol>
              </a:tblGrid>
              <a:tr h="307244">
                <a:tc>
                  <a:txBody>
                    <a:bodyPr/>
                    <a:lstStyle/>
                    <a:p>
                      <a:pPr algn="l" rtl="0" fontAlgn="b">
                        <a:buNone/>
                      </a:pPr>
                      <a:r>
                        <a:rPr lang="en-GB" sz="1400" u="none" strike="noStrike">
                          <a:effectLst/>
                        </a:rPr>
                        <a:t> Service</a:t>
                      </a:r>
                      <a:endParaRPr lang="en-GB" sz="1400" b="0" i="0" u="none" strike="noStrike">
                        <a:solidFill>
                          <a:srgbClr val="000000"/>
                        </a:solidFill>
                        <a:effectLst/>
                        <a:latin typeface="+mj-lt"/>
                      </a:endParaRPr>
                    </a:p>
                  </a:txBody>
                  <a:tcPr marL="36000" marR="36000" marT="36000" marB="36000" anchor="b"/>
                </a:tc>
                <a:tc>
                  <a:txBody>
                    <a:bodyPr/>
                    <a:lstStyle/>
                    <a:p>
                      <a:pPr algn="ctr" fontAlgn="b">
                        <a:buNone/>
                      </a:pPr>
                      <a:r>
                        <a:rPr lang="en-GB" sz="1400" u="none" strike="noStrike">
                          <a:effectLst/>
                        </a:rPr>
                        <a:t>Total</a:t>
                      </a:r>
                      <a:endParaRPr lang="en-GB" sz="1400" b="0" i="0" u="none" strike="noStrike">
                        <a:solidFill>
                          <a:srgbClr val="000000"/>
                        </a:solidFill>
                        <a:effectLst/>
                        <a:latin typeface="+mj-lt"/>
                      </a:endParaRPr>
                    </a:p>
                  </a:txBody>
                  <a:tcPr marL="36000" marR="36000" marT="36000" marB="36000" anchor="b"/>
                </a:tc>
                <a:extLst>
                  <a:ext uri="{0D108BD9-81ED-4DB2-BD59-A6C34878D82A}">
                    <a16:rowId xmlns:a16="http://schemas.microsoft.com/office/drawing/2014/main" val="1566756781"/>
                  </a:ext>
                </a:extLst>
              </a:tr>
              <a:tr h="307244">
                <a:tc>
                  <a:txBody>
                    <a:bodyPr/>
                    <a:lstStyle/>
                    <a:p>
                      <a:pPr algn="l" rtl="0" fontAlgn="b">
                        <a:buNone/>
                      </a:pPr>
                      <a:r>
                        <a:rPr lang="en-GB" sz="1400" u="none" strike="noStrike">
                          <a:effectLst/>
                        </a:rPr>
                        <a:t>NMS</a:t>
                      </a:r>
                      <a:endParaRPr lang="en-GB" sz="1400" b="1" i="0" u="none" strike="noStrike">
                        <a:solidFill>
                          <a:srgbClr val="FFFFFF"/>
                        </a:solidFill>
                        <a:effectLst/>
                        <a:latin typeface="+mj-lt"/>
                      </a:endParaRPr>
                    </a:p>
                  </a:txBody>
                  <a:tcPr marL="36000" marR="36000" marT="36000" marB="36000" anchor="b"/>
                </a:tc>
                <a:tc>
                  <a:txBody>
                    <a:bodyPr/>
                    <a:lstStyle/>
                    <a:p>
                      <a:pPr algn="ctr" fontAlgn="b">
                        <a:buNone/>
                      </a:pPr>
                      <a:r>
                        <a:rPr lang="en-GB" sz="1400" u="none" strike="noStrike">
                          <a:effectLst/>
                        </a:rPr>
                        <a:t>£1,526</a:t>
                      </a:r>
                      <a:endParaRPr lang="en-GB" sz="1400" b="0" i="0" u="none" strike="noStrike">
                        <a:solidFill>
                          <a:srgbClr val="000000"/>
                        </a:solidFill>
                        <a:effectLst/>
                        <a:latin typeface="+mj-lt"/>
                      </a:endParaRPr>
                    </a:p>
                  </a:txBody>
                  <a:tcPr marL="36000" marR="36000" marT="36000" marB="36000" anchor="b"/>
                </a:tc>
                <a:extLst>
                  <a:ext uri="{0D108BD9-81ED-4DB2-BD59-A6C34878D82A}">
                    <a16:rowId xmlns:a16="http://schemas.microsoft.com/office/drawing/2014/main" val="4275827145"/>
                  </a:ext>
                </a:extLst>
              </a:tr>
              <a:tr h="307244">
                <a:tc>
                  <a:txBody>
                    <a:bodyPr/>
                    <a:lstStyle/>
                    <a:p>
                      <a:pPr algn="l" rtl="0" fontAlgn="b">
                        <a:buNone/>
                      </a:pPr>
                      <a:r>
                        <a:rPr lang="en-GB" sz="1400" u="none" strike="noStrike">
                          <a:effectLst/>
                        </a:rPr>
                        <a:t>Pharmacy First</a:t>
                      </a:r>
                      <a:endParaRPr lang="en-GB" sz="1400" b="1" i="0" u="none" strike="noStrike">
                        <a:solidFill>
                          <a:srgbClr val="FFFFFF"/>
                        </a:solidFill>
                        <a:effectLst/>
                        <a:latin typeface="+mj-lt"/>
                      </a:endParaRPr>
                    </a:p>
                  </a:txBody>
                  <a:tcPr marL="36000" marR="36000" marT="36000" marB="36000" anchor="b"/>
                </a:tc>
                <a:tc>
                  <a:txBody>
                    <a:bodyPr/>
                    <a:lstStyle/>
                    <a:p>
                      <a:pPr algn="ctr" fontAlgn="b">
                        <a:buNone/>
                      </a:pPr>
                      <a:r>
                        <a:rPr lang="en-GB" sz="1400" u="none" strike="noStrike">
                          <a:effectLst/>
                        </a:rPr>
                        <a:t>£544 +£1,000</a:t>
                      </a:r>
                      <a:endParaRPr lang="en-GB" sz="1400" b="0" i="0" u="none" strike="noStrike">
                        <a:solidFill>
                          <a:srgbClr val="000000"/>
                        </a:solidFill>
                        <a:effectLst/>
                        <a:latin typeface="+mj-lt"/>
                      </a:endParaRPr>
                    </a:p>
                  </a:txBody>
                  <a:tcPr marL="36000" marR="36000" marT="36000" marB="36000" anchor="b"/>
                </a:tc>
                <a:extLst>
                  <a:ext uri="{0D108BD9-81ED-4DB2-BD59-A6C34878D82A}">
                    <a16:rowId xmlns:a16="http://schemas.microsoft.com/office/drawing/2014/main" val="2045263263"/>
                  </a:ext>
                </a:extLst>
              </a:tr>
              <a:tr h="307244">
                <a:tc>
                  <a:txBody>
                    <a:bodyPr/>
                    <a:lstStyle/>
                    <a:p>
                      <a:pPr algn="l" rtl="0" fontAlgn="b">
                        <a:buNone/>
                      </a:pPr>
                      <a:r>
                        <a:rPr lang="en-GB" sz="1400" u="none" strike="noStrike">
                          <a:effectLst/>
                        </a:rPr>
                        <a:t>BP Checks</a:t>
                      </a:r>
                      <a:endParaRPr lang="en-GB" sz="1400" b="1" i="0" u="none" strike="noStrike">
                        <a:solidFill>
                          <a:srgbClr val="FFFFFF"/>
                        </a:solidFill>
                        <a:effectLst/>
                        <a:latin typeface="+mj-lt"/>
                      </a:endParaRPr>
                    </a:p>
                  </a:txBody>
                  <a:tcPr marL="36000" marR="36000" marT="36000" marB="36000" anchor="b"/>
                </a:tc>
                <a:tc>
                  <a:txBody>
                    <a:bodyPr/>
                    <a:lstStyle/>
                    <a:p>
                      <a:pPr algn="ctr" fontAlgn="b">
                        <a:buNone/>
                      </a:pPr>
                      <a:r>
                        <a:rPr lang="en-GB" sz="1400" u="none" strike="noStrike">
                          <a:effectLst/>
                        </a:rPr>
                        <a:t>£280</a:t>
                      </a:r>
                      <a:endParaRPr lang="en-GB" sz="1400" b="0" i="0" u="none" strike="noStrike">
                        <a:solidFill>
                          <a:srgbClr val="000000"/>
                        </a:solidFill>
                        <a:effectLst/>
                        <a:latin typeface="+mj-lt"/>
                      </a:endParaRPr>
                    </a:p>
                  </a:txBody>
                  <a:tcPr marL="36000" marR="36000" marT="36000" marB="36000" anchor="b"/>
                </a:tc>
                <a:extLst>
                  <a:ext uri="{0D108BD9-81ED-4DB2-BD59-A6C34878D82A}">
                    <a16:rowId xmlns:a16="http://schemas.microsoft.com/office/drawing/2014/main" val="3771342127"/>
                  </a:ext>
                </a:extLst>
              </a:tr>
              <a:tr h="307244">
                <a:tc>
                  <a:txBody>
                    <a:bodyPr/>
                    <a:lstStyle/>
                    <a:p>
                      <a:pPr marL="0" algn="l" defTabSz="914400" rtl="0" eaLnBrk="1" fontAlgn="b" latinLnBrk="0" hangingPunct="1">
                        <a:buNone/>
                      </a:pPr>
                      <a:r>
                        <a:rPr lang="en-GB" sz="1400" u="none" strike="noStrike" kern="1200">
                          <a:solidFill>
                            <a:schemeClr val="dk1"/>
                          </a:solidFill>
                          <a:effectLst/>
                          <a:latin typeface="+mn-lt"/>
                          <a:ea typeface="+mn-ea"/>
                          <a:cs typeface="+mn-cs"/>
                        </a:rPr>
                        <a:t>Contraception</a:t>
                      </a:r>
                    </a:p>
                  </a:txBody>
                  <a:tcPr marL="36000" marR="36000" marT="36000" marB="36000" anchor="b"/>
                </a:tc>
                <a:tc>
                  <a:txBody>
                    <a:bodyPr/>
                    <a:lstStyle/>
                    <a:p>
                      <a:pPr algn="ctr" fontAlgn="b">
                        <a:buNone/>
                      </a:pPr>
                      <a:r>
                        <a:rPr lang="en-GB" sz="1400" b="0" i="0" u="none" strike="noStrike">
                          <a:solidFill>
                            <a:srgbClr val="000000"/>
                          </a:solidFill>
                          <a:effectLst/>
                          <a:latin typeface="+mj-lt"/>
                        </a:rPr>
                        <a:t>£275</a:t>
                      </a:r>
                    </a:p>
                  </a:txBody>
                  <a:tcPr marL="36000" marR="36000" marT="36000" marB="36000" anchor="b"/>
                </a:tc>
                <a:extLst>
                  <a:ext uri="{0D108BD9-81ED-4DB2-BD59-A6C34878D82A}">
                    <a16:rowId xmlns:a16="http://schemas.microsoft.com/office/drawing/2014/main" val="1610974040"/>
                  </a:ext>
                </a:extLst>
              </a:tr>
              <a:tr h="307244">
                <a:tc>
                  <a:txBody>
                    <a:bodyPr/>
                    <a:lstStyle/>
                    <a:p>
                      <a:pPr algn="l" rtl="0" fontAlgn="b">
                        <a:buNone/>
                      </a:pPr>
                      <a:r>
                        <a:rPr lang="en-GB" sz="1400" u="none" strike="noStrike">
                          <a:effectLst/>
                        </a:rPr>
                        <a:t>ABPM</a:t>
                      </a:r>
                      <a:endParaRPr lang="en-GB" sz="1400" b="1" i="0" u="none" strike="noStrike">
                        <a:solidFill>
                          <a:srgbClr val="FFFFFF"/>
                        </a:solidFill>
                        <a:effectLst/>
                        <a:latin typeface="+mj-lt"/>
                      </a:endParaRPr>
                    </a:p>
                  </a:txBody>
                  <a:tcPr marL="36000" marR="36000" marT="36000" marB="36000" anchor="b"/>
                </a:tc>
                <a:tc>
                  <a:txBody>
                    <a:bodyPr/>
                    <a:lstStyle/>
                    <a:p>
                      <a:pPr algn="ctr" fontAlgn="b">
                        <a:buNone/>
                      </a:pPr>
                      <a:r>
                        <a:rPr lang="en-GB" sz="1400" u="none" strike="noStrike">
                          <a:effectLst/>
                        </a:rPr>
                        <a:t>£254</a:t>
                      </a:r>
                      <a:endParaRPr lang="en-GB" sz="1400" b="0" i="0" u="none" strike="noStrike">
                        <a:solidFill>
                          <a:srgbClr val="000000"/>
                        </a:solidFill>
                        <a:effectLst/>
                        <a:latin typeface="+mj-lt"/>
                      </a:endParaRPr>
                    </a:p>
                  </a:txBody>
                  <a:tcPr marL="36000" marR="36000" marT="36000" marB="36000" anchor="b"/>
                </a:tc>
                <a:extLst>
                  <a:ext uri="{0D108BD9-81ED-4DB2-BD59-A6C34878D82A}">
                    <a16:rowId xmlns:a16="http://schemas.microsoft.com/office/drawing/2014/main" val="441675032"/>
                  </a:ext>
                </a:extLst>
              </a:tr>
              <a:tr h="307244">
                <a:tc>
                  <a:txBody>
                    <a:bodyPr/>
                    <a:lstStyle/>
                    <a:p>
                      <a:pPr algn="l" rtl="0" fontAlgn="b">
                        <a:buNone/>
                      </a:pPr>
                      <a:r>
                        <a:rPr lang="en-GB" sz="1400" u="none" strike="noStrike">
                          <a:effectLst/>
                        </a:rPr>
                        <a:t>DMS</a:t>
                      </a:r>
                      <a:endParaRPr lang="en-GB" sz="1400" b="1" i="0" u="none" strike="noStrike">
                        <a:solidFill>
                          <a:srgbClr val="FFFFFF"/>
                        </a:solidFill>
                        <a:effectLst/>
                        <a:latin typeface="+mj-lt"/>
                      </a:endParaRPr>
                    </a:p>
                  </a:txBody>
                  <a:tcPr marL="36000" marR="36000" marT="36000" marB="36000" anchor="b"/>
                </a:tc>
                <a:tc>
                  <a:txBody>
                    <a:bodyPr/>
                    <a:lstStyle/>
                    <a:p>
                      <a:pPr algn="ctr" fontAlgn="b">
                        <a:buNone/>
                      </a:pPr>
                      <a:r>
                        <a:rPr lang="en-GB" sz="1400" u="none" strike="noStrike">
                          <a:effectLst/>
                        </a:rPr>
                        <a:t>£175</a:t>
                      </a:r>
                      <a:endParaRPr lang="en-GB" sz="1400" b="0" i="0" u="none" strike="noStrike">
                        <a:solidFill>
                          <a:srgbClr val="000000"/>
                        </a:solidFill>
                        <a:effectLst/>
                        <a:latin typeface="+mj-lt"/>
                      </a:endParaRPr>
                    </a:p>
                  </a:txBody>
                  <a:tcPr marL="36000" marR="36000" marT="36000" marB="36000" anchor="b"/>
                </a:tc>
                <a:extLst>
                  <a:ext uri="{0D108BD9-81ED-4DB2-BD59-A6C34878D82A}">
                    <a16:rowId xmlns:a16="http://schemas.microsoft.com/office/drawing/2014/main" val="3266616814"/>
                  </a:ext>
                </a:extLst>
              </a:tr>
            </a:tbl>
          </a:graphicData>
        </a:graphic>
      </p:graphicFrame>
      <p:sp>
        <p:nvSpPr>
          <p:cNvPr id="11" name="TextBox 10">
            <a:extLst>
              <a:ext uri="{FF2B5EF4-FFF2-40B4-BE49-F238E27FC236}">
                <a16:creationId xmlns:a16="http://schemas.microsoft.com/office/drawing/2014/main" id="{7CA07B3E-0673-1361-6053-3F1B2FF12C40}"/>
              </a:ext>
            </a:extLst>
          </p:cNvPr>
          <p:cNvSpPr txBox="1"/>
          <p:nvPr/>
        </p:nvSpPr>
        <p:spPr>
          <a:xfrm>
            <a:off x="0" y="1831"/>
            <a:ext cx="48799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Noto Sans"/>
                <a:ea typeface="+mn-ea"/>
                <a:cs typeface="+mn-cs"/>
              </a:rPr>
              <a:t>NHS England – Pharmacy Contractors (</a:t>
            </a:r>
            <a:r>
              <a:rPr kumimoji="0" lang="en-GB" sz="1000" b="0" i="1" u="none" strike="noStrike" kern="1200" cap="none" spc="0" normalizeH="0" baseline="0" noProof="0" err="1">
                <a:ln>
                  <a:noFill/>
                </a:ln>
                <a:solidFill>
                  <a:srgbClr val="000000"/>
                </a:solidFill>
                <a:effectLst/>
                <a:uLnTx/>
                <a:uFillTx/>
                <a:latin typeface="Noto Sans"/>
                <a:ea typeface="+mn-ea"/>
                <a:cs typeface="+mn-cs"/>
              </a:rPr>
              <a:t>excl</a:t>
            </a:r>
            <a:r>
              <a:rPr kumimoji="0" lang="en-GB" sz="1000" b="0" i="1" u="none" strike="noStrike" kern="1200" cap="none" spc="0" normalizeH="0" baseline="0" noProof="0">
                <a:ln>
                  <a:noFill/>
                </a:ln>
                <a:solidFill>
                  <a:srgbClr val="000000"/>
                </a:solidFill>
                <a:effectLst/>
                <a:uLnTx/>
                <a:uFillTx/>
                <a:latin typeface="Noto Sans"/>
                <a:ea typeface="+mn-ea"/>
                <a:cs typeface="+mn-cs"/>
              </a:rPr>
              <a:t> DSPs) – </a:t>
            </a:r>
            <a:r>
              <a:rPr kumimoji="0" lang="en-GB" sz="1000" b="1" i="1" u="none" strike="noStrike" kern="1200" cap="none" spc="0" normalizeH="0" baseline="0" noProof="0">
                <a:ln>
                  <a:noFill/>
                </a:ln>
                <a:solidFill>
                  <a:srgbClr val="000000"/>
                </a:solidFill>
                <a:effectLst/>
                <a:uLnTx/>
                <a:uFillTx/>
                <a:latin typeface="Noto Sans"/>
                <a:ea typeface="+mn-ea"/>
                <a:cs typeface="+mn-cs"/>
              </a:rPr>
              <a:t>Advanced Services</a:t>
            </a:r>
          </a:p>
        </p:txBody>
      </p:sp>
    </p:spTree>
    <p:extLst>
      <p:ext uri="{BB962C8B-B14F-4D97-AF65-F5344CB8AC3E}">
        <p14:creationId xmlns:p14="http://schemas.microsoft.com/office/powerpoint/2010/main" val="4033696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8B14D69-2942-E130-B106-ABC154F454A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11" name="think-cell data - do not delete" hidden="1">
                        <a:extLst>
                          <a:ext uri="{FF2B5EF4-FFF2-40B4-BE49-F238E27FC236}">
                            <a16:creationId xmlns:a16="http://schemas.microsoft.com/office/drawing/2014/main" id="{78B14D69-2942-E130-B106-ABC154F454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23F4224-2642-0C2D-D24D-DA21DB73BA76}"/>
              </a:ext>
            </a:extLst>
          </p:cNvPr>
          <p:cNvSpPr>
            <a:spLocks noGrp="1"/>
          </p:cNvSpPr>
          <p:nvPr>
            <p:ph type="body" sz="quarter" idx="16"/>
          </p:nvPr>
        </p:nvSpPr>
        <p:spPr/>
        <p:txBody>
          <a:bodyPr/>
          <a:lstStyle/>
          <a:p>
            <a:r>
              <a:rPr lang="en-GB"/>
              <a:t>37% of Independents delivering &lt;20 consultations on average per month</a:t>
            </a:r>
          </a:p>
        </p:txBody>
      </p:sp>
      <p:sp>
        <p:nvSpPr>
          <p:cNvPr id="3" name="Title 2">
            <a:extLst>
              <a:ext uri="{FF2B5EF4-FFF2-40B4-BE49-F238E27FC236}">
                <a16:creationId xmlns:a16="http://schemas.microsoft.com/office/drawing/2014/main" id="{7EBBD590-EEB1-5FB9-9EDE-C88C2F6CB5EA}"/>
              </a:ext>
            </a:extLst>
          </p:cNvPr>
          <p:cNvSpPr>
            <a:spLocks noGrp="1"/>
          </p:cNvSpPr>
          <p:nvPr>
            <p:ph type="title"/>
          </p:nvPr>
        </p:nvSpPr>
        <p:spPr/>
        <p:txBody>
          <a:bodyPr vert="horz"/>
          <a:lstStyle/>
          <a:p>
            <a:r>
              <a:rPr lang="en-GB"/>
              <a:t>Chains are delivering more consultations per pharmacy than independents</a:t>
            </a:r>
          </a:p>
        </p:txBody>
      </p:sp>
      <p:graphicFrame>
        <p:nvGraphicFramePr>
          <p:cNvPr id="7" name="Chart 6">
            <a:extLst>
              <a:ext uri="{FF2B5EF4-FFF2-40B4-BE49-F238E27FC236}">
                <a16:creationId xmlns:a16="http://schemas.microsoft.com/office/drawing/2014/main" id="{E72AF1E8-176E-5D7E-3689-9383012FEE7D}"/>
              </a:ext>
            </a:extLst>
          </p:cNvPr>
          <p:cNvGraphicFramePr/>
          <p:nvPr/>
        </p:nvGraphicFramePr>
        <p:xfrm>
          <a:off x="1561671" y="1705510"/>
          <a:ext cx="9509451" cy="413560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able 7">
            <a:extLst>
              <a:ext uri="{FF2B5EF4-FFF2-40B4-BE49-F238E27FC236}">
                <a16:creationId xmlns:a16="http://schemas.microsoft.com/office/drawing/2014/main" id="{BC0E334B-D7D8-186C-54AC-D36ACD3DF20E}"/>
              </a:ext>
            </a:extLst>
          </p:cNvPr>
          <p:cNvGraphicFramePr>
            <a:graphicFrameLocks noGrp="1"/>
          </p:cNvGraphicFramePr>
          <p:nvPr/>
        </p:nvGraphicFramePr>
        <p:xfrm>
          <a:off x="1071900" y="5867941"/>
          <a:ext cx="8452242" cy="426720"/>
        </p:xfrm>
        <a:graphic>
          <a:graphicData uri="http://schemas.openxmlformats.org/drawingml/2006/table">
            <a:tbl>
              <a:tblPr firstRow="1" bandRow="1">
                <a:tableStyleId>{5C22544A-7EE6-4342-B048-85BDC9FD1C3A}</a:tableStyleId>
              </a:tblPr>
              <a:tblGrid>
                <a:gridCol w="1509057">
                  <a:extLst>
                    <a:ext uri="{9D8B030D-6E8A-4147-A177-3AD203B41FA5}">
                      <a16:colId xmlns:a16="http://schemas.microsoft.com/office/drawing/2014/main" val="85455297"/>
                    </a:ext>
                  </a:extLst>
                </a:gridCol>
                <a:gridCol w="1388637">
                  <a:extLst>
                    <a:ext uri="{9D8B030D-6E8A-4147-A177-3AD203B41FA5}">
                      <a16:colId xmlns:a16="http://schemas.microsoft.com/office/drawing/2014/main" val="660678"/>
                    </a:ext>
                  </a:extLst>
                </a:gridCol>
                <a:gridCol w="1388637">
                  <a:extLst>
                    <a:ext uri="{9D8B030D-6E8A-4147-A177-3AD203B41FA5}">
                      <a16:colId xmlns:a16="http://schemas.microsoft.com/office/drawing/2014/main" val="277646621"/>
                    </a:ext>
                  </a:extLst>
                </a:gridCol>
                <a:gridCol w="1388637">
                  <a:extLst>
                    <a:ext uri="{9D8B030D-6E8A-4147-A177-3AD203B41FA5}">
                      <a16:colId xmlns:a16="http://schemas.microsoft.com/office/drawing/2014/main" val="1509172927"/>
                    </a:ext>
                  </a:extLst>
                </a:gridCol>
                <a:gridCol w="1388637">
                  <a:extLst>
                    <a:ext uri="{9D8B030D-6E8A-4147-A177-3AD203B41FA5}">
                      <a16:colId xmlns:a16="http://schemas.microsoft.com/office/drawing/2014/main" val="1135221998"/>
                    </a:ext>
                  </a:extLst>
                </a:gridCol>
                <a:gridCol w="1388637">
                  <a:extLst>
                    <a:ext uri="{9D8B030D-6E8A-4147-A177-3AD203B41FA5}">
                      <a16:colId xmlns:a16="http://schemas.microsoft.com/office/drawing/2014/main" val="3184215937"/>
                    </a:ext>
                  </a:extLst>
                </a:gridCol>
              </a:tblGrid>
              <a:tr h="402336">
                <a:tc>
                  <a:txBody>
                    <a:bodyPr/>
                    <a:lstStyle/>
                    <a:p>
                      <a:r>
                        <a:rPr lang="en-GB" sz="1100"/>
                        <a:t>% of pharmacies delivering (Dec 25)</a:t>
                      </a:r>
                    </a:p>
                  </a:txBody>
                  <a:tcPr/>
                </a:tc>
                <a:tc>
                  <a:txBody>
                    <a:bodyPr/>
                    <a:lstStyle/>
                    <a:p>
                      <a:pPr algn="ctr"/>
                      <a:r>
                        <a:rPr lang="en-GB" sz="1400"/>
                        <a:t>30.2%</a:t>
                      </a:r>
                    </a:p>
                  </a:txBody>
                  <a:tcPr anchor="ctr"/>
                </a:tc>
                <a:tc>
                  <a:txBody>
                    <a:bodyPr/>
                    <a:lstStyle/>
                    <a:p>
                      <a:pPr algn="ctr"/>
                      <a:r>
                        <a:rPr lang="en-GB" sz="1400"/>
                        <a:t>89.5%</a:t>
                      </a:r>
                    </a:p>
                  </a:txBody>
                  <a:tcPr anchor="ctr"/>
                </a:tc>
                <a:tc>
                  <a:txBody>
                    <a:bodyPr/>
                    <a:lstStyle/>
                    <a:p>
                      <a:pPr algn="ctr"/>
                      <a:r>
                        <a:rPr lang="en-GB" sz="1400"/>
                        <a:t>95.2%</a:t>
                      </a:r>
                    </a:p>
                  </a:txBody>
                  <a:tcPr anchor="ctr"/>
                </a:tc>
                <a:tc>
                  <a:txBody>
                    <a:bodyPr/>
                    <a:lstStyle/>
                    <a:p>
                      <a:pPr algn="ctr"/>
                      <a:r>
                        <a:rPr lang="en-GB" sz="1400"/>
                        <a:t>99.1%</a:t>
                      </a:r>
                    </a:p>
                  </a:txBody>
                  <a:tcPr anchor="ctr"/>
                </a:tc>
                <a:tc>
                  <a:txBody>
                    <a:bodyPr/>
                    <a:lstStyle/>
                    <a:p>
                      <a:pPr algn="ctr"/>
                      <a:r>
                        <a:rPr lang="en-GB" sz="1400"/>
                        <a:t>99.1%</a:t>
                      </a:r>
                    </a:p>
                  </a:txBody>
                  <a:tcPr anchor="ctr"/>
                </a:tc>
                <a:extLst>
                  <a:ext uri="{0D108BD9-81ED-4DB2-BD59-A6C34878D82A}">
                    <a16:rowId xmlns:a16="http://schemas.microsoft.com/office/drawing/2014/main" val="969954941"/>
                  </a:ext>
                </a:extLst>
              </a:tr>
            </a:tbl>
          </a:graphicData>
        </a:graphic>
      </p:graphicFrame>
      <p:sp>
        <p:nvSpPr>
          <p:cNvPr id="9" name="Footer Placeholder 3">
            <a:extLst>
              <a:ext uri="{FF2B5EF4-FFF2-40B4-BE49-F238E27FC236}">
                <a16:creationId xmlns:a16="http://schemas.microsoft.com/office/drawing/2014/main" id="{D992873E-DB56-C185-369B-DC6369339133}"/>
              </a:ext>
            </a:extLst>
          </p:cNvPr>
          <p:cNvSpPr txBox="1">
            <a:spLocks/>
          </p:cNvSpPr>
          <p:nvPr/>
        </p:nvSpPr>
        <p:spPr bwMode="gray">
          <a:xfrm>
            <a:off x="301337" y="6322201"/>
            <a:ext cx="9285484" cy="338087"/>
          </a:xfrm>
          <a:prstGeom prst="rect">
            <a:avLst/>
          </a:prstGeom>
          <a:noFill/>
        </p:spPr>
        <p:txBody>
          <a:bodyPr vert="horz" lIns="91440" tIns="45720" rIns="91440" bIns="45720" rtlCol="0" anchor="b" anchorCtr="0"/>
          <a:lstStyle>
            <a:defPPr>
              <a:defRPr lang="en-US"/>
            </a:defPPr>
            <a:lvl1pPr marL="0" algn="l" defTabSz="914400" rtl="0" eaLnBrk="1" latinLnBrk="0" hangingPunct="1">
              <a:defRPr sz="8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Noto Sans"/>
                <a:ea typeface="+mn-ea"/>
                <a:cs typeface="+mn-cs"/>
              </a:rPr>
              <a:t>Source: NHSBSA Active Pharmacies delivering &gt;0 consultations, Average consultations per month over 12months to Dec 2025, </a:t>
            </a:r>
          </a:p>
        </p:txBody>
      </p:sp>
    </p:spTree>
    <p:extLst>
      <p:ext uri="{BB962C8B-B14F-4D97-AF65-F5344CB8AC3E}">
        <p14:creationId xmlns:p14="http://schemas.microsoft.com/office/powerpoint/2010/main" val="53608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F08C2-DD35-68FB-D365-8AE302BBDF1B}"/>
            </a:ext>
          </a:extLst>
        </p:cNvPr>
        <p:cNvGrpSpPr/>
        <p:nvPr/>
      </p:nvGrpSpPr>
      <p:grpSpPr>
        <a:xfrm>
          <a:off x="0" y="0"/>
          <a:ext cx="0" cy="0"/>
          <a:chOff x="0" y="0"/>
          <a:chExt cx="0" cy="0"/>
        </a:xfrm>
      </p:grpSpPr>
      <p:graphicFrame>
        <p:nvGraphicFramePr>
          <p:cNvPr id="12" name="Content Placeholder 11">
            <a:extLst>
              <a:ext uri="{FF2B5EF4-FFF2-40B4-BE49-F238E27FC236}">
                <a16:creationId xmlns:a16="http://schemas.microsoft.com/office/drawing/2014/main" id="{C72B1C9A-1484-4051-D733-3B7F2963FDE5}"/>
              </a:ext>
            </a:extLst>
          </p:cNvPr>
          <p:cNvGraphicFramePr>
            <a:graphicFrameLocks noGrp="1"/>
          </p:cNvGraphicFramePr>
          <p:nvPr>
            <p:ph idx="18"/>
          </p:nvPr>
        </p:nvGraphicFramePr>
        <p:xfrm>
          <a:off x="384175" y="1800208"/>
          <a:ext cx="5532438" cy="4576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a:extLst>
              <a:ext uri="{FF2B5EF4-FFF2-40B4-BE49-F238E27FC236}">
                <a16:creationId xmlns:a16="http://schemas.microsoft.com/office/drawing/2014/main" id="{217530DB-D2E9-E4E7-3E39-3C286D1D4E30}"/>
              </a:ext>
            </a:extLst>
          </p:cNvPr>
          <p:cNvSpPr>
            <a:spLocks noGrp="1"/>
          </p:cNvSpPr>
          <p:nvPr>
            <p:ph type="body" sz="quarter" idx="16"/>
          </p:nvPr>
        </p:nvSpPr>
        <p:spPr/>
        <p:txBody>
          <a:bodyPr/>
          <a:lstStyle/>
          <a:p>
            <a:r>
              <a:rPr lang="en-GB"/>
              <a:t>Empowered pharmacists, Cross merchandising and Promotions can drive awareness and boost additional customer purchases</a:t>
            </a:r>
          </a:p>
        </p:txBody>
      </p:sp>
      <p:sp>
        <p:nvSpPr>
          <p:cNvPr id="3" name="Title 2">
            <a:extLst>
              <a:ext uri="{FF2B5EF4-FFF2-40B4-BE49-F238E27FC236}">
                <a16:creationId xmlns:a16="http://schemas.microsoft.com/office/drawing/2014/main" id="{E6175F5B-746A-E5A5-1E9B-93F546152906}"/>
              </a:ext>
            </a:extLst>
          </p:cNvPr>
          <p:cNvSpPr>
            <a:spLocks noGrp="1"/>
          </p:cNvSpPr>
          <p:nvPr>
            <p:ph type="title"/>
          </p:nvPr>
        </p:nvSpPr>
        <p:spPr/>
        <p:txBody>
          <a:bodyPr/>
          <a:lstStyle/>
          <a:p>
            <a:r>
              <a:rPr lang="en-GB"/>
              <a:t>Pharmacy First services can help drive ‘</a:t>
            </a:r>
            <a:r>
              <a:rPr lang="en-GB" i="1"/>
              <a:t>Halo Spend</a:t>
            </a:r>
            <a:r>
              <a:rPr lang="en-GB"/>
              <a:t>’ through higher patient footfall into community pharmacies</a:t>
            </a:r>
          </a:p>
        </p:txBody>
      </p:sp>
      <p:sp>
        <p:nvSpPr>
          <p:cNvPr id="4" name="Footer Placeholder 3">
            <a:extLst>
              <a:ext uri="{FF2B5EF4-FFF2-40B4-BE49-F238E27FC236}">
                <a16:creationId xmlns:a16="http://schemas.microsoft.com/office/drawing/2014/main" id="{1402E6A6-FF19-ED1A-7619-67B3E86FF57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endParaRPr>
          </a:p>
        </p:txBody>
      </p:sp>
      <p:sp>
        <p:nvSpPr>
          <p:cNvPr id="2" name="Oval 1">
            <a:extLst>
              <a:ext uri="{FF2B5EF4-FFF2-40B4-BE49-F238E27FC236}">
                <a16:creationId xmlns:a16="http://schemas.microsoft.com/office/drawing/2014/main" id="{9C7A67C9-114C-B92C-6332-F0B3B4A27BD7}"/>
              </a:ext>
            </a:extLst>
          </p:cNvPr>
          <p:cNvSpPr/>
          <p:nvPr/>
        </p:nvSpPr>
        <p:spPr>
          <a:xfrm>
            <a:off x="6972138" y="2764722"/>
            <a:ext cx="720000" cy="72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 name="Oval 4">
            <a:extLst>
              <a:ext uri="{FF2B5EF4-FFF2-40B4-BE49-F238E27FC236}">
                <a16:creationId xmlns:a16="http://schemas.microsoft.com/office/drawing/2014/main" id="{7DC31E4B-8972-9D8A-7941-37C80819B9B8}"/>
              </a:ext>
            </a:extLst>
          </p:cNvPr>
          <p:cNvSpPr/>
          <p:nvPr/>
        </p:nvSpPr>
        <p:spPr>
          <a:xfrm>
            <a:off x="8682155" y="2764722"/>
            <a:ext cx="720000" cy="72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F8D6B42F-E58D-3745-CE27-C5C76FA758B9}"/>
              </a:ext>
            </a:extLst>
          </p:cNvPr>
          <p:cNvSpPr/>
          <p:nvPr/>
        </p:nvSpPr>
        <p:spPr>
          <a:xfrm>
            <a:off x="10392171" y="2764722"/>
            <a:ext cx="720000" cy="72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D64FBA0A-D430-33DA-2276-1349F0C89B12}"/>
              </a:ext>
            </a:extLst>
          </p:cNvPr>
          <p:cNvSpPr txBox="1"/>
          <p:nvPr/>
        </p:nvSpPr>
        <p:spPr>
          <a:xfrm>
            <a:off x="6569575" y="3512556"/>
            <a:ext cx="15773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Arial" panose="020B0604020202020204"/>
                <a:ea typeface="+mn-ea"/>
                <a:cs typeface="+mn-cs"/>
              </a:rPr>
              <a:t>PF Consultation</a:t>
            </a:r>
          </a:p>
        </p:txBody>
      </p:sp>
      <p:sp>
        <p:nvSpPr>
          <p:cNvPr id="11" name="TextBox 10">
            <a:extLst>
              <a:ext uri="{FF2B5EF4-FFF2-40B4-BE49-F238E27FC236}">
                <a16:creationId xmlns:a16="http://schemas.microsoft.com/office/drawing/2014/main" id="{31BE0E34-F237-32B3-B716-418DD51C7A54}"/>
              </a:ext>
            </a:extLst>
          </p:cNvPr>
          <p:cNvSpPr txBox="1"/>
          <p:nvPr/>
        </p:nvSpPr>
        <p:spPr>
          <a:xfrm>
            <a:off x="6702434" y="4077331"/>
            <a:ext cx="131243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Antibiotics Prescribed</a:t>
            </a:r>
          </a:p>
        </p:txBody>
      </p:sp>
      <p:sp>
        <p:nvSpPr>
          <p:cNvPr id="13" name="TextBox 12">
            <a:extLst>
              <a:ext uri="{FF2B5EF4-FFF2-40B4-BE49-F238E27FC236}">
                <a16:creationId xmlns:a16="http://schemas.microsoft.com/office/drawing/2014/main" id="{B74E6667-5B91-A69B-1FEC-77A28432544E}"/>
              </a:ext>
            </a:extLst>
          </p:cNvPr>
          <p:cNvSpPr txBox="1"/>
          <p:nvPr/>
        </p:nvSpPr>
        <p:spPr>
          <a:xfrm>
            <a:off x="6410625" y="4941096"/>
            <a:ext cx="191498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Recommend lozenges, throat sprays, pain killers</a:t>
            </a:r>
          </a:p>
        </p:txBody>
      </p:sp>
      <p:sp>
        <p:nvSpPr>
          <p:cNvPr id="14" name="TextBox 13">
            <a:extLst>
              <a:ext uri="{FF2B5EF4-FFF2-40B4-BE49-F238E27FC236}">
                <a16:creationId xmlns:a16="http://schemas.microsoft.com/office/drawing/2014/main" id="{7E1BAF9E-C58B-E96C-3480-7A2B2EA4B6C0}"/>
              </a:ext>
            </a:extLst>
          </p:cNvPr>
          <p:cNvSpPr txBox="1"/>
          <p:nvPr/>
        </p:nvSpPr>
        <p:spPr>
          <a:xfrm>
            <a:off x="8422520" y="4077331"/>
            <a:ext cx="131243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Hydration and Rest</a:t>
            </a:r>
          </a:p>
        </p:txBody>
      </p:sp>
      <p:sp>
        <p:nvSpPr>
          <p:cNvPr id="15" name="TextBox 14">
            <a:extLst>
              <a:ext uri="{FF2B5EF4-FFF2-40B4-BE49-F238E27FC236}">
                <a16:creationId xmlns:a16="http://schemas.microsoft.com/office/drawing/2014/main" id="{1D4C34A0-9D68-99A8-0A4E-97C1CCE53D70}"/>
              </a:ext>
            </a:extLst>
          </p:cNvPr>
          <p:cNvSpPr txBox="1"/>
          <p:nvPr/>
        </p:nvSpPr>
        <p:spPr>
          <a:xfrm>
            <a:off x="8362034" y="4941096"/>
            <a:ext cx="144529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Suggest electrolyte, probiotic, VMS</a:t>
            </a:r>
          </a:p>
        </p:txBody>
      </p:sp>
      <p:sp>
        <p:nvSpPr>
          <p:cNvPr id="16" name="TextBox 15">
            <a:extLst>
              <a:ext uri="{FF2B5EF4-FFF2-40B4-BE49-F238E27FC236}">
                <a16:creationId xmlns:a16="http://schemas.microsoft.com/office/drawing/2014/main" id="{19F7F32D-D621-F605-EC9E-C01D795796EE}"/>
              </a:ext>
            </a:extLst>
          </p:cNvPr>
          <p:cNvSpPr txBox="1"/>
          <p:nvPr/>
        </p:nvSpPr>
        <p:spPr>
          <a:xfrm>
            <a:off x="10105770" y="4941096"/>
            <a:ext cx="131243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Promote immunity supplements</a:t>
            </a:r>
          </a:p>
        </p:txBody>
      </p:sp>
      <p:sp>
        <p:nvSpPr>
          <p:cNvPr id="17" name="TextBox 16">
            <a:extLst>
              <a:ext uri="{FF2B5EF4-FFF2-40B4-BE49-F238E27FC236}">
                <a16:creationId xmlns:a16="http://schemas.microsoft.com/office/drawing/2014/main" id="{9B2671A7-86AE-E744-09FB-9F099E4A58B5}"/>
              </a:ext>
            </a:extLst>
          </p:cNvPr>
          <p:cNvSpPr txBox="1"/>
          <p:nvPr/>
        </p:nvSpPr>
        <p:spPr>
          <a:xfrm>
            <a:off x="10095952" y="4077331"/>
            <a:ext cx="1312433"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Ph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SMS</a:t>
            </a:r>
          </a:p>
        </p:txBody>
      </p:sp>
      <p:cxnSp>
        <p:nvCxnSpPr>
          <p:cNvPr id="21" name="Straight Arrow Connector 20">
            <a:extLst>
              <a:ext uri="{FF2B5EF4-FFF2-40B4-BE49-F238E27FC236}">
                <a16:creationId xmlns:a16="http://schemas.microsoft.com/office/drawing/2014/main" id="{9899E82E-E6BB-C70C-36E6-BD8C4F728BA4}"/>
              </a:ext>
            </a:extLst>
          </p:cNvPr>
          <p:cNvCxnSpPr>
            <a:cxnSpLocks/>
          </p:cNvCxnSpPr>
          <p:nvPr/>
        </p:nvCxnSpPr>
        <p:spPr>
          <a:xfrm>
            <a:off x="7802640" y="3124722"/>
            <a:ext cx="6884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2991C96-A29E-33DB-9481-28B6EFFCA2E2}"/>
              </a:ext>
            </a:extLst>
          </p:cNvPr>
          <p:cNvCxnSpPr>
            <a:cxnSpLocks/>
          </p:cNvCxnSpPr>
          <p:nvPr/>
        </p:nvCxnSpPr>
        <p:spPr>
          <a:xfrm>
            <a:off x="9531175" y="3124722"/>
            <a:ext cx="6884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46D4382-3E9A-FFC2-F266-1A14984156E0}"/>
              </a:ext>
            </a:extLst>
          </p:cNvPr>
          <p:cNvSpPr txBox="1"/>
          <p:nvPr/>
        </p:nvSpPr>
        <p:spPr>
          <a:xfrm>
            <a:off x="8279324" y="3512556"/>
            <a:ext cx="15773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Arial" panose="020B0604020202020204"/>
                <a:ea typeface="+mn-ea"/>
                <a:cs typeface="+mn-cs"/>
              </a:rPr>
              <a:t>Advice</a:t>
            </a:r>
          </a:p>
        </p:txBody>
      </p:sp>
      <p:sp>
        <p:nvSpPr>
          <p:cNvPr id="24" name="TextBox 23">
            <a:extLst>
              <a:ext uri="{FF2B5EF4-FFF2-40B4-BE49-F238E27FC236}">
                <a16:creationId xmlns:a16="http://schemas.microsoft.com/office/drawing/2014/main" id="{D6A02896-407A-BC77-6F9E-1DD3B9F3D19A}"/>
              </a:ext>
            </a:extLst>
          </p:cNvPr>
          <p:cNvSpPr txBox="1"/>
          <p:nvPr/>
        </p:nvSpPr>
        <p:spPr>
          <a:xfrm>
            <a:off x="9963514" y="3512556"/>
            <a:ext cx="15773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Arial" panose="020B0604020202020204"/>
                <a:ea typeface="+mn-ea"/>
                <a:cs typeface="+mn-cs"/>
              </a:rPr>
              <a:t>Follow-up</a:t>
            </a:r>
          </a:p>
        </p:txBody>
      </p:sp>
      <p:cxnSp>
        <p:nvCxnSpPr>
          <p:cNvPr id="29" name="Straight Connector 28">
            <a:extLst>
              <a:ext uri="{FF2B5EF4-FFF2-40B4-BE49-F238E27FC236}">
                <a16:creationId xmlns:a16="http://schemas.microsoft.com/office/drawing/2014/main" id="{5571470F-2998-B160-712B-5A5D16DA712F}"/>
              </a:ext>
            </a:extLst>
          </p:cNvPr>
          <p:cNvCxnSpPr>
            <a:cxnSpLocks/>
            <a:stCxn id="8" idx="2"/>
            <a:endCxn id="11" idx="0"/>
          </p:cNvCxnSpPr>
          <p:nvPr/>
        </p:nvCxnSpPr>
        <p:spPr>
          <a:xfrm>
            <a:off x="7358230" y="3789555"/>
            <a:ext cx="421" cy="2877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D897C92-6867-57AB-99DD-C91DF5C0084D}"/>
              </a:ext>
            </a:extLst>
          </p:cNvPr>
          <p:cNvCxnSpPr>
            <a:cxnSpLocks/>
            <a:stCxn id="23" idx="2"/>
            <a:endCxn id="14" idx="0"/>
          </p:cNvCxnSpPr>
          <p:nvPr/>
        </p:nvCxnSpPr>
        <p:spPr>
          <a:xfrm>
            <a:off x="9067979" y="3789555"/>
            <a:ext cx="10758" cy="2877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064BFCB-077F-39D3-4520-6739F6F2F8C2}"/>
              </a:ext>
            </a:extLst>
          </p:cNvPr>
          <p:cNvCxnSpPr>
            <a:cxnSpLocks/>
            <a:stCxn id="24" idx="2"/>
            <a:endCxn id="17" idx="0"/>
          </p:cNvCxnSpPr>
          <p:nvPr/>
        </p:nvCxnSpPr>
        <p:spPr>
          <a:xfrm>
            <a:off x="10752169" y="3789555"/>
            <a:ext cx="0" cy="2877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54F011F-CDEE-8A8F-2879-471540AB19F2}"/>
              </a:ext>
            </a:extLst>
          </p:cNvPr>
          <p:cNvCxnSpPr>
            <a:cxnSpLocks/>
            <a:stCxn id="11" idx="2"/>
            <a:endCxn id="13" idx="0"/>
          </p:cNvCxnSpPr>
          <p:nvPr/>
        </p:nvCxnSpPr>
        <p:spPr>
          <a:xfrm>
            <a:off x="7358651" y="4600551"/>
            <a:ext cx="9467" cy="34054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7AE1DA9-59BF-C51E-983C-3C489E3B58AB}"/>
              </a:ext>
            </a:extLst>
          </p:cNvPr>
          <p:cNvCxnSpPr>
            <a:cxnSpLocks/>
            <a:stCxn id="14" idx="2"/>
            <a:endCxn id="15" idx="0"/>
          </p:cNvCxnSpPr>
          <p:nvPr/>
        </p:nvCxnSpPr>
        <p:spPr>
          <a:xfrm>
            <a:off x="9078737" y="4600551"/>
            <a:ext cx="5943" cy="34054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FB542C4-7707-102A-4C54-8ED01D3915F4}"/>
              </a:ext>
            </a:extLst>
          </p:cNvPr>
          <p:cNvCxnSpPr>
            <a:cxnSpLocks/>
            <a:stCxn id="17" idx="2"/>
            <a:endCxn id="16" idx="0"/>
          </p:cNvCxnSpPr>
          <p:nvPr/>
        </p:nvCxnSpPr>
        <p:spPr>
          <a:xfrm>
            <a:off x="10752169" y="4600551"/>
            <a:ext cx="9818" cy="34054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512CC8EB-D2D5-7550-4240-5C7914B292BD}"/>
              </a:ext>
            </a:extLst>
          </p:cNvPr>
          <p:cNvSpPr/>
          <p:nvPr/>
        </p:nvSpPr>
        <p:spPr>
          <a:xfrm>
            <a:off x="6368527" y="4876548"/>
            <a:ext cx="5378824" cy="84795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93908128-6BD4-AC19-5F81-CBFBBBDAAE81}"/>
              </a:ext>
            </a:extLst>
          </p:cNvPr>
          <p:cNvSpPr txBox="1"/>
          <p:nvPr/>
        </p:nvSpPr>
        <p:spPr>
          <a:xfrm>
            <a:off x="6429723" y="5744589"/>
            <a:ext cx="144529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srgbClr val="00A3E0"/>
                </a:solidFill>
                <a:effectLst/>
                <a:uLnTx/>
                <a:uFillTx/>
                <a:latin typeface="Arial" panose="020B0604020202020204"/>
                <a:ea typeface="+mn-ea"/>
                <a:cs typeface="+mn-cs"/>
              </a:rPr>
              <a:t>Halo Spend</a:t>
            </a:r>
          </a:p>
        </p:txBody>
      </p:sp>
      <p:sp>
        <p:nvSpPr>
          <p:cNvPr id="48" name="Rectangle: Rounded Corners 47">
            <a:extLst>
              <a:ext uri="{FF2B5EF4-FFF2-40B4-BE49-F238E27FC236}">
                <a16:creationId xmlns:a16="http://schemas.microsoft.com/office/drawing/2014/main" id="{0A4F21E6-161E-5B36-9507-51602FCA6DC3}"/>
              </a:ext>
            </a:extLst>
          </p:cNvPr>
          <p:cNvSpPr/>
          <p:nvPr/>
        </p:nvSpPr>
        <p:spPr>
          <a:xfrm>
            <a:off x="6863379" y="2160487"/>
            <a:ext cx="4313817" cy="387214"/>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Illustration for Sore Throat Treatment</a:t>
            </a:r>
          </a:p>
        </p:txBody>
      </p:sp>
      <p:pic>
        <p:nvPicPr>
          <p:cNvPr id="49" name="Graphic 48">
            <a:extLst>
              <a:ext uri="{FF2B5EF4-FFF2-40B4-BE49-F238E27FC236}">
                <a16:creationId xmlns:a16="http://schemas.microsoft.com/office/drawing/2014/main" id="{082E09D4-BB76-385F-E591-FF0FF9C7A8D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456719" y="2840193"/>
            <a:ext cx="576000" cy="576000"/>
          </a:xfrm>
          <a:prstGeom prst="rect">
            <a:avLst/>
          </a:prstGeom>
        </p:spPr>
      </p:pic>
      <p:pic>
        <p:nvPicPr>
          <p:cNvPr id="50" name="Graphic 49">
            <a:extLst>
              <a:ext uri="{FF2B5EF4-FFF2-40B4-BE49-F238E27FC236}">
                <a16:creationId xmlns:a16="http://schemas.microsoft.com/office/drawing/2014/main" id="{9BE38744-90E9-E5E5-1BC4-2DE727360C5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743279" y="2860993"/>
            <a:ext cx="576000" cy="576000"/>
          </a:xfrm>
          <a:prstGeom prst="rect">
            <a:avLst/>
          </a:prstGeom>
        </p:spPr>
      </p:pic>
      <p:pic>
        <p:nvPicPr>
          <p:cNvPr id="51" name="Graphic 50">
            <a:extLst>
              <a:ext uri="{FF2B5EF4-FFF2-40B4-BE49-F238E27FC236}">
                <a16:creationId xmlns:a16="http://schemas.microsoft.com/office/drawing/2014/main" id="{BC177C58-9204-CB8C-51D8-FB98FAA67A3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033540" y="2829244"/>
            <a:ext cx="576000" cy="576000"/>
          </a:xfrm>
          <a:prstGeom prst="rect">
            <a:avLst/>
          </a:prstGeom>
        </p:spPr>
      </p:pic>
    </p:spTree>
    <p:extLst>
      <p:ext uri="{BB962C8B-B14F-4D97-AF65-F5344CB8AC3E}">
        <p14:creationId xmlns:p14="http://schemas.microsoft.com/office/powerpoint/2010/main" val="70334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789BA-6F3F-A3FC-CEDD-16C94ECCC4FA}"/>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D267A4C-97BD-9CE4-5F77-2B3FBF27766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3D267A4C-97BD-9CE4-5F77-2B3FBF277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0A966C-873F-2D38-9169-613ABE7759DE}"/>
              </a:ext>
            </a:extLst>
          </p:cNvPr>
          <p:cNvSpPr>
            <a:spLocks noGrp="1"/>
          </p:cNvSpPr>
          <p:nvPr>
            <p:ph type="title"/>
          </p:nvPr>
        </p:nvSpPr>
        <p:spPr/>
        <p:txBody>
          <a:bodyPr vert="horz"/>
          <a:lstStyle/>
          <a:p>
            <a:r>
              <a:rPr lang="en-US"/>
              <a:t>Patient driven healthcare</a:t>
            </a:r>
          </a:p>
        </p:txBody>
      </p:sp>
    </p:spTree>
    <p:extLst>
      <p:ext uri="{BB962C8B-B14F-4D97-AF65-F5344CB8AC3E}">
        <p14:creationId xmlns:p14="http://schemas.microsoft.com/office/powerpoint/2010/main" val="219643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958108-37C9-CA62-46B4-6367DF4222B4}"/>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8F7F8B-5D73-38AE-D4E1-2C239E4447B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73" imgH="473" progId="TCLayout.ActiveDocument.1">
                  <p:embed/>
                </p:oleObj>
              </mc:Choice>
              <mc:Fallback>
                <p:oleObj name="think-cell Slide" r:id="rId31" imgW="473" imgH="473" progId="TCLayout.ActiveDocument.1">
                  <p:embed/>
                  <p:pic>
                    <p:nvPicPr>
                      <p:cNvPr id="16" name="think-cell data - do not delete" hidden="1">
                        <a:extLst>
                          <a:ext uri="{FF2B5EF4-FFF2-40B4-BE49-F238E27FC236}">
                            <a16:creationId xmlns:a16="http://schemas.microsoft.com/office/drawing/2014/main" id="{C28F7F8B-5D73-38AE-D4E1-2C239E4447B6}"/>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EB9960E-E3DB-01DB-5C68-5F7CEF6AC9D1}"/>
              </a:ext>
            </a:extLst>
          </p:cNvPr>
          <p:cNvSpPr>
            <a:spLocks noGrp="1"/>
          </p:cNvSpPr>
          <p:nvPr>
            <p:ph type="title"/>
          </p:nvPr>
        </p:nvSpPr>
        <p:spPr>
          <a:xfrm>
            <a:off x="384694" y="294468"/>
            <a:ext cx="11492232" cy="768263"/>
          </a:xfrm>
        </p:spPr>
        <p:txBody>
          <a:bodyPr vert="horz" rIns="91440"/>
          <a:lstStyle/>
          <a:p>
            <a:r>
              <a:rPr lang="en-GB"/>
              <a:t>As well as increased dispensing and services, private expenditure has tripled in the last year</a:t>
            </a:r>
          </a:p>
        </p:txBody>
      </p:sp>
      <p:sp>
        <p:nvSpPr>
          <p:cNvPr id="4" name="Footer Placeholder 3">
            <a:extLst>
              <a:ext uri="{FF2B5EF4-FFF2-40B4-BE49-F238E27FC236}">
                <a16:creationId xmlns:a16="http://schemas.microsoft.com/office/drawing/2014/main" id="{C9DACBAF-2AA3-97B4-8A96-0C0883E3B3DD}"/>
              </a:ext>
            </a:extLst>
          </p:cNvPr>
          <p:cNvSpPr>
            <a:spLocks noGrp="1"/>
          </p:cNvSpPr>
          <p:nvPr>
            <p:ph type="ftr" sz="quarter" idx="3"/>
          </p:nvPr>
        </p:nvSpPr>
        <p:spPr>
          <a:xfrm>
            <a:off x="384695" y="6429898"/>
            <a:ext cx="10031057" cy="33808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Sources: IQVIA British Pharmaceutical Index (BPI) / Hospital Pharmacy Audit (HPA) / Supply Chain Manager (SCM) – February 2026. Excludes product supplied by manufacturers directly or distributed via Third Party Logistics companies. Channels include: Private pharmacy and hospital purchasing, private prescriptions dispensed in community pharmacy, private usage in NHS hospitals. AOM chart sources: NHSBSA data, Net Ingredient Cost – February 2026; IQVIA HPA / SCM – February 2026. 1) </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hlinkClick r:id="rId33"/>
              </a:rPr>
              <a:t>NHS backlog data analysi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p>
        </p:txBody>
      </p:sp>
      <p:graphicFrame>
        <p:nvGraphicFramePr>
          <p:cNvPr id="12" name="Chart 11">
            <a:extLst>
              <a:ext uri="{FF2B5EF4-FFF2-40B4-BE49-F238E27FC236}">
                <a16:creationId xmlns:a16="http://schemas.microsoft.com/office/drawing/2014/main" id="{5205F31A-D391-F4BF-454F-7B58D38D736E}"/>
              </a:ext>
            </a:extLst>
          </p:cNvPr>
          <p:cNvGraphicFramePr/>
          <p:nvPr>
            <p:custDataLst>
              <p:tags r:id="rId2"/>
            </p:custDataLst>
          </p:nvPr>
        </p:nvGraphicFramePr>
        <p:xfrm>
          <a:off x="1377950" y="2528888"/>
          <a:ext cx="3886200" cy="3151187"/>
        </p:xfrm>
        <a:graphic>
          <a:graphicData uri="http://schemas.openxmlformats.org/drawingml/2006/chart">
            <c:chart xmlns:c="http://schemas.openxmlformats.org/drawingml/2006/chart" xmlns:r="http://schemas.openxmlformats.org/officeDocument/2006/relationships" r:id="rId34"/>
          </a:graphicData>
        </a:graphic>
      </p:graphicFrame>
      <p:sp>
        <p:nvSpPr>
          <p:cNvPr id="52" name="Rectangle 51">
            <a:extLst>
              <a:ext uri="{FF2B5EF4-FFF2-40B4-BE49-F238E27FC236}">
                <a16:creationId xmlns:a16="http://schemas.microsoft.com/office/drawing/2014/main" id="{0E928B2A-A720-ADB9-1292-4E1B7D89D446}"/>
              </a:ext>
            </a:extLst>
          </p:cNvPr>
          <p:cNvSpPr/>
          <p:nvPr>
            <p:custDataLst>
              <p:tags r:id="rId3"/>
            </p:custDataLst>
          </p:nvPr>
        </p:nvSpPr>
        <p:spPr bwMode="gray">
          <a:xfrm>
            <a:off x="1131888" y="5507038"/>
            <a:ext cx="1016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E3D5393C-B244-4526-8124-3A8DB419A3D3}" type="datetime'''''''''''''''''''''''''''''0'">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0</a:t>
            </a:fld>
            <a:endParaRPr kumimoji="0" lang="en-GB"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1" name="Rectangle 20">
            <a:extLst>
              <a:ext uri="{FF2B5EF4-FFF2-40B4-BE49-F238E27FC236}">
                <a16:creationId xmlns:a16="http://schemas.microsoft.com/office/drawing/2014/main" id="{3508ACBA-B801-BD36-EF63-EEE6E5270BA1}"/>
              </a:ext>
            </a:extLst>
          </p:cNvPr>
          <p:cNvSpPr/>
          <p:nvPr>
            <p:custDataLst>
              <p:tags r:id="rId4"/>
            </p:custDataLst>
          </p:nvPr>
        </p:nvSpPr>
        <p:spPr bwMode="gray">
          <a:xfrm>
            <a:off x="1131888" y="5207499"/>
            <a:ext cx="1016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B0E046EE-F099-4CF8-83A1-0278AC2A1283}" type="datetime'''''''''''''''''''''''''''''''''''''''''''''''''''5'">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5</a:t>
            </a:fld>
            <a:endParaRPr kumimoji="0" lang="en-GB"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56" name="Rectangle 55">
            <a:extLst>
              <a:ext uri="{FF2B5EF4-FFF2-40B4-BE49-F238E27FC236}">
                <a16:creationId xmlns:a16="http://schemas.microsoft.com/office/drawing/2014/main" id="{36633D6F-2FF3-A00A-5B02-B8016712157D}"/>
              </a:ext>
            </a:extLst>
          </p:cNvPr>
          <p:cNvSpPr/>
          <p:nvPr>
            <p:custDataLst>
              <p:tags r:id="rId5"/>
            </p:custDataLst>
          </p:nvPr>
        </p:nvSpPr>
        <p:spPr bwMode="gray">
          <a:xfrm>
            <a:off x="1081088" y="4907959"/>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F91383EB-8E38-41EC-8A51-0C84E62576C4}" type="datetime'''''''''''''''''''''''''''''''1''0'''''''''">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0</a:t>
            </a:fld>
            <a:endParaRPr kumimoji="0" lang="en-GB"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4" name="Rectangle 23">
            <a:extLst>
              <a:ext uri="{FF2B5EF4-FFF2-40B4-BE49-F238E27FC236}">
                <a16:creationId xmlns:a16="http://schemas.microsoft.com/office/drawing/2014/main" id="{6EE5C946-60A0-1FA1-09EA-EFF2E89A58BB}"/>
              </a:ext>
            </a:extLst>
          </p:cNvPr>
          <p:cNvSpPr/>
          <p:nvPr>
            <p:custDataLst>
              <p:tags r:id="rId6"/>
            </p:custDataLst>
          </p:nvPr>
        </p:nvSpPr>
        <p:spPr bwMode="gray">
          <a:xfrm>
            <a:off x="1081088" y="4608419"/>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3EE7E8C0-47C6-494C-A747-510DA0D62EC9}" type="datetime'1''''''''''''''''''''''''5'''''''''''''''''''">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5</a:t>
            </a:fld>
            <a:endParaRPr kumimoji="0" lang="en-GB"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6" name="Rectangle 25">
            <a:extLst>
              <a:ext uri="{FF2B5EF4-FFF2-40B4-BE49-F238E27FC236}">
                <a16:creationId xmlns:a16="http://schemas.microsoft.com/office/drawing/2014/main" id="{EEEFDA8A-17B1-69F2-703E-286453858107}"/>
              </a:ext>
            </a:extLst>
          </p:cNvPr>
          <p:cNvSpPr/>
          <p:nvPr>
            <p:custDataLst>
              <p:tags r:id="rId7"/>
            </p:custDataLst>
          </p:nvPr>
        </p:nvSpPr>
        <p:spPr bwMode="gray">
          <a:xfrm>
            <a:off x="1081088" y="4308879"/>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40C0AEA8-2E34-440B-BCB4-6809149E26B0}" type="datetime'''''2''''''''''''''''''''''''''0'''">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20</a:t>
            </a:fld>
            <a:endParaRPr kumimoji="0" lang="en-GB"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32" name="Rectangle 31">
            <a:extLst>
              <a:ext uri="{FF2B5EF4-FFF2-40B4-BE49-F238E27FC236}">
                <a16:creationId xmlns:a16="http://schemas.microsoft.com/office/drawing/2014/main" id="{0896BCBA-B210-A602-70E3-D819633D1C56}"/>
              </a:ext>
            </a:extLst>
          </p:cNvPr>
          <p:cNvSpPr/>
          <p:nvPr>
            <p:custDataLst>
              <p:tags r:id="rId8"/>
            </p:custDataLst>
          </p:nvPr>
        </p:nvSpPr>
        <p:spPr bwMode="gray">
          <a:xfrm>
            <a:off x="1081088" y="4009339"/>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5528F687-DCB9-4E6A-AE64-FBBBE0736005}" type="datetime'''''''25'''''''''''''''''''''''">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25</a:t>
            </a:fld>
            <a:endParaRPr kumimoji="0" lang="en-GB"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35" name="Rectangle 34">
            <a:extLst>
              <a:ext uri="{FF2B5EF4-FFF2-40B4-BE49-F238E27FC236}">
                <a16:creationId xmlns:a16="http://schemas.microsoft.com/office/drawing/2014/main" id="{090C251B-EEB7-E6A0-A5FF-6863B13C81DD}"/>
              </a:ext>
            </a:extLst>
          </p:cNvPr>
          <p:cNvSpPr/>
          <p:nvPr>
            <p:custDataLst>
              <p:tags r:id="rId9"/>
            </p:custDataLst>
          </p:nvPr>
        </p:nvSpPr>
        <p:spPr bwMode="gray">
          <a:xfrm>
            <a:off x="1081088" y="3709799"/>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DFB44733-ACC7-46B4-B88D-39542D7402F4}" type="datetime'''''''''''''''''''''''''''''''''3''''''''''''''''''0'''">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30</a:t>
            </a:fld>
            <a:endParaRPr kumimoji="0" lang="en-GB" sz="1400" b="0" i="0" u="none" strike="noStrike" kern="1200" cap="none" spc="0" normalizeH="0" baseline="0" noProof="0">
              <a:ln>
                <a:noFill/>
              </a:ln>
              <a:solidFill>
                <a:srgbClr val="2B3A42"/>
              </a:solidFill>
              <a:effectLst/>
              <a:uLnTx/>
              <a:uFillTx/>
              <a:latin typeface="Noto Sans"/>
              <a:ea typeface="+mn-ea"/>
              <a:cs typeface="+mn-cs"/>
            </a:endParaRPr>
          </a:p>
        </p:txBody>
      </p:sp>
      <p:sp>
        <p:nvSpPr>
          <p:cNvPr id="38" name="Rectangle 37">
            <a:extLst>
              <a:ext uri="{FF2B5EF4-FFF2-40B4-BE49-F238E27FC236}">
                <a16:creationId xmlns:a16="http://schemas.microsoft.com/office/drawing/2014/main" id="{7C448B97-CC08-B849-89AB-8D6C7A10E365}"/>
              </a:ext>
            </a:extLst>
          </p:cNvPr>
          <p:cNvSpPr/>
          <p:nvPr>
            <p:custDataLst>
              <p:tags r:id="rId10"/>
            </p:custDataLst>
          </p:nvPr>
        </p:nvSpPr>
        <p:spPr bwMode="gray">
          <a:xfrm>
            <a:off x="1081088" y="3410259"/>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B9A5C079-CBCB-4970-ADB7-B6AEA141B8BA}" type="datetime'3''5'''''''''''''''''''''''''''''''''">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35</a:t>
            </a:fld>
            <a:endParaRPr kumimoji="0" lang="en-GB" sz="1400" b="0" i="0" u="none" strike="noStrike" kern="1200" cap="none" spc="0" normalizeH="0" baseline="0" noProof="0">
              <a:ln>
                <a:noFill/>
              </a:ln>
              <a:solidFill>
                <a:srgbClr val="2B3A42"/>
              </a:solidFill>
              <a:effectLst/>
              <a:uLnTx/>
              <a:uFillTx/>
              <a:latin typeface="Noto Sans"/>
              <a:ea typeface="+mn-ea"/>
              <a:cs typeface="+mn-cs"/>
            </a:endParaRPr>
          </a:p>
        </p:txBody>
      </p:sp>
      <p:sp>
        <p:nvSpPr>
          <p:cNvPr id="43" name="Rectangle 42">
            <a:extLst>
              <a:ext uri="{FF2B5EF4-FFF2-40B4-BE49-F238E27FC236}">
                <a16:creationId xmlns:a16="http://schemas.microsoft.com/office/drawing/2014/main" id="{0F4E7465-7F98-6936-4550-61D80F77F9A7}"/>
              </a:ext>
            </a:extLst>
          </p:cNvPr>
          <p:cNvSpPr/>
          <p:nvPr/>
        </p:nvSpPr>
        <p:spPr bwMode="gray">
          <a:xfrm>
            <a:off x="1081088" y="3110719"/>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22223067-9B35-4C04-9C16-A562536ADD23}" type="datetime'''''''''4''''''''''''''''''''''''''''''''''''0'''">
              <a:rPr kumimoji="0" lang="en-GB"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40</a:t>
            </a:fld>
            <a:endParaRPr kumimoji="0" lang="en-GB" sz="1400" b="0" i="0" u="none" strike="noStrike" kern="1200" cap="none" spc="0" normalizeH="0" baseline="0" noProof="0">
              <a:ln>
                <a:noFill/>
              </a:ln>
              <a:solidFill>
                <a:srgbClr val="2B3A42"/>
              </a:solidFill>
              <a:effectLst/>
              <a:uLnTx/>
              <a:uFillTx/>
              <a:latin typeface="Noto Sans"/>
              <a:ea typeface="+mn-ea"/>
              <a:cs typeface="+mn-cs"/>
            </a:endParaRPr>
          </a:p>
        </p:txBody>
      </p:sp>
      <p:cxnSp>
        <p:nvCxnSpPr>
          <p:cNvPr id="25" name="Straight Connector 24">
            <a:extLst>
              <a:ext uri="{FF2B5EF4-FFF2-40B4-BE49-F238E27FC236}">
                <a16:creationId xmlns:a16="http://schemas.microsoft.com/office/drawing/2014/main" id="{4F8980FA-C6BD-E34A-A91D-AFB9304434D7}"/>
              </a:ext>
            </a:extLst>
          </p:cNvPr>
          <p:cNvCxnSpPr/>
          <p:nvPr>
            <p:custDataLst>
              <p:tags r:id="rId11"/>
            </p:custDataLst>
          </p:nvPr>
        </p:nvCxnSpPr>
        <p:spPr bwMode="auto">
          <a:xfrm flipV="1">
            <a:off x="2079626" y="2166939"/>
            <a:ext cx="2481263" cy="5127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5" name="Rectangle 114">
            <a:extLst>
              <a:ext uri="{FF2B5EF4-FFF2-40B4-BE49-F238E27FC236}">
                <a16:creationId xmlns:a16="http://schemas.microsoft.com/office/drawing/2014/main" id="{0ADA557E-F024-24CD-AB31-7100022C1F85}"/>
              </a:ext>
            </a:extLst>
          </p:cNvPr>
          <p:cNvSpPr/>
          <p:nvPr>
            <p:custDataLst>
              <p:tags r:id="rId12"/>
            </p:custDataLst>
          </p:nvPr>
        </p:nvSpPr>
        <p:spPr bwMode="auto">
          <a:xfrm>
            <a:off x="725488" y="3617912"/>
            <a:ext cx="212725" cy="9731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b" anchorCtr="0"/>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2B3A42"/>
                </a:solidFill>
                <a:effectLst/>
                <a:uLnTx/>
                <a:uFillTx/>
                <a:latin typeface="Arial" panose="020B0604020202020204"/>
                <a:ea typeface="+mn-ea"/>
                <a:cs typeface="+mn-cs"/>
              </a:rPr>
              <a:t>Value (Bn £)</a:t>
            </a:r>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25033E30-1725-ED6F-CE65-B482F3A09F7D}"/>
              </a:ext>
            </a:extLst>
          </p:cNvPr>
          <p:cNvSpPr/>
          <p:nvPr>
            <p:custDataLst>
              <p:tags r:id="rId13"/>
            </p:custDataLst>
          </p:nvPr>
        </p:nvSpPr>
        <p:spPr bwMode="gray">
          <a:xfrm>
            <a:off x="1851818" y="3532891"/>
            <a:ext cx="455613" cy="19208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FFFFFF"/>
                </a:solidFill>
                <a:effectLst/>
                <a:uLnTx/>
                <a:uFillTx/>
                <a:latin typeface="Arial" panose="020B0604020202020204"/>
                <a:ea typeface="+mn-ea"/>
                <a:cs typeface="+mn-cs"/>
              </a:rPr>
              <a:t>1.3%</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996FD84A-B79E-EEC1-868E-A0EE54C6D1BF}"/>
              </a:ext>
            </a:extLst>
          </p:cNvPr>
          <p:cNvSpPr/>
          <p:nvPr>
            <p:custDataLst>
              <p:tags r:id="rId14"/>
            </p:custDataLst>
          </p:nvPr>
        </p:nvSpPr>
        <p:spPr bwMode="gray">
          <a:xfrm>
            <a:off x="1803400" y="4319588"/>
            <a:ext cx="554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FFFFFF"/>
                </a:solidFill>
                <a:effectLst/>
                <a:uLnTx/>
                <a:uFillTx/>
                <a:latin typeface="Arial" panose="020B0604020202020204"/>
                <a:ea typeface="+mn-ea"/>
                <a:cs typeface="+mn-cs"/>
              </a:rPr>
              <a:t>98.7%</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51D5C84C-53DF-8407-FA13-E68E3D386D9B}"/>
              </a:ext>
            </a:extLst>
          </p:cNvPr>
          <p:cNvSpPr/>
          <p:nvPr>
            <p:custDataLst>
              <p:tags r:id="rId15"/>
            </p:custDataLst>
          </p:nvPr>
        </p:nvSpPr>
        <p:spPr bwMode="auto">
          <a:xfrm>
            <a:off x="1876425" y="5656263"/>
            <a:ext cx="406400"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MAT Feb 24</a:t>
            </a:r>
          </a:p>
        </p:txBody>
      </p:sp>
      <p:sp>
        <p:nvSpPr>
          <p:cNvPr id="42" name="Rectangle 41">
            <a:extLst>
              <a:ext uri="{FF2B5EF4-FFF2-40B4-BE49-F238E27FC236}">
                <a16:creationId xmlns:a16="http://schemas.microsoft.com/office/drawing/2014/main" id="{9B9E1440-CC8D-7FEE-6E6A-BDDBB9B9B6E8}"/>
              </a:ext>
            </a:extLst>
          </p:cNvPr>
          <p:cNvSpPr/>
          <p:nvPr>
            <p:custDataLst>
              <p:tags r:id="rId16"/>
            </p:custDataLst>
          </p:nvPr>
        </p:nvSpPr>
        <p:spPr bwMode="gray">
          <a:xfrm>
            <a:off x="3090863" y="3385467"/>
            <a:ext cx="455613" cy="19208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FFFFFF"/>
                </a:solidFill>
                <a:effectLst/>
                <a:uLnTx/>
                <a:uFillTx/>
                <a:latin typeface="Arial" panose="020B0604020202020204"/>
                <a:ea typeface="+mn-ea"/>
                <a:cs typeface="+mn-cs"/>
              </a:rPr>
              <a:t>2.8%</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E9A0B4A4-F03A-EBC4-F5E2-417945DB3ACE}"/>
              </a:ext>
            </a:extLst>
          </p:cNvPr>
          <p:cNvSpPr/>
          <p:nvPr>
            <p:custDataLst>
              <p:tags r:id="rId17"/>
            </p:custDataLst>
          </p:nvPr>
        </p:nvSpPr>
        <p:spPr bwMode="gray">
          <a:xfrm>
            <a:off x="3043238" y="4195763"/>
            <a:ext cx="554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FFFFFF"/>
                </a:solidFill>
                <a:effectLst/>
                <a:uLnTx/>
                <a:uFillTx/>
                <a:latin typeface="Arial" panose="020B0604020202020204"/>
                <a:ea typeface="+mn-ea"/>
                <a:cs typeface="+mn-cs"/>
              </a:rPr>
              <a:t>97.8%</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E9D4AAC4-9FA3-38FA-07FC-DB994FBF8578}"/>
              </a:ext>
            </a:extLst>
          </p:cNvPr>
          <p:cNvSpPr/>
          <p:nvPr>
            <p:custDataLst>
              <p:tags r:id="rId18"/>
            </p:custDataLst>
          </p:nvPr>
        </p:nvSpPr>
        <p:spPr bwMode="auto">
          <a:xfrm>
            <a:off x="3116263" y="5656263"/>
            <a:ext cx="406400"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2B3A42"/>
                </a:solidFill>
                <a:effectLst/>
                <a:uLnTx/>
                <a:uFillTx/>
                <a:latin typeface="Arial" panose="020B0604020202020204"/>
                <a:ea typeface="+mn-ea"/>
                <a:cs typeface="+mn-cs"/>
              </a:rPr>
              <a:t>MAT Feb 25</a:t>
            </a:r>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A4E7DE30-358A-12BE-DC5F-CA5E40470712}"/>
              </a:ext>
            </a:extLst>
          </p:cNvPr>
          <p:cNvSpPr/>
          <p:nvPr>
            <p:custDataLst>
              <p:tags r:id="rId19"/>
            </p:custDataLst>
          </p:nvPr>
        </p:nvSpPr>
        <p:spPr bwMode="gray">
          <a:xfrm>
            <a:off x="4333081" y="3224638"/>
            <a:ext cx="455613" cy="19208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FFFFFF"/>
                </a:solidFill>
                <a:effectLst/>
                <a:uLnTx/>
                <a:uFillTx/>
                <a:latin typeface="Arial" panose="020B0604020202020204"/>
                <a:ea typeface="+mn-ea"/>
                <a:cs typeface="+mn-cs"/>
              </a:rPr>
              <a:t>7.0%</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54151A1B-F33C-D4EC-84FB-F8AB38CE7D00}"/>
              </a:ext>
            </a:extLst>
          </p:cNvPr>
          <p:cNvSpPr/>
          <p:nvPr>
            <p:custDataLst>
              <p:tags r:id="rId20"/>
            </p:custDataLst>
          </p:nvPr>
        </p:nvSpPr>
        <p:spPr bwMode="gray">
          <a:xfrm>
            <a:off x="4284663" y="4116388"/>
            <a:ext cx="554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FFFFFF"/>
                </a:solidFill>
                <a:effectLst/>
                <a:uLnTx/>
                <a:uFillTx/>
                <a:latin typeface="Arial" panose="020B0604020202020204"/>
                <a:ea typeface="+mn-ea"/>
                <a:cs typeface="+mn-cs"/>
              </a:rPr>
              <a:t>93.0%</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0EA6E448-D8FA-BEB3-6241-E5A5B31FA851}"/>
              </a:ext>
            </a:extLst>
          </p:cNvPr>
          <p:cNvSpPr/>
          <p:nvPr>
            <p:custDataLst>
              <p:tags r:id="rId21"/>
            </p:custDataLst>
          </p:nvPr>
        </p:nvSpPr>
        <p:spPr bwMode="auto">
          <a:xfrm>
            <a:off x="4357688" y="5656263"/>
            <a:ext cx="406400"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2B3A42"/>
                </a:solidFill>
                <a:effectLst/>
                <a:uLnTx/>
                <a:uFillTx/>
                <a:latin typeface="Arial" panose="020B0604020202020204"/>
                <a:ea typeface="+mn-ea"/>
                <a:cs typeface="+mn-cs"/>
              </a:rPr>
              <a:t>MAT Feb 26</a:t>
            </a:r>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B08380E8-047D-1681-637B-64B9F6B9A05D}"/>
              </a:ext>
            </a:extLst>
          </p:cNvPr>
          <p:cNvSpPr/>
          <p:nvPr>
            <p:custDataLst>
              <p:tags r:id="rId22"/>
            </p:custDataLst>
          </p:nvPr>
        </p:nvSpPr>
        <p:spPr bwMode="auto">
          <a:xfrm>
            <a:off x="5046662" y="3004356"/>
            <a:ext cx="552450"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1C6F3B2C-C13C-4DAF-B985-5FA4FB619A88}" type="datetime'''''P''''''''''r''iv''''''a''''t''''e'''''''''''''''">
              <a:rPr kumimoji="0" lang="en-GB" altLang="en-US" sz="14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vate</a:t>
            </a:fld>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795259B9-391A-58C7-1108-853C27699CB5}"/>
              </a:ext>
            </a:extLst>
          </p:cNvPr>
          <p:cNvSpPr/>
          <p:nvPr>
            <p:custDataLst>
              <p:tags r:id="rId23"/>
            </p:custDataLst>
          </p:nvPr>
        </p:nvSpPr>
        <p:spPr bwMode="auto">
          <a:xfrm>
            <a:off x="5048250" y="3998912"/>
            <a:ext cx="885825" cy="4254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F2E1933B-0F7A-47F7-ABA5-DF230978AB68}" type="datetime'''''P''u''''''''''''''b''''li''c''ly''''&#10;rei''m''burse''d'">
              <a:rPr kumimoji="0" lang="en-GB" altLang="en-US" sz="14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ublicly
reimbursed</a:t>
            </a:fld>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6894FCDE-0C5C-BFC8-C9EA-4726B3D4F391}"/>
              </a:ext>
            </a:extLst>
          </p:cNvPr>
          <p:cNvSpPr/>
          <p:nvPr>
            <p:custDataLst>
              <p:tags r:id="rId24"/>
            </p:custDataLst>
          </p:nvPr>
        </p:nvSpPr>
        <p:spPr bwMode="gray">
          <a:xfrm>
            <a:off x="1887537" y="3213456"/>
            <a:ext cx="395288"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2B3A42"/>
                </a:solidFill>
                <a:effectLst/>
                <a:uLnTx/>
                <a:uFillTx/>
                <a:latin typeface="Arial" panose="020B0604020202020204"/>
                <a:ea typeface="+mn-ea"/>
                <a:cs typeface="+mn-cs"/>
              </a:rPr>
              <a:t>35.4</a:t>
            </a:r>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CEFAC60C-9533-71EC-F076-121F761EFC8F}"/>
              </a:ext>
            </a:extLst>
          </p:cNvPr>
          <p:cNvSpPr/>
          <p:nvPr>
            <p:custDataLst>
              <p:tags r:id="rId25"/>
            </p:custDataLst>
          </p:nvPr>
        </p:nvSpPr>
        <p:spPr bwMode="gray">
          <a:xfrm>
            <a:off x="3121025" y="3004356"/>
            <a:ext cx="395288"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2B3A42"/>
                </a:solidFill>
                <a:effectLst/>
                <a:uLnTx/>
                <a:uFillTx/>
                <a:latin typeface="Arial" panose="020B0604020202020204"/>
                <a:ea typeface="+mn-ea"/>
                <a:cs typeface="+mn-cs"/>
              </a:rPr>
              <a:t>38.6</a:t>
            </a:r>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36EFCFBE-7119-7EC1-FB5A-CDF35D5BFFDF}"/>
              </a:ext>
            </a:extLst>
          </p:cNvPr>
          <p:cNvSpPr/>
          <p:nvPr>
            <p:custDataLst>
              <p:tags r:id="rId26"/>
            </p:custDataLst>
          </p:nvPr>
        </p:nvSpPr>
        <p:spPr bwMode="gray">
          <a:xfrm>
            <a:off x="4368800" y="2771377"/>
            <a:ext cx="395288"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nchorCtr="0"/>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2B3A42"/>
                </a:solidFill>
                <a:effectLst/>
                <a:uLnTx/>
                <a:uFillTx/>
                <a:latin typeface="Arial" panose="020B0604020202020204"/>
                <a:ea typeface="+mn-ea"/>
                <a:cs typeface="+mn-cs"/>
              </a:rPr>
              <a:t>43.1</a:t>
            </a:r>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030F0047-AA4C-38A5-2F11-33AEF5554AC5}"/>
              </a:ext>
            </a:extLst>
          </p:cNvPr>
          <p:cNvSpPr/>
          <p:nvPr>
            <p:custDataLst>
              <p:tags r:id="rId27"/>
            </p:custDataLst>
          </p:nvPr>
        </p:nvSpPr>
        <p:spPr bwMode="auto">
          <a:xfrm>
            <a:off x="2995613" y="2271713"/>
            <a:ext cx="649288" cy="301625"/>
          </a:xfrm>
          <a:prstGeom prst="ellipse">
            <a:avLst/>
          </a:prstGeom>
          <a:solidFill>
            <a:schemeClr val="bg1"/>
          </a:solidFill>
          <a:ln w="9525"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400" b="1" i="0" u="none" strike="noStrike" kern="1200" cap="none" spc="0" normalizeH="0" baseline="0" noProof="0">
                <a:ln>
                  <a:noFill/>
                </a:ln>
                <a:solidFill>
                  <a:srgbClr val="2B3A42"/>
                </a:solidFill>
                <a:effectLst/>
                <a:uLnTx/>
                <a:uFillTx/>
                <a:latin typeface="Arial" panose="020B0604020202020204"/>
                <a:ea typeface="+mn-ea"/>
                <a:cs typeface="+mn-cs"/>
              </a:rPr>
              <a:t>+21.5%</a:t>
            </a:r>
            <a:endParaRPr kumimoji="0" lang="en-GB" sz="1400" b="1"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D2B41524-1A4B-D024-16C6-5B25584663C2}"/>
              </a:ext>
            </a:extLst>
          </p:cNvPr>
          <p:cNvSpPr txBox="1"/>
          <p:nvPr/>
        </p:nvSpPr>
        <p:spPr>
          <a:xfrm>
            <a:off x="792956" y="1391354"/>
            <a:ext cx="4928915"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B3A42"/>
                </a:solidFill>
                <a:effectLst/>
                <a:uLnTx/>
                <a:uFillTx/>
                <a:latin typeface="Arial" panose="020B0604020202020204"/>
                <a:ea typeface="+mn-ea"/>
                <a:cs typeface="+mn-cs"/>
              </a:rPr>
              <a:t>UK retail and hospital R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publicly reimbursed vs. private; MAT Feb 26)</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 </a:t>
            </a:r>
          </a:p>
        </p:txBody>
      </p:sp>
      <p:sp>
        <p:nvSpPr>
          <p:cNvPr id="49" name="TextBox 48">
            <a:extLst>
              <a:ext uri="{FF2B5EF4-FFF2-40B4-BE49-F238E27FC236}">
                <a16:creationId xmlns:a16="http://schemas.microsoft.com/office/drawing/2014/main" id="{AD714E3A-FBEE-D83A-C915-548BCFD36CBB}"/>
              </a:ext>
            </a:extLst>
          </p:cNvPr>
          <p:cNvSpPr txBox="1"/>
          <p:nvPr/>
        </p:nvSpPr>
        <p:spPr>
          <a:xfrm>
            <a:off x="838200" y="6092379"/>
            <a:ext cx="10937508"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606B71"/>
                </a:solidFill>
                <a:effectLst/>
                <a:uLnTx/>
                <a:uFillTx/>
                <a:latin typeface="Arial" panose="020B0604020202020204"/>
                <a:ea typeface="+mn-ea"/>
                <a:cs typeface="+mn-cs"/>
              </a:rPr>
              <a:t>Caveat</a:t>
            </a:r>
            <a:r>
              <a:rPr kumimoji="0" lang="en-GB" sz="1200" b="0" i="1" u="none" strike="noStrike" kern="1200" cap="none" spc="0" normalizeH="0" baseline="0" noProof="0">
                <a:ln>
                  <a:noFill/>
                </a:ln>
                <a:solidFill>
                  <a:srgbClr val="606B71"/>
                </a:solidFill>
                <a:effectLst/>
                <a:uLnTx/>
                <a:uFillTx/>
                <a:latin typeface="Arial" panose="020B0604020202020204"/>
                <a:ea typeface="+mn-ea"/>
                <a:cs typeface="+mn-cs"/>
              </a:rPr>
              <a:t>: Private Rx is not fully captured: products supplied by manufacturers directly or distributed via Third Party Logistics (TPL) companies are excluded.</a:t>
            </a:r>
            <a:endParaRPr kumimoji="0" lang="en-GB" sz="1100" b="0" i="1" u="none" strike="noStrike" kern="1200" cap="none" spc="0" normalizeH="0" baseline="0" noProof="0">
              <a:ln>
                <a:noFill/>
              </a:ln>
              <a:solidFill>
                <a:srgbClr val="606B71"/>
              </a:solidFill>
              <a:effectLst/>
              <a:uLnTx/>
              <a:uFillTx/>
              <a:latin typeface="Arial" panose="020B0604020202020204"/>
              <a:ea typeface="+mn-ea"/>
              <a:cs typeface="+mn-cs"/>
            </a:endParaRPr>
          </a:p>
        </p:txBody>
      </p:sp>
      <p:pic>
        <p:nvPicPr>
          <p:cNvPr id="53" name="Graphic 52">
            <a:extLst>
              <a:ext uri="{FF2B5EF4-FFF2-40B4-BE49-F238E27FC236}">
                <a16:creationId xmlns:a16="http://schemas.microsoft.com/office/drawing/2014/main" id="{1EA87F01-6244-B1DD-DE65-75492FFEFBF5}"/>
              </a:ext>
            </a:extLst>
          </p:cNvPr>
          <p:cNvPicPr>
            <a:picLocks noChangeAspect="1"/>
          </p:cNvPicPr>
          <p:nvPr/>
        </p:nvPicPr>
        <p:blipFill>
          <a:blip>
            <a:extLst>
              <a:ext uri="{96DAC541-7B7A-43D3-8B79-37D633B846F1}">
                <asvg:svgBlip xmlns:asvg="http://schemas.microsoft.com/office/drawing/2016/SVG/main" r:embed="rId35"/>
              </a:ext>
            </a:extLst>
          </a:blip>
          <a:stretch>
            <a:fillRect/>
          </a:stretch>
        </p:blipFill>
        <p:spPr>
          <a:xfrm>
            <a:off x="520922" y="5969041"/>
            <a:ext cx="421832" cy="421832"/>
          </a:xfrm>
          <a:prstGeom prst="rect">
            <a:avLst/>
          </a:prstGeom>
        </p:spPr>
      </p:pic>
      <p:sp>
        <p:nvSpPr>
          <p:cNvPr id="8" name="Rectangle 7">
            <a:extLst>
              <a:ext uri="{FF2B5EF4-FFF2-40B4-BE49-F238E27FC236}">
                <a16:creationId xmlns:a16="http://schemas.microsoft.com/office/drawing/2014/main" id="{BDAA8B90-F9BA-0195-1564-F231C681CEDD}"/>
              </a:ext>
            </a:extLst>
          </p:cNvPr>
          <p:cNvSpPr/>
          <p:nvPr/>
        </p:nvSpPr>
        <p:spPr bwMode="gray">
          <a:xfrm>
            <a:off x="1081088" y="2824256"/>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2B3A42"/>
                </a:solidFill>
                <a:effectLst/>
                <a:uLnTx/>
                <a:uFillTx/>
                <a:latin typeface="Noto Sans"/>
                <a:ea typeface="+mn-ea"/>
                <a:cs typeface="+mn-cs"/>
              </a:rPr>
              <a:t>45</a:t>
            </a:r>
            <a:endParaRPr kumimoji="0" lang="en-GB" sz="1400" b="0" i="0" u="none" strike="noStrike" kern="1200" cap="none" spc="0" normalizeH="0" baseline="0" noProof="0">
              <a:ln>
                <a:noFill/>
              </a:ln>
              <a:solidFill>
                <a:srgbClr val="2B3A42"/>
              </a:solidFill>
              <a:effectLst/>
              <a:uLnTx/>
              <a:uFillTx/>
              <a:latin typeface="Noto Sans"/>
              <a:ea typeface="+mn-ea"/>
              <a:cs typeface="+mn-cs"/>
            </a:endParaRPr>
          </a:p>
        </p:txBody>
      </p:sp>
      <p:sp>
        <p:nvSpPr>
          <p:cNvPr id="9" name="Rectangle 8">
            <a:extLst>
              <a:ext uri="{FF2B5EF4-FFF2-40B4-BE49-F238E27FC236}">
                <a16:creationId xmlns:a16="http://schemas.microsoft.com/office/drawing/2014/main" id="{A1E5E9DF-2AD3-8F79-DA5F-DFD4F3E42E72}"/>
              </a:ext>
            </a:extLst>
          </p:cNvPr>
          <p:cNvSpPr/>
          <p:nvPr>
            <p:custDataLst>
              <p:tags r:id="rId28"/>
            </p:custDataLst>
          </p:nvPr>
        </p:nvSpPr>
        <p:spPr bwMode="gray">
          <a:xfrm>
            <a:off x="1081088" y="2528888"/>
            <a:ext cx="2032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r>
              <a:rPr kumimoji="0" lang="en-GB" altLang="en-US" sz="1400" b="0" i="0" u="none" strike="noStrike" kern="1200" cap="none" spc="0" normalizeH="0" baseline="0" noProof="0">
                <a:ln>
                  <a:noFill/>
                </a:ln>
                <a:solidFill>
                  <a:srgbClr val="2B3A42"/>
                </a:solidFill>
                <a:effectLst/>
                <a:uLnTx/>
                <a:uFillTx/>
                <a:latin typeface="Noto Sans"/>
                <a:ea typeface="+mn-ea"/>
                <a:cs typeface="+mn-cs"/>
              </a:rPr>
              <a:t>50</a:t>
            </a:r>
            <a:endParaRPr kumimoji="0" lang="en-GB" sz="1400" b="0" i="0" u="none" strike="noStrike" kern="1200" cap="none" spc="0" normalizeH="0" baseline="0" noProof="0">
              <a:ln>
                <a:noFill/>
              </a:ln>
              <a:solidFill>
                <a:srgbClr val="2B3A42"/>
              </a:solidFill>
              <a:effectLst/>
              <a:uLnTx/>
              <a:uFillTx/>
              <a:latin typeface="Noto Sans"/>
              <a:ea typeface="+mn-ea"/>
              <a:cs typeface="+mn-cs"/>
            </a:endParaRPr>
          </a:p>
        </p:txBody>
      </p:sp>
      <p:sp>
        <p:nvSpPr>
          <p:cNvPr id="6" name="Rectangle: Rounded Corners 5">
            <a:extLst>
              <a:ext uri="{FF2B5EF4-FFF2-40B4-BE49-F238E27FC236}">
                <a16:creationId xmlns:a16="http://schemas.microsoft.com/office/drawing/2014/main" id="{6F98070E-21B4-A8BD-DE4F-67157A007C3A}"/>
              </a:ext>
            </a:extLst>
          </p:cNvPr>
          <p:cNvSpPr/>
          <p:nvPr/>
        </p:nvSpPr>
        <p:spPr>
          <a:xfrm>
            <a:off x="6563065" y="2044259"/>
            <a:ext cx="5080000" cy="3851494"/>
          </a:xfrm>
          <a:prstGeom prst="roundRect">
            <a:avLst>
              <a:gd name="adj" fmla="val 735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CF1A35E-066F-13EE-BB48-EDA27110FF77}"/>
              </a:ext>
            </a:extLst>
          </p:cNvPr>
          <p:cNvSpPr txBox="1"/>
          <p:nvPr/>
        </p:nvSpPr>
        <p:spPr>
          <a:xfrm>
            <a:off x="6604930" y="1391354"/>
            <a:ext cx="492891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B3A42"/>
                </a:solidFill>
                <a:effectLst/>
                <a:uLnTx/>
                <a:uFillTx/>
                <a:latin typeface="Arial" panose="020B0604020202020204"/>
                <a:ea typeface="+mn-ea"/>
                <a:cs typeface="+mn-cs"/>
              </a:rPr>
              <a:t>Persistent NHS crisis creates a gap in meeting patients’ needs</a:t>
            </a:r>
          </a:p>
        </p:txBody>
      </p:sp>
      <p:sp>
        <p:nvSpPr>
          <p:cNvPr id="19" name="TextBox 18">
            <a:extLst>
              <a:ext uri="{FF2B5EF4-FFF2-40B4-BE49-F238E27FC236}">
                <a16:creationId xmlns:a16="http://schemas.microsoft.com/office/drawing/2014/main" id="{6E910307-80AA-F520-0DF3-FE96EB372250}"/>
              </a:ext>
            </a:extLst>
          </p:cNvPr>
          <p:cNvSpPr txBox="1"/>
          <p:nvPr/>
        </p:nvSpPr>
        <p:spPr>
          <a:xfrm>
            <a:off x="6675437" y="4060336"/>
            <a:ext cx="1514475" cy="161973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BFB3"/>
                </a:solidFill>
                <a:effectLst/>
                <a:uLnTx/>
                <a:uFillTx/>
                <a:latin typeface="Arial" panose="020B0604020202020204"/>
                <a:ea typeface="+mn-ea"/>
                <a:cs typeface="+mn-cs"/>
              </a:rPr>
              <a:t>Average A&amp;E attendance has increased by 22% over the last decade to 74.8k</a:t>
            </a:r>
          </a:p>
        </p:txBody>
      </p:sp>
      <p:cxnSp>
        <p:nvCxnSpPr>
          <p:cNvPr id="20" name="Straight Connector 19">
            <a:extLst>
              <a:ext uri="{FF2B5EF4-FFF2-40B4-BE49-F238E27FC236}">
                <a16:creationId xmlns:a16="http://schemas.microsoft.com/office/drawing/2014/main" id="{CFFAFE60-B3E4-4CF4-F40D-164C58B50242}"/>
              </a:ext>
            </a:extLst>
          </p:cNvPr>
          <p:cNvCxnSpPr>
            <a:cxnSpLocks/>
          </p:cNvCxnSpPr>
          <p:nvPr/>
        </p:nvCxnSpPr>
        <p:spPr>
          <a:xfrm>
            <a:off x="6736556" y="3869761"/>
            <a:ext cx="4665663"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DEC3598A-BB99-35C1-3AD9-3358FDBBC6EE}"/>
              </a:ext>
            </a:extLst>
          </p:cNvPr>
          <p:cNvSpPr txBox="1"/>
          <p:nvPr/>
        </p:nvSpPr>
        <p:spPr>
          <a:xfrm>
            <a:off x="6580186" y="2137007"/>
            <a:ext cx="1609726" cy="161973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5587"/>
                </a:solidFill>
                <a:effectLst/>
                <a:uLnTx/>
                <a:uFillTx/>
                <a:latin typeface="Arial" panose="020B0604020202020204"/>
                <a:ea typeface="+mn-ea"/>
                <a:cs typeface="+mn-cs"/>
              </a:rPr>
              <a:t>7.2m patients waiting for hospital treatment with 38.5% waiting for over 18 w</a:t>
            </a:r>
            <a:r>
              <a:rPr kumimoji="0" lang="en-GB" sz="1400" b="1" i="0" u="none" strike="noStrike" kern="1200" cap="none" spc="0" normalizeH="0" baseline="0" noProof="0" err="1">
                <a:ln>
                  <a:noFill/>
                </a:ln>
                <a:solidFill>
                  <a:srgbClr val="005587"/>
                </a:solidFill>
                <a:effectLst/>
                <a:uLnTx/>
                <a:uFillTx/>
                <a:latin typeface="Arial" panose="020B0604020202020204"/>
                <a:ea typeface="+mn-ea"/>
                <a:cs typeface="+mn-cs"/>
              </a:rPr>
              <a:t>ks</a:t>
            </a:r>
            <a:endParaRPr kumimoji="0" lang="en-GB" sz="1400" b="1" i="0" u="none" strike="noStrike" kern="1200" cap="none" spc="0" normalizeH="0" baseline="0" noProof="0">
              <a:ln>
                <a:noFill/>
              </a:ln>
              <a:solidFill>
                <a:srgbClr val="005587"/>
              </a:solidFill>
              <a:effectLst/>
              <a:uLnTx/>
              <a:uFillTx/>
              <a:latin typeface="Arial" panose="020B0604020202020204"/>
              <a:ea typeface="+mn-ea"/>
              <a:cs typeface="+mn-cs"/>
            </a:endParaRPr>
          </a:p>
        </p:txBody>
      </p:sp>
      <p:graphicFrame>
        <p:nvGraphicFramePr>
          <p:cNvPr id="27" name="Chart 26">
            <a:extLst>
              <a:ext uri="{FF2B5EF4-FFF2-40B4-BE49-F238E27FC236}">
                <a16:creationId xmlns:a16="http://schemas.microsoft.com/office/drawing/2014/main" id="{3B7223A7-C3F4-2F69-855B-538AB78D4EC4}"/>
              </a:ext>
            </a:extLst>
          </p:cNvPr>
          <p:cNvGraphicFramePr/>
          <p:nvPr/>
        </p:nvGraphicFramePr>
        <p:xfrm>
          <a:off x="8178694" y="2005234"/>
          <a:ext cx="3431819" cy="1826992"/>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31" name="Chart 30">
            <a:extLst>
              <a:ext uri="{FF2B5EF4-FFF2-40B4-BE49-F238E27FC236}">
                <a16:creationId xmlns:a16="http://schemas.microsoft.com/office/drawing/2014/main" id="{A87152DA-8732-11C9-8E79-46E0C40282E8}"/>
              </a:ext>
            </a:extLst>
          </p:cNvPr>
          <p:cNvGraphicFramePr/>
          <p:nvPr/>
        </p:nvGraphicFramePr>
        <p:xfrm>
          <a:off x="8189912" y="3970006"/>
          <a:ext cx="3319448" cy="1857375"/>
        </p:xfrm>
        <a:graphic>
          <a:graphicData uri="http://schemas.openxmlformats.org/drawingml/2006/chart">
            <c:chart xmlns:c="http://schemas.openxmlformats.org/drawingml/2006/chart" xmlns:r="http://schemas.openxmlformats.org/officeDocument/2006/relationships" r:id="rId37"/>
          </a:graphicData>
        </a:graphic>
      </p:graphicFrame>
    </p:spTree>
    <p:extLst>
      <p:ext uri="{BB962C8B-B14F-4D97-AF65-F5344CB8AC3E}">
        <p14:creationId xmlns:p14="http://schemas.microsoft.com/office/powerpoint/2010/main" val="263081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B444C6-1395-B49F-BC9E-A940369FDC55}"/>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BBF4EF1B-8F9B-1852-33EC-1D259097054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1" name="think-cell data - do not delete" hidden="1">
                        <a:extLst>
                          <a:ext uri="{FF2B5EF4-FFF2-40B4-BE49-F238E27FC236}">
                            <a16:creationId xmlns:a16="http://schemas.microsoft.com/office/drawing/2014/main" id="{BBF4EF1B-8F9B-1852-33EC-1D25909705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Chart 7">
            <a:extLst>
              <a:ext uri="{FF2B5EF4-FFF2-40B4-BE49-F238E27FC236}">
                <a16:creationId xmlns:a16="http://schemas.microsoft.com/office/drawing/2014/main" id="{37A7A638-1420-4578-8502-C5592561B003}"/>
              </a:ext>
            </a:extLst>
          </p:cNvPr>
          <p:cNvGraphicFramePr>
            <a:graphicFrameLocks/>
          </p:cNvGraphicFramePr>
          <p:nvPr/>
        </p:nvGraphicFramePr>
        <p:xfrm>
          <a:off x="87024" y="1060703"/>
          <a:ext cx="12104976" cy="5001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 Placeholder 6">
            <a:extLst>
              <a:ext uri="{FF2B5EF4-FFF2-40B4-BE49-F238E27FC236}">
                <a16:creationId xmlns:a16="http://schemas.microsoft.com/office/drawing/2014/main" id="{F4D2C9E9-C900-7FDB-8625-AE574BCBF58C}"/>
              </a:ext>
            </a:extLst>
          </p:cNvPr>
          <p:cNvSpPr>
            <a:spLocks noGrp="1"/>
          </p:cNvSpPr>
          <p:nvPr>
            <p:ph type="body" sz="quarter" idx="16"/>
          </p:nvPr>
        </p:nvSpPr>
        <p:spPr>
          <a:xfrm>
            <a:off x="395059" y="947470"/>
            <a:ext cx="11338560" cy="402336"/>
          </a:xfrm>
        </p:spPr>
        <p:txBody>
          <a:bodyPr/>
          <a:lstStyle/>
          <a:p>
            <a:r>
              <a:rPr lang="en-GB"/>
              <a:t>c.60% dispensed through online-only pharmacies</a:t>
            </a:r>
          </a:p>
        </p:txBody>
      </p:sp>
      <p:sp>
        <p:nvSpPr>
          <p:cNvPr id="6" name="Title 5">
            <a:extLst>
              <a:ext uri="{FF2B5EF4-FFF2-40B4-BE49-F238E27FC236}">
                <a16:creationId xmlns:a16="http://schemas.microsoft.com/office/drawing/2014/main" id="{8B2F5E4D-D741-D5DB-F466-E44762173E0D}"/>
              </a:ext>
            </a:extLst>
          </p:cNvPr>
          <p:cNvSpPr>
            <a:spLocks noGrp="1"/>
          </p:cNvSpPr>
          <p:nvPr>
            <p:ph type="title"/>
          </p:nvPr>
        </p:nvSpPr>
        <p:spPr>
          <a:xfrm>
            <a:off x="384694" y="187674"/>
            <a:ext cx="11338560" cy="768263"/>
          </a:xfrm>
        </p:spPr>
        <p:txBody>
          <a:bodyPr vert="horz" rIns="91440"/>
          <a:lstStyle/>
          <a:p>
            <a:r>
              <a:rPr lang="en-GB"/>
              <a:t>Limited re-imbursement of GLP1s drives private purchasing</a:t>
            </a:r>
          </a:p>
        </p:txBody>
      </p:sp>
      <p:sp>
        <p:nvSpPr>
          <p:cNvPr id="4" name="Footer Placeholder 3">
            <a:extLst>
              <a:ext uri="{FF2B5EF4-FFF2-40B4-BE49-F238E27FC236}">
                <a16:creationId xmlns:a16="http://schemas.microsoft.com/office/drawing/2014/main" id="{ABAF2365-C918-CCBD-D647-CCC9E6F0D9C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 Weight Management defined as combined dispensing/purchasing of </a:t>
            </a:r>
            <a:r>
              <a:rPr kumimoji="0" lang="en-US" sz="800" b="0" i="0" u="none" strike="noStrike" kern="1200" cap="none" spc="0" normalizeH="0" baseline="0" noProof="0" dirty="0" err="1">
                <a:ln>
                  <a:noFill/>
                </a:ln>
                <a:solidFill>
                  <a:srgbClr val="2B3A42"/>
                </a:solidFill>
                <a:effectLst/>
                <a:uLnTx/>
                <a:uFillTx/>
                <a:latin typeface="Arial Narrow" panose="020B0606020202030204" pitchFamily="34" charset="0"/>
                <a:ea typeface="+mn-ea"/>
                <a:cs typeface="+mn-cs"/>
              </a:rPr>
              <a:t>Mounjaro</a:t>
            </a:r>
            <a:r>
              <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 and </a:t>
            </a:r>
            <a:r>
              <a:rPr kumimoji="0" lang="en-US" sz="800" b="0" i="0" u="none" strike="noStrike" kern="1200" cap="none" spc="0" normalizeH="0" baseline="0" noProof="0" dirty="0" err="1">
                <a:ln>
                  <a:noFill/>
                </a:ln>
                <a:solidFill>
                  <a:srgbClr val="2B3A42"/>
                </a:solidFill>
                <a:effectLst/>
                <a:uLnTx/>
                <a:uFillTx/>
                <a:latin typeface="Arial Narrow" panose="020B0606020202030204" pitchFamily="34" charset="0"/>
                <a:ea typeface="+mn-ea"/>
                <a:cs typeface="+mn-cs"/>
              </a:rPr>
              <a:t>Wegovy</a:t>
            </a:r>
            <a:r>
              <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 does not include off-label use of Ozempic (licensed for diabetes) in the private market which may be for weight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Source: NHS reimbursed (primary care): NHSBSA data, Items dispensed, Feb 2026, NHS reimbursed (secondary care): IQVIA Hospital Pharmacy Audit (HPA), units, Mar 2026, Private market: IQVIA Supply Chain Manager (SCM), units, Apr 2026</a:t>
            </a:r>
          </a:p>
        </p:txBody>
      </p:sp>
      <p:sp>
        <p:nvSpPr>
          <p:cNvPr id="2" name="TextBox 1">
            <a:extLst>
              <a:ext uri="{FF2B5EF4-FFF2-40B4-BE49-F238E27FC236}">
                <a16:creationId xmlns:a16="http://schemas.microsoft.com/office/drawing/2014/main" id="{93AA4857-E199-3AA5-D42B-8C9E8BBF1085}"/>
              </a:ext>
            </a:extLst>
          </p:cNvPr>
          <p:cNvSpPr txBox="1"/>
          <p:nvPr/>
        </p:nvSpPr>
        <p:spPr>
          <a:xfrm>
            <a:off x="7922056" y="1045188"/>
            <a:ext cx="4182920" cy="861774"/>
          </a:xfrm>
          <a:prstGeom prst="rect">
            <a:avLst/>
          </a:prstGeom>
          <a:noFill/>
          <a:ln>
            <a:solidFill>
              <a:schemeClr val="bg1">
                <a:lumMod val="6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606B71"/>
                </a:solidFill>
                <a:effectLst/>
                <a:uLnTx/>
                <a:uFillTx/>
                <a:latin typeface="Arial" panose="020B0604020202020204"/>
                <a:ea typeface="+mn-ea"/>
                <a:cs typeface="+mn-cs"/>
              </a:rPr>
              <a:t>2116k packs in Apr 2026</a:t>
            </a: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 </a:t>
            </a:r>
            <a:r>
              <a:rPr kumimoji="0" lang="en-US" sz="1000" b="0" i="0" u="none" strike="noStrike" kern="1200" cap="none" spc="0" normalizeH="0" baseline="0" noProof="0">
                <a:ln>
                  <a:noFill/>
                </a:ln>
                <a:solidFill>
                  <a:srgbClr val="606B71"/>
                </a:solidFill>
                <a:effectLst/>
                <a:uLnTx/>
                <a:uFillTx/>
                <a:latin typeface="Arial" panose="020B0604020202020204"/>
                <a:ea typeface="+mn-ea"/>
                <a:cs typeface="+mn-cs"/>
              </a:rPr>
              <a:t>Mounjaro and Wegovy packs contain 1x Pre-filled syringe with 4 doses for once weekly administration (i.e. 1 pack per patient). </a:t>
            </a:r>
            <a:r>
              <a:rPr kumimoji="0" lang="en-US" sz="1000" b="1" i="0" u="none" strike="noStrike" kern="1200" cap="none" spc="0" normalizeH="0" baseline="0" noProof="0">
                <a:ln>
                  <a:noFill/>
                </a:ln>
                <a:solidFill>
                  <a:srgbClr val="606B71"/>
                </a:solidFill>
                <a:effectLst/>
                <a:uLnTx/>
                <a:uFillTx/>
                <a:latin typeface="Arial" panose="020B0604020202020204"/>
                <a:ea typeface="+mn-ea"/>
                <a:cs typeface="+mn-cs"/>
              </a:rPr>
              <a:t>N.B.</a:t>
            </a:r>
            <a:r>
              <a:rPr kumimoji="0" lang="en-US" sz="1000" b="0" i="0" u="none" strike="noStrike" kern="1200" cap="none" spc="0" normalizeH="0" baseline="0" noProof="0">
                <a:ln>
                  <a:noFill/>
                </a:ln>
                <a:solidFill>
                  <a:srgbClr val="606B71"/>
                </a:solidFill>
                <a:effectLst/>
                <a:uLnTx/>
                <a:uFillTx/>
                <a:latin typeface="Arial" panose="020B0604020202020204"/>
                <a:ea typeface="+mn-ea"/>
                <a:cs typeface="+mn-cs"/>
              </a:rPr>
              <a:t> Lilly announced a price rise to </a:t>
            </a:r>
            <a:r>
              <a:rPr kumimoji="0" lang="en-US" sz="1000" b="0" i="0" u="none" strike="noStrike" kern="1200" cap="none" spc="0" normalizeH="0" baseline="0" noProof="0" err="1">
                <a:ln>
                  <a:noFill/>
                </a:ln>
                <a:solidFill>
                  <a:srgbClr val="606B71"/>
                </a:solidFill>
                <a:effectLst/>
                <a:uLnTx/>
                <a:uFillTx/>
                <a:latin typeface="Arial" panose="020B0604020202020204"/>
                <a:ea typeface="+mn-ea"/>
                <a:cs typeface="+mn-cs"/>
              </a:rPr>
              <a:t>Mounjaro</a:t>
            </a:r>
            <a:r>
              <a:rPr kumimoji="0" lang="en-US" sz="1000" b="0" i="0" u="none" strike="noStrike" kern="1200" cap="none" spc="0" normalizeH="0" baseline="0" noProof="0">
                <a:ln>
                  <a:noFill/>
                </a:ln>
                <a:solidFill>
                  <a:srgbClr val="606B71"/>
                </a:solidFill>
                <a:effectLst/>
                <a:uLnTx/>
                <a:uFillTx/>
                <a:latin typeface="Arial" panose="020B0604020202020204"/>
                <a:ea typeface="+mn-ea"/>
                <a:cs typeface="+mn-cs"/>
              </a:rPr>
              <a:t> on 14</a:t>
            </a:r>
            <a:r>
              <a:rPr kumimoji="0" lang="en-US" sz="1000" b="0" i="0" u="none" strike="noStrike" kern="1200" cap="none" spc="0" normalizeH="0" baseline="30000" noProof="0">
                <a:ln>
                  <a:noFill/>
                </a:ln>
                <a:solidFill>
                  <a:srgbClr val="606B71"/>
                </a:solidFill>
                <a:effectLst/>
                <a:uLnTx/>
                <a:uFillTx/>
                <a:latin typeface="Arial" panose="020B0604020202020204"/>
                <a:ea typeface="+mn-ea"/>
                <a:cs typeface="+mn-cs"/>
              </a:rPr>
              <a:t>th</a:t>
            </a:r>
            <a:r>
              <a:rPr kumimoji="0" lang="en-US" sz="1000" b="0" i="0" u="none" strike="noStrike" kern="1200" cap="none" spc="0" normalizeH="0" baseline="0" noProof="0">
                <a:ln>
                  <a:noFill/>
                </a:ln>
                <a:solidFill>
                  <a:srgbClr val="606B71"/>
                </a:solidFill>
                <a:effectLst/>
                <a:uLnTx/>
                <a:uFillTx/>
                <a:latin typeface="Arial" panose="020B0604020202020204"/>
                <a:ea typeface="+mn-ea"/>
                <a:cs typeface="+mn-cs"/>
              </a:rPr>
              <a:t> August (effective 1</a:t>
            </a:r>
            <a:r>
              <a:rPr kumimoji="0" lang="en-US" sz="1000" b="0" i="0" u="none" strike="noStrike" kern="1200" cap="none" spc="0" normalizeH="0" baseline="30000" noProof="0">
                <a:ln>
                  <a:noFill/>
                </a:ln>
                <a:solidFill>
                  <a:srgbClr val="606B71"/>
                </a:solidFill>
                <a:effectLst/>
                <a:uLnTx/>
                <a:uFillTx/>
                <a:latin typeface="Arial" panose="020B0604020202020204"/>
                <a:ea typeface="+mn-ea"/>
                <a:cs typeface="+mn-cs"/>
              </a:rPr>
              <a:t>st</a:t>
            </a:r>
            <a:r>
              <a:rPr kumimoji="0" lang="en-US" sz="1000" b="0" i="0" u="none" strike="noStrike" kern="1200" cap="none" spc="0" normalizeH="0" baseline="0" noProof="0">
                <a:ln>
                  <a:noFill/>
                </a:ln>
                <a:solidFill>
                  <a:srgbClr val="606B71"/>
                </a:solidFill>
                <a:effectLst/>
                <a:uLnTx/>
                <a:uFillTx/>
                <a:latin typeface="Arial" panose="020B0604020202020204"/>
                <a:ea typeface="+mn-ea"/>
                <a:cs typeface="+mn-cs"/>
              </a:rPr>
              <a:t> September) resulting in increased purchasing as a result of patients receiving more than one month’s supply of medication</a:t>
            </a:r>
            <a:endParaRPr kumimoji="0" lang="en-GB" sz="1000" b="0" i="0" u="none" strike="noStrike" kern="1200" cap="none" spc="0" normalizeH="0" baseline="0" noProof="0">
              <a:ln>
                <a:noFill/>
              </a:ln>
              <a:solidFill>
                <a:srgbClr val="606B71"/>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BC81F2F8-AE2E-C0A5-BF7F-AA56A3E090BB}"/>
              </a:ext>
            </a:extLst>
          </p:cNvPr>
          <p:cNvSpPr txBox="1"/>
          <p:nvPr/>
        </p:nvSpPr>
        <p:spPr>
          <a:xfrm>
            <a:off x="1658253" y="2103153"/>
            <a:ext cx="3442460" cy="707886"/>
          </a:xfrm>
          <a:prstGeom prst="rect">
            <a:avLst/>
          </a:prstGeom>
          <a:noFill/>
          <a:ln>
            <a:solidFill>
              <a:schemeClr val="bg1">
                <a:lumMod val="65000"/>
              </a:schemeClr>
            </a:solid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606B71"/>
                </a:solidFill>
                <a:effectLst/>
                <a:uLnTx/>
                <a:uFillTx/>
                <a:latin typeface="Arial" panose="020B0604020202020204"/>
                <a:ea typeface="+mn-ea"/>
                <a:cs typeface="+mn-cs"/>
              </a:rPr>
              <a:t>Mounjaro – </a:t>
            </a: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indicated for Type 2 diabetes and weight management. NHS usage will be split by </a:t>
            </a:r>
            <a:r>
              <a:rPr kumimoji="0" lang="en-GB" sz="1000" b="0" i="0" u="none" strike="noStrike" kern="1200" cap="none" spc="0" normalizeH="0" baseline="0" noProof="0" err="1">
                <a:ln>
                  <a:noFill/>
                </a:ln>
                <a:solidFill>
                  <a:srgbClr val="606B71"/>
                </a:solidFill>
                <a:effectLst/>
                <a:uLnTx/>
                <a:uFillTx/>
                <a:latin typeface="Arial" panose="020B0604020202020204"/>
                <a:ea typeface="+mn-ea"/>
                <a:cs typeface="+mn-cs"/>
              </a:rPr>
              <a:t>Mounjaro’s</a:t>
            </a: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 diabetes and weight management ind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606B71"/>
                </a:solidFill>
                <a:effectLst/>
                <a:uLnTx/>
                <a:uFillTx/>
                <a:latin typeface="Arial" panose="020B0604020202020204"/>
                <a:ea typeface="+mn-ea"/>
                <a:cs typeface="+mn-cs"/>
              </a:rPr>
              <a:t>Wegovy</a:t>
            </a: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 – indicated for weight management only</a:t>
            </a:r>
            <a:endParaRPr kumimoji="0" lang="en-GB" sz="1000" b="1" i="0" u="none" strike="noStrike" kern="1200" cap="none" spc="0" normalizeH="0" baseline="0" noProof="0">
              <a:ln>
                <a:noFill/>
              </a:ln>
              <a:solidFill>
                <a:srgbClr val="606B71"/>
              </a:solidFill>
              <a:effectLst/>
              <a:uLnTx/>
              <a:uFillTx/>
              <a:latin typeface="Arial" panose="020B0604020202020204"/>
              <a:ea typeface="+mn-ea"/>
              <a:cs typeface="+mn-cs"/>
            </a:endParaRPr>
          </a:p>
        </p:txBody>
      </p:sp>
      <p:pic>
        <p:nvPicPr>
          <p:cNvPr id="27" name="Picture 26">
            <a:extLst>
              <a:ext uri="{FF2B5EF4-FFF2-40B4-BE49-F238E27FC236}">
                <a16:creationId xmlns:a16="http://schemas.microsoft.com/office/drawing/2014/main" id="{360BF772-475A-AD0D-EB50-C6DEBC4A95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419176" y="96601"/>
            <a:ext cx="685800" cy="685800"/>
          </a:xfrm>
          <a:prstGeom prst="rect">
            <a:avLst/>
          </a:prstGeom>
        </p:spPr>
      </p:pic>
      <p:sp>
        <p:nvSpPr>
          <p:cNvPr id="3" name="TextBox 2">
            <a:extLst>
              <a:ext uri="{FF2B5EF4-FFF2-40B4-BE49-F238E27FC236}">
                <a16:creationId xmlns:a16="http://schemas.microsoft.com/office/drawing/2014/main" id="{0D87AB90-038A-1BDE-C63D-1014F84C55EB}"/>
              </a:ext>
            </a:extLst>
          </p:cNvPr>
          <p:cNvSpPr txBox="1"/>
          <p:nvPr/>
        </p:nvSpPr>
        <p:spPr>
          <a:xfrm>
            <a:off x="9306560" y="5798925"/>
            <a:ext cx="2630916" cy="553998"/>
          </a:xfrm>
          <a:prstGeom prst="rect">
            <a:avLst/>
          </a:prstGeom>
          <a:noFill/>
          <a:ln>
            <a:solidFill>
              <a:schemeClr val="bg1">
                <a:lumMod val="6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606B71"/>
                </a:solidFill>
                <a:effectLst/>
                <a:uLnTx/>
                <a:uFillTx/>
                <a:latin typeface="Arial" panose="020B0604020202020204"/>
                <a:ea typeface="+mn-ea"/>
                <a:cs typeface="+mn-cs"/>
              </a:rPr>
              <a:t>NHSBSA data only available up to Feb 2026 Private reflects </a:t>
            </a:r>
            <a:r>
              <a:rPr kumimoji="0" lang="en-GB" sz="1000" b="1" i="0" u="none" strike="noStrike" kern="1200" cap="none" spc="0" normalizeH="0" baseline="0" noProof="0" dirty="0">
                <a:ln>
                  <a:noFill/>
                </a:ln>
                <a:solidFill>
                  <a:srgbClr val="606B71"/>
                </a:solidFill>
                <a:effectLst/>
                <a:uLnTx/>
                <a:uFillTx/>
                <a:latin typeface="Arial" panose="020B0604020202020204"/>
                <a:ea typeface="+mn-ea"/>
                <a:cs typeface="+mn-cs"/>
              </a:rPr>
              <a:t>all supply</a:t>
            </a:r>
            <a:r>
              <a:rPr kumimoji="0" lang="en-GB" sz="1000" b="0" i="0" u="none" strike="noStrike" kern="1200" cap="none" spc="0" normalizeH="0" baseline="0" noProof="0" dirty="0">
                <a:ln>
                  <a:noFill/>
                </a:ln>
                <a:solidFill>
                  <a:srgbClr val="606B71"/>
                </a:solidFill>
                <a:effectLst/>
                <a:uLnTx/>
                <a:uFillTx/>
                <a:latin typeface="Arial" panose="020B0604020202020204"/>
                <a:ea typeface="+mn-ea"/>
                <a:cs typeface="+mn-cs"/>
              </a:rPr>
              <a:t> for these months </a:t>
            </a:r>
          </a:p>
        </p:txBody>
      </p:sp>
      <p:cxnSp>
        <p:nvCxnSpPr>
          <p:cNvPr id="36" name="Straight Arrow Connector 35">
            <a:extLst>
              <a:ext uri="{FF2B5EF4-FFF2-40B4-BE49-F238E27FC236}">
                <a16:creationId xmlns:a16="http://schemas.microsoft.com/office/drawing/2014/main" id="{4B3C3F4D-D314-08DD-A1BF-450C74385840}"/>
              </a:ext>
            </a:extLst>
          </p:cNvPr>
          <p:cNvCxnSpPr>
            <a:cxnSpLocks/>
          </p:cNvCxnSpPr>
          <p:nvPr/>
        </p:nvCxnSpPr>
        <p:spPr>
          <a:xfrm>
            <a:off x="11629634" y="1906962"/>
            <a:ext cx="0" cy="10074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1ACC9B4-0FA7-F671-7419-003E2F29E769}"/>
              </a:ext>
            </a:extLst>
          </p:cNvPr>
          <p:cNvSpPr/>
          <p:nvPr/>
        </p:nvSpPr>
        <p:spPr>
          <a:xfrm>
            <a:off x="11520777" y="2009689"/>
            <a:ext cx="518735" cy="3736005"/>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5997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ACE18-74BC-B51D-6EAB-EC06DF3568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856AA9-A3AE-41FC-BE5A-48C967ED196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04" imgH="405" progId="TCLayout.ActiveDocument.1">
                  <p:embed/>
                </p:oleObj>
              </mc:Choice>
              <mc:Fallback>
                <p:oleObj name="think-cell Slide" r:id="rId34" imgW="404" imgH="405" progId="TCLayout.ActiveDocument.1">
                  <p:embed/>
                  <p:pic>
                    <p:nvPicPr>
                      <p:cNvPr id="4" name="think-cell data - do not delete" hidden="1">
                        <a:extLst>
                          <a:ext uri="{FF2B5EF4-FFF2-40B4-BE49-F238E27FC236}">
                            <a16:creationId xmlns:a16="http://schemas.microsoft.com/office/drawing/2014/main" id="{FA856AA9-A3AE-41FC-BE5A-48C967ED196A}"/>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graphicFrame>
        <p:nvGraphicFramePr>
          <p:cNvPr id="106" name="Content Placeholder 105">
            <a:extLst>
              <a:ext uri="{FF2B5EF4-FFF2-40B4-BE49-F238E27FC236}">
                <a16:creationId xmlns:a16="http://schemas.microsoft.com/office/drawing/2014/main" id="{3E433788-1BBC-4F61-ABCB-96F2D6B435E2}"/>
              </a:ext>
            </a:extLst>
          </p:cNvPr>
          <p:cNvGraphicFramePr>
            <a:graphicFrameLocks noGrp="1"/>
          </p:cNvGraphicFramePr>
          <p:nvPr>
            <p:ph idx="20"/>
          </p:nvPr>
        </p:nvGraphicFramePr>
        <p:xfrm>
          <a:off x="503502" y="1702627"/>
          <a:ext cx="3621088" cy="4433887"/>
        </p:xfrm>
        <a:graphic>
          <a:graphicData uri="http://schemas.openxmlformats.org/drawingml/2006/chart">
            <c:chart xmlns:c="http://schemas.openxmlformats.org/drawingml/2006/chart" xmlns:r="http://schemas.openxmlformats.org/officeDocument/2006/relationships" r:id="rId36"/>
          </a:graphicData>
        </a:graphic>
      </p:graphicFrame>
      <p:sp>
        <p:nvSpPr>
          <p:cNvPr id="86" name="Text Placeholder 85">
            <a:extLst>
              <a:ext uri="{FF2B5EF4-FFF2-40B4-BE49-F238E27FC236}">
                <a16:creationId xmlns:a16="http://schemas.microsoft.com/office/drawing/2014/main" id="{EBB164E9-026E-CF0A-69E1-29A60D3AFC85}"/>
              </a:ext>
            </a:extLst>
          </p:cNvPr>
          <p:cNvSpPr>
            <a:spLocks noGrp="1"/>
          </p:cNvSpPr>
          <p:nvPr>
            <p:ph type="body" sz="quarter" idx="16"/>
          </p:nvPr>
        </p:nvSpPr>
        <p:spPr/>
        <p:txBody>
          <a:bodyPr/>
          <a:lstStyle/>
          <a:p>
            <a:r>
              <a:rPr lang="en-US" sz="2000"/>
              <a:t>Obesity pipeline by phase, target and route of administration</a:t>
            </a:r>
          </a:p>
        </p:txBody>
      </p:sp>
      <p:sp>
        <p:nvSpPr>
          <p:cNvPr id="2" name="Title 1">
            <a:extLst>
              <a:ext uri="{FF2B5EF4-FFF2-40B4-BE49-F238E27FC236}">
                <a16:creationId xmlns:a16="http://schemas.microsoft.com/office/drawing/2014/main" id="{438A96A7-37E2-7DE4-A04F-68E777B0DA3C}"/>
              </a:ext>
            </a:extLst>
          </p:cNvPr>
          <p:cNvSpPr>
            <a:spLocks noGrp="1"/>
          </p:cNvSpPr>
          <p:nvPr>
            <p:ph type="title"/>
          </p:nvPr>
        </p:nvSpPr>
        <p:spPr/>
        <p:txBody>
          <a:bodyPr vert="horz" lIns="91440" tIns="45720" rIns="91440" bIns="45720" anchor="b" anchorCtr="0"/>
          <a:lstStyle/>
          <a:p>
            <a:r>
              <a:rPr lang="en-GB"/>
              <a:t>There are 193 obesity medicines in development or marketed with oral </a:t>
            </a:r>
            <a:r>
              <a:rPr lang="en-GB" err="1"/>
              <a:t>Wegovy</a:t>
            </a:r>
            <a:r>
              <a:rPr lang="en-GB"/>
              <a:t> already having an impact in the US </a:t>
            </a:r>
          </a:p>
        </p:txBody>
      </p:sp>
      <p:sp>
        <p:nvSpPr>
          <p:cNvPr id="108" name="Content Placeholder 6">
            <a:extLst>
              <a:ext uri="{FF2B5EF4-FFF2-40B4-BE49-F238E27FC236}">
                <a16:creationId xmlns:a16="http://schemas.microsoft.com/office/drawing/2014/main" id="{6F7C7212-CC29-A278-A8BA-4B439E03AC9F}"/>
              </a:ext>
            </a:extLst>
          </p:cNvPr>
          <p:cNvSpPr txBox="1">
            <a:spLocks/>
          </p:cNvSpPr>
          <p:nvPr/>
        </p:nvSpPr>
        <p:spPr>
          <a:xfrm>
            <a:off x="269748" y="6436797"/>
            <a:ext cx="9290303" cy="184666"/>
          </a:xfrm>
          <a:prstGeom prst="rect">
            <a:avLst/>
          </a:prstGeom>
        </p:spPr>
        <p:txBody>
          <a:bodyPr wrap="square" tIns="45720" bIns="0" anchor="b" anchorCtr="0">
            <a:spAutoFit/>
          </a:bodyPr>
          <a:lstStyle>
            <a:lvl1pPr indent="0">
              <a:lnSpc>
                <a:spcPct val="90000"/>
              </a:lnSpc>
              <a:spcBef>
                <a:spcPts val="0"/>
              </a:spcBef>
              <a:buFont typeface="Arial" panose="020B0604020202020204" pitchFamily="34" charset="0"/>
              <a:buNone/>
              <a:defRPr sz="1000">
                <a:solidFill>
                  <a:srgbClr val="959CA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959CA0"/>
                </a:solidFill>
                <a:effectLst/>
                <a:uLnTx/>
                <a:uFillTx/>
                <a:latin typeface="Arial"/>
                <a:ea typeface="+mn-ea"/>
                <a:cs typeface="+mn-cs"/>
              </a:rPr>
              <a:t>Source: </a:t>
            </a:r>
            <a:r>
              <a:rPr kumimoji="0" lang="en-US" sz="1000" b="0" i="0" u="none" strike="noStrike" kern="1200" cap="none" spc="0" normalizeH="0" baseline="0" noProof="0" err="1">
                <a:ln>
                  <a:noFill/>
                </a:ln>
                <a:solidFill>
                  <a:srgbClr val="959CA0"/>
                </a:solidFill>
                <a:effectLst/>
                <a:uLnTx/>
                <a:uFillTx/>
                <a:latin typeface="Arial"/>
                <a:ea typeface="+mn-ea"/>
                <a:cs typeface="+mn-cs"/>
              </a:rPr>
              <a:t>Citeline</a:t>
            </a:r>
            <a:r>
              <a:rPr kumimoji="0" lang="en-US" sz="1000" b="0" i="0" u="none" strike="noStrike" kern="1200" cap="none" spc="0" normalizeH="0" baseline="0" noProof="0">
                <a:ln>
                  <a:noFill/>
                </a:ln>
                <a:solidFill>
                  <a:srgbClr val="959CA0"/>
                </a:solidFill>
                <a:effectLst/>
                <a:uLnTx/>
                <a:uFillTx/>
                <a:latin typeface="Arial"/>
                <a:ea typeface="+mn-ea"/>
                <a:cs typeface="+mn-cs"/>
              </a:rPr>
              <a:t> </a:t>
            </a:r>
            <a:r>
              <a:rPr kumimoji="0" lang="en-US" sz="1000" b="0" i="0" u="none" strike="noStrike" kern="1200" cap="none" spc="0" normalizeH="0" baseline="0" noProof="0" err="1">
                <a:ln>
                  <a:noFill/>
                </a:ln>
                <a:solidFill>
                  <a:srgbClr val="959CA0"/>
                </a:solidFill>
                <a:effectLst/>
                <a:uLnTx/>
                <a:uFillTx/>
                <a:latin typeface="Arial"/>
                <a:ea typeface="+mn-ea"/>
                <a:cs typeface="+mn-cs"/>
              </a:rPr>
              <a:t>Trialtrove</a:t>
            </a:r>
            <a:r>
              <a:rPr kumimoji="0" lang="en-US" sz="1000" b="0" i="0" u="none" strike="noStrike" kern="1200" cap="none" spc="0" normalizeH="0" baseline="0" noProof="0">
                <a:ln>
                  <a:noFill/>
                </a:ln>
                <a:solidFill>
                  <a:srgbClr val="959CA0"/>
                </a:solidFill>
                <a:effectLst/>
                <a:uLnTx/>
                <a:uFillTx/>
                <a:latin typeface="Arial"/>
                <a:ea typeface="+mn-ea"/>
                <a:cs typeface="+mn-cs"/>
              </a:rPr>
              <a:t>; IQVIA Institute, December 2025</a:t>
            </a:r>
          </a:p>
        </p:txBody>
      </p:sp>
      <p:sp>
        <p:nvSpPr>
          <p:cNvPr id="8" name="Footer Placeholder 3">
            <a:extLst>
              <a:ext uri="{FF2B5EF4-FFF2-40B4-BE49-F238E27FC236}">
                <a16:creationId xmlns:a16="http://schemas.microsoft.com/office/drawing/2014/main" id="{4AF6D1DA-697C-2FFF-ADE0-7CE897DB270C}"/>
              </a:ext>
            </a:extLst>
          </p:cNvPr>
          <p:cNvSpPr txBox="1">
            <a:spLocks/>
          </p:cNvSpPr>
          <p:nvPr/>
        </p:nvSpPr>
        <p:spPr>
          <a:xfrm>
            <a:off x="269748" y="6495534"/>
            <a:ext cx="9285288" cy="33813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Noto Sans"/>
                <a:ea typeface="+mn-ea"/>
                <a:cs typeface="+mn-cs"/>
              </a:rPr>
              <a:t>Source: US </a:t>
            </a:r>
            <a:r>
              <a:rPr kumimoji="0" lang="en-US" sz="800" b="0" i="0" u="none" strike="noStrike" kern="1200" cap="none" spc="0" normalizeH="0" baseline="0" noProof="0">
                <a:ln>
                  <a:noFill/>
                </a:ln>
                <a:solidFill>
                  <a:srgbClr val="2B3A42"/>
                </a:solidFill>
                <a:effectLst/>
                <a:uLnTx/>
                <a:uFillTx/>
                <a:latin typeface="Arial" panose="020B0604020202020204"/>
                <a:ea typeface="+mn-ea"/>
                <a:cs typeface="+mn-cs"/>
              </a:rPr>
              <a:t>National Prescription Audit, Patient Insights IQVIA</a:t>
            </a: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cxnSp>
        <p:nvCxnSpPr>
          <p:cNvPr id="9" name="Straight Connector 8">
            <a:extLst>
              <a:ext uri="{FF2B5EF4-FFF2-40B4-BE49-F238E27FC236}">
                <a16:creationId xmlns:a16="http://schemas.microsoft.com/office/drawing/2014/main" id="{42F2A762-5F11-8A7E-70D1-6A9EE69EFAB1}"/>
              </a:ext>
            </a:extLst>
          </p:cNvPr>
          <p:cNvCxnSpPr/>
          <p:nvPr>
            <p:custDataLst>
              <p:tags r:id="rId2"/>
            </p:custDataLst>
          </p:nvPr>
        </p:nvCxnSpPr>
        <p:spPr bwMode="auto">
          <a:xfrm>
            <a:off x="5518150" y="55118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1BD941F9-2498-0A2A-D985-A920870965C0}"/>
              </a:ext>
            </a:extLst>
          </p:cNvPr>
          <p:cNvCxnSpPr/>
          <p:nvPr>
            <p:custDataLst>
              <p:tags r:id="rId3"/>
            </p:custDataLst>
          </p:nvPr>
        </p:nvCxnSpPr>
        <p:spPr bwMode="auto">
          <a:xfrm>
            <a:off x="7181850" y="55118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814D199-9697-E128-262C-A823A651070D}"/>
              </a:ext>
            </a:extLst>
          </p:cNvPr>
          <p:cNvCxnSpPr/>
          <p:nvPr>
            <p:custDataLst>
              <p:tags r:id="rId4"/>
            </p:custDataLst>
          </p:nvPr>
        </p:nvCxnSpPr>
        <p:spPr bwMode="auto">
          <a:xfrm>
            <a:off x="8899525" y="55118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77249C04-8CF8-C509-2EC8-B8A215E204CA}"/>
              </a:ext>
            </a:extLst>
          </p:cNvPr>
          <p:cNvCxnSpPr/>
          <p:nvPr>
            <p:custDataLst>
              <p:tags r:id="rId5"/>
            </p:custDataLst>
          </p:nvPr>
        </p:nvCxnSpPr>
        <p:spPr bwMode="auto">
          <a:xfrm>
            <a:off x="10618788" y="55118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0" name="Chart 49">
            <a:extLst>
              <a:ext uri="{FF2B5EF4-FFF2-40B4-BE49-F238E27FC236}">
                <a16:creationId xmlns:a16="http://schemas.microsoft.com/office/drawing/2014/main" id="{7B9D688F-E7D9-5590-F23B-5E526FDDFC47}"/>
              </a:ext>
            </a:extLst>
          </p:cNvPr>
          <p:cNvGraphicFramePr/>
          <p:nvPr>
            <p:custDataLst>
              <p:tags r:id="rId6"/>
            </p:custDataLst>
          </p:nvPr>
        </p:nvGraphicFramePr>
        <p:xfrm>
          <a:off x="5380038" y="2252663"/>
          <a:ext cx="6208712" cy="3341687"/>
        </p:xfrm>
        <a:graphic>
          <a:graphicData uri="http://schemas.openxmlformats.org/drawingml/2006/chart">
            <c:chart xmlns:c="http://schemas.openxmlformats.org/drawingml/2006/chart" xmlns:r="http://schemas.openxmlformats.org/officeDocument/2006/relationships" r:id="rId37"/>
          </a:graphicData>
        </a:graphic>
      </p:graphicFrame>
      <p:sp>
        <p:nvSpPr>
          <p:cNvPr id="14" name="Rectangle 13">
            <a:extLst>
              <a:ext uri="{FF2B5EF4-FFF2-40B4-BE49-F238E27FC236}">
                <a16:creationId xmlns:a16="http://schemas.microsoft.com/office/drawing/2014/main" id="{105FE84E-D9D1-386F-D685-0E0C34891560}"/>
              </a:ext>
            </a:extLst>
          </p:cNvPr>
          <p:cNvSpPr/>
          <p:nvPr>
            <p:custDataLst>
              <p:tags r:id="rId7"/>
            </p:custDataLst>
          </p:nvPr>
        </p:nvSpPr>
        <p:spPr bwMode="gray">
          <a:xfrm>
            <a:off x="5180013" y="5645150"/>
            <a:ext cx="6762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lstStyle/>
          <a:p>
            <a:pPr marL="0" marR="0" lvl="0" indent="0" algn="ctr" defTabSz="914400" rtl="0" eaLnBrk="1" fontAlgn="auto" latinLnBrk="0" hangingPunct="1">
              <a:lnSpc>
                <a:spcPct val="90000"/>
              </a:lnSpc>
              <a:spcBef>
                <a:spcPct val="0"/>
              </a:spcBef>
              <a:spcAft>
                <a:spcPct val="0"/>
              </a:spcAft>
              <a:buClrTx/>
              <a:buSzTx/>
              <a:buFontTx/>
              <a:buNone/>
              <a:tabLst/>
              <a:defRPr/>
            </a:pPr>
            <a:fld id="{2E2740B0-9B04-4EFE-846F-19C7FBC12E03}" type="datetime'''''''''''1''''1/''''''''20''2''''''''5'''''''''''''''''''">
              <a:rPr kumimoji="0" lang="en-IN"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1/2025</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15" name="Rectangle 14">
            <a:extLst>
              <a:ext uri="{FF2B5EF4-FFF2-40B4-BE49-F238E27FC236}">
                <a16:creationId xmlns:a16="http://schemas.microsoft.com/office/drawing/2014/main" id="{51E8CF24-4104-8B69-3725-869E9AE1AAA8}"/>
              </a:ext>
            </a:extLst>
          </p:cNvPr>
          <p:cNvSpPr/>
          <p:nvPr>
            <p:custDataLst>
              <p:tags r:id="rId8"/>
            </p:custDataLst>
          </p:nvPr>
        </p:nvSpPr>
        <p:spPr bwMode="gray">
          <a:xfrm>
            <a:off x="6945313" y="5645150"/>
            <a:ext cx="4730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lstStyle/>
          <a:p>
            <a:pPr marL="0" marR="0" lvl="0" indent="0" algn="ctr" defTabSz="914400" rtl="0" eaLnBrk="1" fontAlgn="auto" latinLnBrk="0" hangingPunct="1">
              <a:lnSpc>
                <a:spcPct val="90000"/>
              </a:lnSpc>
              <a:spcBef>
                <a:spcPct val="0"/>
              </a:spcBef>
              <a:spcAft>
                <a:spcPct val="0"/>
              </a:spcAft>
              <a:buClrTx/>
              <a:buSzTx/>
              <a:buFontTx/>
              <a:buNone/>
              <a:tabLst/>
              <a:defRPr/>
            </a:pPr>
            <a:fld id="{CA74D1DD-09CE-4C60-A3B3-84539609834B}" type="datetime'''''''''''''''''''12''''''''''''''/''''''''''''''''''2''''5'''">
              <a:rPr kumimoji="0" lang="en-IN"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2/25</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16" name="Rectangle 15">
            <a:extLst>
              <a:ext uri="{FF2B5EF4-FFF2-40B4-BE49-F238E27FC236}">
                <a16:creationId xmlns:a16="http://schemas.microsoft.com/office/drawing/2014/main" id="{A135E641-856D-5598-D7C3-B84155CA997E}"/>
              </a:ext>
            </a:extLst>
          </p:cNvPr>
          <p:cNvSpPr/>
          <p:nvPr>
            <p:custDataLst>
              <p:tags r:id="rId9"/>
            </p:custDataLst>
          </p:nvPr>
        </p:nvSpPr>
        <p:spPr bwMode="gray">
          <a:xfrm>
            <a:off x="8662988" y="5645150"/>
            <a:ext cx="4730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lstStyle/>
          <a:p>
            <a:pPr marL="0" marR="0" lvl="0" indent="0" algn="ctr" defTabSz="914400" rtl="0" eaLnBrk="1" fontAlgn="auto" latinLnBrk="0" hangingPunct="1">
              <a:lnSpc>
                <a:spcPct val="90000"/>
              </a:lnSpc>
              <a:spcBef>
                <a:spcPct val="0"/>
              </a:spcBef>
              <a:spcAft>
                <a:spcPct val="0"/>
              </a:spcAft>
              <a:buClrTx/>
              <a:buSzTx/>
              <a:buFontTx/>
              <a:buNone/>
              <a:tabLst/>
              <a:defRPr/>
            </a:pPr>
            <a:fld id="{7E209EF6-572A-43FB-8B6D-E5562E4FF55A}" type="datetime'0''''''''''''''1''''/''''''''''''''''''''2''''6'''">
              <a:rPr kumimoji="0" lang="en-IN"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1/26</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17" name="Rectangle 16">
            <a:extLst>
              <a:ext uri="{FF2B5EF4-FFF2-40B4-BE49-F238E27FC236}">
                <a16:creationId xmlns:a16="http://schemas.microsoft.com/office/drawing/2014/main" id="{9C68A687-0EBF-50FD-E26F-F040C70E2CA3}"/>
              </a:ext>
            </a:extLst>
          </p:cNvPr>
          <p:cNvSpPr/>
          <p:nvPr>
            <p:custDataLst>
              <p:tags r:id="rId10"/>
            </p:custDataLst>
          </p:nvPr>
        </p:nvSpPr>
        <p:spPr bwMode="gray">
          <a:xfrm>
            <a:off x="10382250" y="5645150"/>
            <a:ext cx="4730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lstStyle/>
          <a:p>
            <a:pPr marL="0" marR="0" lvl="0" indent="0" algn="ctr" defTabSz="914400" rtl="0" eaLnBrk="1" fontAlgn="auto" latinLnBrk="0" hangingPunct="1">
              <a:lnSpc>
                <a:spcPct val="90000"/>
              </a:lnSpc>
              <a:spcBef>
                <a:spcPct val="0"/>
              </a:spcBef>
              <a:spcAft>
                <a:spcPct val="0"/>
              </a:spcAft>
              <a:buClrTx/>
              <a:buSzTx/>
              <a:buFontTx/>
              <a:buNone/>
              <a:tabLst/>
              <a:defRPr/>
            </a:pPr>
            <a:fld id="{3592BD8A-BC2F-47AE-8D33-7F30BCC4EE77}" type="datetime'0''2''''''''''''''''''''/''''''''''''''''''''''''''''2''6'">
              <a:rPr kumimoji="0" lang="en-IN"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2/26</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18" name="Rectangle 17">
            <a:extLst>
              <a:ext uri="{FF2B5EF4-FFF2-40B4-BE49-F238E27FC236}">
                <a16:creationId xmlns:a16="http://schemas.microsoft.com/office/drawing/2014/main" id="{D70F1BC0-D6BE-1F73-67AC-3301BC16C00B}"/>
              </a:ext>
            </a:extLst>
          </p:cNvPr>
          <p:cNvSpPr/>
          <p:nvPr>
            <p:custDataLst>
              <p:tags r:id="rId11"/>
            </p:custDataLst>
          </p:nvPr>
        </p:nvSpPr>
        <p:spPr bwMode="gray">
          <a:xfrm>
            <a:off x="5029200" y="5421313"/>
            <a:ext cx="2571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1B1CA5F5-8D18-4D76-A742-E527BD1CF6B3}" type="datetime'''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19" name="Rectangle 18">
            <a:extLst>
              <a:ext uri="{FF2B5EF4-FFF2-40B4-BE49-F238E27FC236}">
                <a16:creationId xmlns:a16="http://schemas.microsoft.com/office/drawing/2014/main" id="{0EABDB61-85D1-2DCA-F934-4315E81C2C83}"/>
              </a:ext>
            </a:extLst>
          </p:cNvPr>
          <p:cNvSpPr/>
          <p:nvPr>
            <p:custDataLst>
              <p:tags r:id="rId12"/>
            </p:custDataLst>
          </p:nvPr>
        </p:nvSpPr>
        <p:spPr bwMode="gray">
          <a:xfrm>
            <a:off x="4927600" y="5024438"/>
            <a:ext cx="3587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C1CA69B7-8321-4C1C-84BD-2D17473D7AEC}" type="datetime'1''''''''''''''''''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0" name="Rectangle 19">
            <a:extLst>
              <a:ext uri="{FF2B5EF4-FFF2-40B4-BE49-F238E27FC236}">
                <a16:creationId xmlns:a16="http://schemas.microsoft.com/office/drawing/2014/main" id="{E13E03B0-8CD4-E9EE-C21E-08FCC1219D8A}"/>
              </a:ext>
            </a:extLst>
          </p:cNvPr>
          <p:cNvSpPr/>
          <p:nvPr>
            <p:custDataLst>
              <p:tags r:id="rId13"/>
            </p:custDataLst>
          </p:nvPr>
        </p:nvSpPr>
        <p:spPr bwMode="gray">
          <a:xfrm>
            <a:off x="4927600" y="4627563"/>
            <a:ext cx="3587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A430294E-FFA8-4A56-9591-AA4E7E273530}" type="datetime'''''2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2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1" name="Rectangle 20">
            <a:extLst>
              <a:ext uri="{FF2B5EF4-FFF2-40B4-BE49-F238E27FC236}">
                <a16:creationId xmlns:a16="http://schemas.microsoft.com/office/drawing/2014/main" id="{B95E3871-D421-0D51-D3EF-AEF1BCC93791}"/>
              </a:ext>
            </a:extLst>
          </p:cNvPr>
          <p:cNvSpPr/>
          <p:nvPr>
            <p:custDataLst>
              <p:tags r:id="rId14"/>
            </p:custDataLst>
          </p:nvPr>
        </p:nvSpPr>
        <p:spPr bwMode="gray">
          <a:xfrm>
            <a:off x="4927600" y="4230688"/>
            <a:ext cx="3587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18E72FB0-3D5D-437E-B713-C8CFC9664C1E}" type="datetime'''''''''''''''''''''3''''''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3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2" name="Rectangle 21">
            <a:extLst>
              <a:ext uri="{FF2B5EF4-FFF2-40B4-BE49-F238E27FC236}">
                <a16:creationId xmlns:a16="http://schemas.microsoft.com/office/drawing/2014/main" id="{62CCBEF5-296E-7492-BC3E-19176E2F7C6E}"/>
              </a:ext>
            </a:extLst>
          </p:cNvPr>
          <p:cNvSpPr/>
          <p:nvPr>
            <p:custDataLst>
              <p:tags r:id="rId15"/>
            </p:custDataLst>
          </p:nvPr>
        </p:nvSpPr>
        <p:spPr bwMode="gray">
          <a:xfrm>
            <a:off x="4927600" y="3833813"/>
            <a:ext cx="3587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7A913B07-B49D-41AD-A150-F5175C1F7275}" type="datetime'4''''''''''''''''''''''''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4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3" name="Rectangle 22">
            <a:extLst>
              <a:ext uri="{FF2B5EF4-FFF2-40B4-BE49-F238E27FC236}">
                <a16:creationId xmlns:a16="http://schemas.microsoft.com/office/drawing/2014/main" id="{E2B94ABD-8815-A77B-9206-CB947B62F1F1}"/>
              </a:ext>
            </a:extLst>
          </p:cNvPr>
          <p:cNvSpPr/>
          <p:nvPr>
            <p:custDataLst>
              <p:tags r:id="rId16"/>
            </p:custDataLst>
          </p:nvPr>
        </p:nvSpPr>
        <p:spPr bwMode="gray">
          <a:xfrm>
            <a:off x="4927600" y="3435350"/>
            <a:ext cx="3587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661D9127-EB1C-4EE3-8141-411B33339243}" type="datetime'''''''''''''''''''''''''''5''''''''''''''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5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4" name="Rectangle 23">
            <a:extLst>
              <a:ext uri="{FF2B5EF4-FFF2-40B4-BE49-F238E27FC236}">
                <a16:creationId xmlns:a16="http://schemas.microsoft.com/office/drawing/2014/main" id="{6D8CF873-157E-0944-2DB9-6255E155029E}"/>
              </a:ext>
            </a:extLst>
          </p:cNvPr>
          <p:cNvSpPr/>
          <p:nvPr>
            <p:custDataLst>
              <p:tags r:id="rId17"/>
            </p:custDataLst>
          </p:nvPr>
        </p:nvSpPr>
        <p:spPr bwMode="gray">
          <a:xfrm>
            <a:off x="4927600" y="3038475"/>
            <a:ext cx="3587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D924D8C6-A8AA-405E-B351-BE8814F1DD46}" type="datetime'''6''''''''''''''''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6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5" name="Rectangle 24">
            <a:extLst>
              <a:ext uri="{FF2B5EF4-FFF2-40B4-BE49-F238E27FC236}">
                <a16:creationId xmlns:a16="http://schemas.microsoft.com/office/drawing/2014/main" id="{99FDD4F3-CFEC-8929-03E1-B8D55239945F}"/>
              </a:ext>
            </a:extLst>
          </p:cNvPr>
          <p:cNvSpPr/>
          <p:nvPr>
            <p:custDataLst>
              <p:tags r:id="rId18"/>
            </p:custDataLst>
          </p:nvPr>
        </p:nvSpPr>
        <p:spPr bwMode="gray">
          <a:xfrm>
            <a:off x="4927600" y="2641600"/>
            <a:ext cx="3587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631B2196-864D-4890-B45B-DBD737868A04}" type="datetime'''''''''''''''''''''''''7''''''''''''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7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26" name="Rectangle 25">
            <a:extLst>
              <a:ext uri="{FF2B5EF4-FFF2-40B4-BE49-F238E27FC236}">
                <a16:creationId xmlns:a16="http://schemas.microsoft.com/office/drawing/2014/main" id="{83BA8F8D-D284-82A3-9CD9-A5AD967E6898}"/>
              </a:ext>
            </a:extLst>
          </p:cNvPr>
          <p:cNvSpPr/>
          <p:nvPr>
            <p:custDataLst>
              <p:tags r:id="rId19"/>
            </p:custDataLst>
          </p:nvPr>
        </p:nvSpPr>
        <p:spPr bwMode="gray">
          <a:xfrm>
            <a:off x="4927600" y="2244725"/>
            <a:ext cx="358775"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r" defTabSz="914400" rtl="0" eaLnBrk="1" fontAlgn="auto" latinLnBrk="0" hangingPunct="1">
              <a:lnSpc>
                <a:spcPct val="90000"/>
              </a:lnSpc>
              <a:spcBef>
                <a:spcPct val="0"/>
              </a:spcBef>
              <a:spcAft>
                <a:spcPct val="0"/>
              </a:spcAft>
              <a:buClrTx/>
              <a:buSzTx/>
              <a:buFontTx/>
              <a:buNone/>
              <a:tabLst/>
              <a:defRPr/>
            </a:pPr>
            <a:fld id="{57259DD3-9708-44DA-8012-B7003B9F4C1F}" type="datetime'''''8''''''''''''0'''''''' ''''''''''''''''''K'''''">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80 K</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cxnSp>
        <p:nvCxnSpPr>
          <p:cNvPr id="27" name="Straight Connector 26">
            <a:extLst>
              <a:ext uri="{FF2B5EF4-FFF2-40B4-BE49-F238E27FC236}">
                <a16:creationId xmlns:a16="http://schemas.microsoft.com/office/drawing/2014/main" id="{DF32BA0B-A4AB-E712-A862-5C0D960749F1}"/>
              </a:ext>
            </a:extLst>
          </p:cNvPr>
          <p:cNvCxnSpPr/>
          <p:nvPr>
            <p:custDataLst>
              <p:tags r:id="rId20"/>
            </p:custDataLst>
          </p:nvPr>
        </p:nvCxnSpPr>
        <p:spPr bwMode="auto">
          <a:xfrm>
            <a:off x="8955088" y="4694238"/>
            <a:ext cx="25939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33CB742D-1CA2-EA7D-6781-78428169B6D3}"/>
              </a:ext>
            </a:extLst>
          </p:cNvPr>
          <p:cNvCxnSpPr/>
          <p:nvPr>
            <p:custDataLst>
              <p:tags r:id="rId21"/>
            </p:custDataLst>
          </p:nvPr>
        </p:nvCxnSpPr>
        <p:spPr bwMode="auto">
          <a:xfrm>
            <a:off x="11283950" y="2466975"/>
            <a:ext cx="2651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C172D5A-5A79-30D9-D951-BBDB67BB2298}"/>
              </a:ext>
            </a:extLst>
          </p:cNvPr>
          <p:cNvCxnSpPr/>
          <p:nvPr>
            <p:custDataLst>
              <p:tags r:id="rId22"/>
            </p:custDataLst>
          </p:nvPr>
        </p:nvCxnSpPr>
        <p:spPr bwMode="auto">
          <a:xfrm flipV="1">
            <a:off x="11506200" y="2463800"/>
            <a:ext cx="0" cy="22336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Oval 29">
            <a:extLst>
              <a:ext uri="{FF2B5EF4-FFF2-40B4-BE49-F238E27FC236}">
                <a16:creationId xmlns:a16="http://schemas.microsoft.com/office/drawing/2014/main" id="{44D06E0F-17D0-2A17-3C6D-3B898405D4E1}"/>
              </a:ext>
            </a:extLst>
          </p:cNvPr>
          <p:cNvSpPr/>
          <p:nvPr>
            <p:custDataLst>
              <p:tags r:id="rId23"/>
            </p:custDataLst>
          </p:nvPr>
        </p:nvSpPr>
        <p:spPr bwMode="auto">
          <a:xfrm>
            <a:off x="11106150" y="3471863"/>
            <a:ext cx="801688" cy="301625"/>
          </a:xfrm>
          <a:prstGeom prst="ellipse">
            <a:avLst/>
          </a:prstGeom>
          <a:solidFill>
            <a:schemeClr val="bg1"/>
          </a:solidFill>
          <a:ln w="9525"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ctr" defTabSz="914400" rtl="0" eaLnBrk="1" fontAlgn="auto" latinLnBrk="0" hangingPunct="1">
              <a:lnSpc>
                <a:spcPct val="100000"/>
              </a:lnSpc>
              <a:spcBef>
                <a:spcPct val="0"/>
              </a:spcBef>
              <a:spcAft>
                <a:spcPct val="0"/>
              </a:spcAft>
              <a:buClrTx/>
              <a:buSzTx/>
              <a:buFontTx/>
              <a:buNone/>
              <a:tabLst/>
              <a:defRPr/>
            </a:pPr>
            <a:fld id="{CF68E241-FE8D-4B95-BD3C-1BA4E0988617}" type="datetime'''''''''''''''+''2''''''''''''7''''2''''''%'''''''''''''''''">
              <a:rPr kumimoji="0" lang="en-US" altLang="en-US" sz="1400" b="1" i="0" u="none" strike="noStrike" kern="1200" cap="none" spc="0" normalizeH="0" baseline="0" noProof="0" smtClean="0">
                <a:ln>
                  <a:noFill/>
                </a:ln>
                <a:solidFill>
                  <a:srgbClr val="2B3A42"/>
                </a:solidFill>
                <a:effectLst/>
                <a:uLnTx/>
                <a:uFillTx/>
                <a:latin typeface="Noto Sans"/>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72%</a:t>
            </a:fld>
            <a:endParaRPr kumimoji="0" lang="en-US" sz="1400" b="1" i="0" u="none" strike="noStrike" kern="1200" cap="none" spc="0" normalizeH="0" baseline="0" noProof="0" err="1">
              <a:ln>
                <a:noFill/>
              </a:ln>
              <a:solidFill>
                <a:srgbClr val="2B3A42"/>
              </a:solidFill>
              <a:effectLst/>
              <a:uLnTx/>
              <a:uFillTx/>
              <a:latin typeface="Noto Sans"/>
              <a:ea typeface="+mn-ea"/>
              <a:cs typeface="+mn-cs"/>
            </a:endParaRPr>
          </a:p>
        </p:txBody>
      </p:sp>
      <p:cxnSp>
        <p:nvCxnSpPr>
          <p:cNvPr id="31" name="Straight Connector 30">
            <a:extLst>
              <a:ext uri="{FF2B5EF4-FFF2-40B4-BE49-F238E27FC236}">
                <a16:creationId xmlns:a16="http://schemas.microsoft.com/office/drawing/2014/main" id="{0DFEF60C-06BB-650F-43B7-D08D3A8DFA17}"/>
              </a:ext>
            </a:extLst>
          </p:cNvPr>
          <p:cNvCxnSpPr/>
          <p:nvPr>
            <p:custDataLst>
              <p:tags r:id="rId24"/>
            </p:custDataLst>
          </p:nvPr>
        </p:nvCxnSpPr>
        <p:spPr bwMode="gray">
          <a:xfrm>
            <a:off x="6419850" y="6183313"/>
            <a:ext cx="23177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75C90A70-DEB1-AEBB-F758-DD6B79C4B988}"/>
              </a:ext>
            </a:extLst>
          </p:cNvPr>
          <p:cNvCxnSpPr/>
          <p:nvPr>
            <p:custDataLst>
              <p:tags r:id="rId25"/>
            </p:custDataLst>
          </p:nvPr>
        </p:nvCxnSpPr>
        <p:spPr bwMode="gray">
          <a:xfrm>
            <a:off x="7639050" y="6183313"/>
            <a:ext cx="23177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BEDD30E0-0091-D604-E490-2FA2CD8FC7F7}"/>
              </a:ext>
            </a:extLst>
          </p:cNvPr>
          <p:cNvCxnSpPr/>
          <p:nvPr>
            <p:custDataLst>
              <p:tags r:id="rId26"/>
            </p:custDataLst>
          </p:nvPr>
        </p:nvCxnSpPr>
        <p:spPr bwMode="gray">
          <a:xfrm>
            <a:off x="8899525" y="6183313"/>
            <a:ext cx="231775" cy="0"/>
          </a:xfrm>
          <a:prstGeom prst="line">
            <a:avLst/>
          </a:prstGeom>
          <a:ln w="1905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CE71A714-A3A8-687B-5575-AF6A426F7597}"/>
              </a:ext>
            </a:extLst>
          </p:cNvPr>
          <p:cNvCxnSpPr/>
          <p:nvPr>
            <p:custDataLst>
              <p:tags r:id="rId27"/>
            </p:custDataLst>
          </p:nvPr>
        </p:nvCxnSpPr>
        <p:spPr bwMode="gray">
          <a:xfrm>
            <a:off x="10042525" y="6183313"/>
            <a:ext cx="212725" cy="0"/>
          </a:xfrm>
          <a:prstGeom prst="line">
            <a:avLst/>
          </a:prstGeom>
          <a:ln w="38100" cap="rnd" cmpd="sng" algn="ctr">
            <a:solidFill>
              <a:srgbClr val="C30C3E"/>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Rectangle 34">
            <a:extLst>
              <a:ext uri="{FF2B5EF4-FFF2-40B4-BE49-F238E27FC236}">
                <a16:creationId xmlns:a16="http://schemas.microsoft.com/office/drawing/2014/main" id="{8361AED6-4B3D-22B2-78A5-5F11B042B3CF}"/>
              </a:ext>
            </a:extLst>
          </p:cNvPr>
          <p:cNvSpPr/>
          <p:nvPr>
            <p:custDataLst>
              <p:tags r:id="rId28"/>
            </p:custDataLst>
          </p:nvPr>
        </p:nvSpPr>
        <p:spPr bwMode="auto">
          <a:xfrm>
            <a:off x="6711950" y="6084888"/>
            <a:ext cx="815975"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7278192E-BB5D-4C9D-81E6-384BEFDF8A1C}" type="datetime'''''''Mou''n''''''''j''''''''a''''''''r''''o'''''''''''''">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Mounjaro</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36" name="Rectangle 35">
            <a:extLst>
              <a:ext uri="{FF2B5EF4-FFF2-40B4-BE49-F238E27FC236}">
                <a16:creationId xmlns:a16="http://schemas.microsoft.com/office/drawing/2014/main" id="{B96255A6-81FE-3346-BCA1-3044468C1A96}"/>
              </a:ext>
            </a:extLst>
          </p:cNvPr>
          <p:cNvSpPr/>
          <p:nvPr>
            <p:custDataLst>
              <p:tags r:id="rId29"/>
            </p:custDataLst>
          </p:nvPr>
        </p:nvSpPr>
        <p:spPr bwMode="auto">
          <a:xfrm>
            <a:off x="7931150" y="6084888"/>
            <a:ext cx="857250"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86711A08-15E0-4084-9593-85A78DB01251}" type="datetime'''''''Z''''''e''''''''p''b''o''''''''u''''n''''''''d'''''''''">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Zepbound</a:t>
            </a:fld>
            <a:endParaRPr kumimoji="0" lang="en-US" sz="1400" b="0" i="0" u="none" strike="noStrike" kern="1200" cap="none" spc="0" normalizeH="0" baseline="0" noProof="0">
              <a:ln>
                <a:noFill/>
              </a:ln>
              <a:solidFill>
                <a:srgbClr val="2B3A42"/>
              </a:solidFill>
              <a:effectLst/>
              <a:uLnTx/>
              <a:uFillTx/>
              <a:latin typeface="Noto Sans"/>
              <a:ea typeface="+mn-ea"/>
              <a:cs typeface="+mn-cs"/>
            </a:endParaRPr>
          </a:p>
        </p:txBody>
      </p:sp>
      <p:sp>
        <p:nvSpPr>
          <p:cNvPr id="37" name="Rectangle 36">
            <a:extLst>
              <a:ext uri="{FF2B5EF4-FFF2-40B4-BE49-F238E27FC236}">
                <a16:creationId xmlns:a16="http://schemas.microsoft.com/office/drawing/2014/main" id="{30D0242F-B6DC-20ED-3AE1-4AFBD0E7B0E8}"/>
              </a:ext>
            </a:extLst>
          </p:cNvPr>
          <p:cNvSpPr/>
          <p:nvPr>
            <p:custDataLst>
              <p:tags r:id="rId30"/>
            </p:custDataLst>
          </p:nvPr>
        </p:nvSpPr>
        <p:spPr bwMode="auto">
          <a:xfrm>
            <a:off x="9191625" y="6084888"/>
            <a:ext cx="730250"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F48DA521-219E-4BEE-BC10-989FA7E37ED6}" type="datetime'''''''''''''Oz''''em''''p''''''''''''''''''i''''''c'''''''">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zempic</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38" name="Rectangle 37">
            <a:extLst>
              <a:ext uri="{FF2B5EF4-FFF2-40B4-BE49-F238E27FC236}">
                <a16:creationId xmlns:a16="http://schemas.microsoft.com/office/drawing/2014/main" id="{431E54BB-B1A0-B314-0D74-4D72F9DEB78C}"/>
              </a:ext>
            </a:extLst>
          </p:cNvPr>
          <p:cNvSpPr/>
          <p:nvPr>
            <p:custDataLst>
              <p:tags r:id="rId31"/>
            </p:custDataLst>
          </p:nvPr>
        </p:nvSpPr>
        <p:spPr bwMode="auto">
          <a:xfrm>
            <a:off x="10325100" y="6084888"/>
            <a:ext cx="663575"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5EDCE65C-CDC5-4362-8BF3-5330179829AA}" type="datetime'''W''''''''e''g''''''o''''''v''''''''y'''''''''''''''">
              <a:rPr kumimoji="0" lang="en-US" altLang="en-US" sz="1400" b="0" i="0" u="none" strike="noStrike" kern="1200" cap="none" spc="0" normalizeH="0" baseline="0" noProof="0" smtClean="0">
                <a:ln>
                  <a:noFill/>
                </a:ln>
                <a:solidFill>
                  <a:srgbClr val="2B3A42"/>
                </a:solidFill>
                <a:effectLst/>
                <a:uLnTx/>
                <a:uFillTx/>
                <a:latin typeface="Noto San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Wegovy</a:t>
            </a:fld>
            <a:endParaRPr kumimoji="0" lang="en-US" sz="1400" b="0" i="0" u="none" strike="noStrike" kern="1200" cap="none" spc="0" normalizeH="0" baseline="0" noProof="0" err="1">
              <a:ln>
                <a:noFill/>
              </a:ln>
              <a:solidFill>
                <a:srgbClr val="2B3A42"/>
              </a:solidFill>
              <a:effectLst/>
              <a:uLnTx/>
              <a:uFillTx/>
              <a:latin typeface="Noto Sans"/>
              <a:ea typeface="+mn-ea"/>
              <a:cs typeface="+mn-cs"/>
            </a:endParaRPr>
          </a:p>
        </p:txBody>
      </p:sp>
      <p:sp>
        <p:nvSpPr>
          <p:cNvPr id="39" name="TextBox 460">
            <a:extLst>
              <a:ext uri="{FF2B5EF4-FFF2-40B4-BE49-F238E27FC236}">
                <a16:creationId xmlns:a16="http://schemas.microsoft.com/office/drawing/2014/main" id="{D5A7BF8E-BB8E-B90E-0CBC-4D9B27A1C985}"/>
              </a:ext>
            </a:extLst>
          </p:cNvPr>
          <p:cNvSpPr txBox="1"/>
          <p:nvPr/>
        </p:nvSpPr>
        <p:spPr>
          <a:xfrm>
            <a:off x="3470275" y="1514475"/>
            <a:ext cx="8580438" cy="52228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B3A42"/>
                </a:solidFill>
                <a:effectLst/>
                <a:uLnTx/>
                <a:uFillTx/>
                <a:latin typeface="Arial" panose="020B0604020202020204"/>
                <a:ea typeface="+mn-ea"/>
                <a:cs typeface="+mn-cs"/>
              </a:rPr>
              <a:t>Weekly </a:t>
            </a:r>
            <a:r>
              <a:rPr kumimoji="0" lang="en-US" sz="1400" b="1" i="0" u="none" strike="noStrike" kern="1200" cap="none" spc="0" normalizeH="0" baseline="0" noProof="0" err="1">
                <a:ln>
                  <a:noFill/>
                </a:ln>
                <a:solidFill>
                  <a:srgbClr val="2B3A42"/>
                </a:solidFill>
                <a:effectLst/>
                <a:uLnTx/>
                <a:uFillTx/>
                <a:latin typeface="Arial" panose="020B0604020202020204"/>
                <a:ea typeface="+mn-ea"/>
                <a:cs typeface="+mn-cs"/>
              </a:rPr>
              <a:t>NBRx</a:t>
            </a:r>
            <a:r>
              <a:rPr kumimoji="0" lang="en-US" sz="1400" b="1" i="0" u="none" strike="noStrike" kern="1200" cap="none" spc="0" normalizeH="0" baseline="0" noProof="0">
                <a:ln>
                  <a:noFill/>
                </a:ln>
                <a:solidFill>
                  <a:srgbClr val="2B3A42"/>
                </a:solidFill>
                <a:effectLst/>
                <a:uLnTx/>
                <a:uFillTx/>
                <a:latin typeface="Arial" panose="020B0604020202020204"/>
                <a:ea typeface="+mn-ea"/>
                <a:cs typeface="+mn-cs"/>
              </a:rPr>
              <a:t> for Obesity Produc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B3A42"/>
                </a:solidFill>
                <a:effectLst/>
                <a:uLnTx/>
                <a:uFillTx/>
                <a:latin typeface="Arial" panose="020B0604020202020204"/>
                <a:ea typeface="+mn-ea"/>
                <a:cs typeface="+mn-cs"/>
              </a:rPr>
              <a:t>(Jan 2025-Feb 2026) </a:t>
            </a:r>
          </a:p>
        </p:txBody>
      </p:sp>
      <p:sp>
        <p:nvSpPr>
          <p:cNvPr id="40" name="TextBox 269">
            <a:extLst>
              <a:ext uri="{FF2B5EF4-FFF2-40B4-BE49-F238E27FC236}">
                <a16:creationId xmlns:a16="http://schemas.microsoft.com/office/drawing/2014/main" id="{F0F69253-378A-4D64-536E-F5A4EE860DA2}"/>
              </a:ext>
            </a:extLst>
          </p:cNvPr>
          <p:cNvSpPr txBox="1"/>
          <p:nvPr/>
        </p:nvSpPr>
        <p:spPr>
          <a:xfrm rot="16200000">
            <a:off x="3078163" y="3695700"/>
            <a:ext cx="3162300" cy="27622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Number of new to brand per week</a:t>
            </a:r>
          </a:p>
        </p:txBody>
      </p:sp>
      <p:cxnSp>
        <p:nvCxnSpPr>
          <p:cNvPr id="41" name="Straight Connector 40">
            <a:extLst>
              <a:ext uri="{FF2B5EF4-FFF2-40B4-BE49-F238E27FC236}">
                <a16:creationId xmlns:a16="http://schemas.microsoft.com/office/drawing/2014/main" id="{27CA3B58-3661-BD9A-44FD-F6CBFCF1FEC6}"/>
              </a:ext>
            </a:extLst>
          </p:cNvPr>
          <p:cNvCxnSpPr>
            <a:cxnSpLocks/>
          </p:cNvCxnSpPr>
          <p:nvPr/>
        </p:nvCxnSpPr>
        <p:spPr>
          <a:xfrm>
            <a:off x="8147050" y="2574925"/>
            <a:ext cx="3175" cy="3032125"/>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659F180-4016-429C-CC80-CBA715357AC0}"/>
              </a:ext>
            </a:extLst>
          </p:cNvPr>
          <p:cNvSpPr txBox="1"/>
          <p:nvPr/>
        </p:nvSpPr>
        <p:spPr>
          <a:xfrm>
            <a:off x="7237413" y="2087563"/>
            <a:ext cx="1820863" cy="4159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5587"/>
                </a:solidFill>
                <a:effectLst/>
                <a:uLnTx/>
                <a:uFillTx/>
                <a:latin typeface="Arial" panose="020B0604020202020204"/>
                <a:ea typeface="+mn-ea"/>
                <a:cs typeface="+mn-cs"/>
              </a:rPr>
              <a:t>Jan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Arial" panose="020B0604020202020204"/>
                <a:ea typeface="+mn-ea"/>
                <a:cs typeface="+mn-cs"/>
              </a:rPr>
              <a:t>Oral </a:t>
            </a:r>
            <a:r>
              <a:rPr kumimoji="0" lang="en-US" sz="1050" b="0" i="0" u="none" strike="noStrike" kern="0" cap="none" spc="0" normalizeH="0" baseline="0" noProof="0" err="1">
                <a:ln>
                  <a:noFill/>
                </a:ln>
                <a:solidFill>
                  <a:srgbClr val="000000"/>
                </a:solidFill>
                <a:effectLst/>
                <a:uLnTx/>
                <a:uFillTx/>
                <a:latin typeface="Arial" panose="020B0604020202020204"/>
                <a:ea typeface="+mn-ea"/>
                <a:cs typeface="+mn-cs"/>
              </a:rPr>
              <a:t>Wegovy</a:t>
            </a:r>
            <a:endParaRPr kumimoji="0" lang="en-US" sz="105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71039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13EEC2-9841-CB40-B806-D6D84105FBD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23E374-BC02-FEF7-C25D-2098A629027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think-cell data - do not delete" hidden="1">
                        <a:extLst>
                          <a:ext uri="{FF2B5EF4-FFF2-40B4-BE49-F238E27FC236}">
                            <a16:creationId xmlns:a16="http://schemas.microsoft.com/office/drawing/2014/main" id="{C123E374-BC02-FEF7-C25D-2098A62902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E0062EE1-9104-6803-58C3-4A55A0951C5A}"/>
              </a:ext>
            </a:extLst>
          </p:cNvPr>
          <p:cNvSpPr>
            <a:spLocks noGrp="1"/>
          </p:cNvSpPr>
          <p:nvPr>
            <p:ph idx="1"/>
          </p:nvPr>
        </p:nvSpPr>
        <p:spPr>
          <a:xfrm>
            <a:off x="1962418" y="2027976"/>
            <a:ext cx="9163983" cy="4246542"/>
          </a:xfrm>
        </p:spPr>
        <p:txBody>
          <a:bodyPr/>
          <a:lstStyle/>
          <a:p>
            <a:pPr lvl="0"/>
            <a:r>
              <a:rPr lang="en-GB"/>
              <a:t>Pressures shaping the Community Pharmacy landscape</a:t>
            </a:r>
          </a:p>
          <a:p>
            <a:pPr lvl="0"/>
            <a:r>
              <a:rPr lang="en-GB"/>
              <a:t>NHS Services: room for growth</a:t>
            </a:r>
          </a:p>
          <a:p>
            <a:pPr lvl="0"/>
            <a:r>
              <a:rPr lang="en-GB"/>
              <a:t>Patient driven demand for private services</a:t>
            </a:r>
          </a:p>
          <a:p>
            <a:pPr lvl="0"/>
            <a:r>
              <a:rPr lang="en-GB"/>
              <a:t>Evolution for the future</a:t>
            </a:r>
          </a:p>
        </p:txBody>
      </p:sp>
      <p:sp>
        <p:nvSpPr>
          <p:cNvPr id="2" name="Title 1">
            <a:extLst>
              <a:ext uri="{FF2B5EF4-FFF2-40B4-BE49-F238E27FC236}">
                <a16:creationId xmlns:a16="http://schemas.microsoft.com/office/drawing/2014/main" id="{F83650CD-0D2B-1F83-EFBF-FB16C9A626F7}"/>
              </a:ext>
            </a:extLst>
          </p:cNvPr>
          <p:cNvSpPr>
            <a:spLocks noGrp="1"/>
          </p:cNvSpPr>
          <p:nvPr>
            <p:ph type="title"/>
          </p:nvPr>
        </p:nvSpPr>
        <p:spPr/>
        <p:txBody>
          <a:bodyPr vert="horz" rIns="91440"/>
          <a:lstStyle/>
          <a:p>
            <a:r>
              <a:rPr lang="en-GB"/>
              <a:t>Agenda</a:t>
            </a:r>
            <a:endParaRPr lang="en-GB">
              <a:highlight>
                <a:srgbClr val="FFFF00"/>
              </a:highlight>
            </a:endParaRPr>
          </a:p>
        </p:txBody>
      </p:sp>
    </p:spTree>
    <p:extLst>
      <p:ext uri="{BB962C8B-B14F-4D97-AF65-F5344CB8AC3E}">
        <p14:creationId xmlns:p14="http://schemas.microsoft.com/office/powerpoint/2010/main" val="3207212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BF1E4-1E97-8796-B107-FF112859E55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1D3989-EF0F-107B-4F6F-B4E6B0A5411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1" progId="TCLayout.ActiveDocument.1">
                  <p:embed/>
                </p:oleObj>
              </mc:Choice>
              <mc:Fallback>
                <p:oleObj name="think-cell Slide" r:id="rId4" imgW="344" imgH="341" progId="TCLayout.ActiveDocument.1">
                  <p:embed/>
                  <p:pic>
                    <p:nvPicPr>
                      <p:cNvPr id="5" name="think-cell data - do not delete" hidden="1">
                        <a:extLst>
                          <a:ext uri="{FF2B5EF4-FFF2-40B4-BE49-F238E27FC236}">
                            <a16:creationId xmlns:a16="http://schemas.microsoft.com/office/drawing/2014/main" id="{4D1D3989-EF0F-107B-4F6F-B4E6B0A541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D8BFA7-47FE-0823-590E-CBE3B10C44C6}"/>
              </a:ext>
            </a:extLst>
          </p:cNvPr>
          <p:cNvSpPr>
            <a:spLocks noGrp="1"/>
          </p:cNvSpPr>
          <p:nvPr>
            <p:ph type="title"/>
          </p:nvPr>
        </p:nvSpPr>
        <p:spPr/>
        <p:txBody>
          <a:bodyPr vert="horz"/>
          <a:lstStyle/>
          <a:p>
            <a:r>
              <a:rPr lang="en-GB" noProof="0"/>
              <a:t>Patients on GLP1s need </a:t>
            </a:r>
            <a:r>
              <a:rPr lang="en-GB"/>
              <a:t>w</a:t>
            </a:r>
            <a:r>
              <a:rPr lang="en-GB" noProof="0"/>
              <a:t>rap around advice</a:t>
            </a:r>
          </a:p>
        </p:txBody>
      </p:sp>
      <p:sp>
        <p:nvSpPr>
          <p:cNvPr id="3" name="Footer Placeholder 2">
            <a:extLst>
              <a:ext uri="{FF2B5EF4-FFF2-40B4-BE49-F238E27FC236}">
                <a16:creationId xmlns:a16="http://schemas.microsoft.com/office/drawing/2014/main" id="{B330AC89-330F-F986-2013-2A874E387D0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Noto Sans"/>
                <a:ea typeface="+mn-ea"/>
                <a:cs typeface="+mn-cs"/>
              </a:rPr>
              <a:t>Source: IQVIA EMEA Thought Leadership, White paper “</a:t>
            </a:r>
            <a:r>
              <a:rPr kumimoji="0" lang="en-US" sz="800" b="0" i="0" u="none" strike="noStrike" kern="1200" cap="none" spc="0" normalizeH="0" baseline="0" noProof="0">
                <a:ln>
                  <a:noFill/>
                </a:ln>
                <a:solidFill>
                  <a:srgbClr val="2B3A42"/>
                </a:solidFill>
                <a:effectLst/>
                <a:uLnTx/>
                <a:uFillTx/>
                <a:latin typeface="Noto Sans"/>
                <a:ea typeface="+mn-ea"/>
                <a:cs typeface="+mn-cs"/>
              </a:rPr>
              <a:t>Nutrition as the Keystone for Obesity Management Medication”</a:t>
            </a:r>
            <a:endParaRPr kumimoji="0" lang="en-GB" sz="800" b="0" i="0" u="none" strike="noStrike" kern="1200" cap="none" spc="0" normalizeH="0" baseline="0" noProof="0">
              <a:ln>
                <a:noFill/>
              </a:ln>
              <a:solidFill>
                <a:srgbClr val="2B3A42"/>
              </a:solidFill>
              <a:effectLst/>
              <a:uLnTx/>
              <a:uFillTx/>
              <a:latin typeface="Noto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Noto Sans"/>
                <a:ea typeface="+mn-ea"/>
                <a:cs typeface="+mn-cs"/>
              </a:rPr>
              <a:t>© 2025, IQVIA Commercial GmbH &amp; Co. OHG. All rights reserved. </a:t>
            </a:r>
            <a:r>
              <a:rPr kumimoji="0" lang="en-GB" sz="800" b="0" i="0" u="none" strike="noStrike" kern="1200" cap="none" spc="0" normalizeH="0" baseline="0" noProof="0">
                <a:ln>
                  <a:noFill/>
                </a:ln>
                <a:solidFill>
                  <a:srgbClr val="2B3A42"/>
                </a:solidFill>
                <a:effectLst/>
                <a:uLnTx/>
                <a:uFillTx/>
                <a:latin typeface="Noto Sans"/>
                <a:ea typeface="+mn-ea"/>
                <a:cs typeface="+mn-cs"/>
                <a:hlinkClick r:id="rId6"/>
              </a:rPr>
              <a:t>https://www.iqvia.com/library/white-papers/nutrition-as-the-keystone-for-obesity-management-medication</a:t>
            </a:r>
            <a:endParaRPr kumimoji="0" lang="en-GB" sz="800" b="0" i="0" u="none" strike="noStrike" kern="1200" cap="none" spc="0" normalizeH="0" baseline="0" noProof="0">
              <a:ln>
                <a:noFill/>
              </a:ln>
              <a:solidFill>
                <a:srgbClr val="2B3A42"/>
              </a:solidFill>
              <a:effectLst/>
              <a:uLnTx/>
              <a:uFillTx/>
              <a:latin typeface="Noto Sans"/>
              <a:ea typeface="+mn-ea"/>
              <a:cs typeface="+mn-cs"/>
            </a:endParaRPr>
          </a:p>
        </p:txBody>
      </p:sp>
      <p:sp>
        <p:nvSpPr>
          <p:cNvPr id="7" name="Freeform: Shape 40">
            <a:extLst>
              <a:ext uri="{FF2B5EF4-FFF2-40B4-BE49-F238E27FC236}">
                <a16:creationId xmlns:a16="http://schemas.microsoft.com/office/drawing/2014/main" id="{031E94A5-A080-9B85-8171-0280A90C3A02}"/>
              </a:ext>
            </a:extLst>
          </p:cNvPr>
          <p:cNvSpPr>
            <a:spLocks/>
          </p:cNvSpPr>
          <p:nvPr/>
        </p:nvSpPr>
        <p:spPr>
          <a:xfrm>
            <a:off x="452437" y="1332785"/>
            <a:ext cx="4860000" cy="64800"/>
          </a:xfrm>
          <a:custGeom>
            <a:avLst/>
            <a:gdLst>
              <a:gd name="connsiteX0" fmla="*/ 37577 w 5249587"/>
              <a:gd name="connsiteY0" fmla="*/ 0 h 75154"/>
              <a:gd name="connsiteX1" fmla="*/ 730311 w 5249587"/>
              <a:gd name="connsiteY1" fmla="*/ 0 h 75154"/>
              <a:gd name="connsiteX2" fmla="*/ 1321523 w 5249587"/>
              <a:gd name="connsiteY2" fmla="*/ 0 h 75154"/>
              <a:gd name="connsiteX3" fmla="*/ 2014257 w 5249587"/>
              <a:gd name="connsiteY3" fmla="*/ 0 h 75154"/>
              <a:gd name="connsiteX4" fmla="*/ 3235330 w 5249587"/>
              <a:gd name="connsiteY4" fmla="*/ 0 h 75154"/>
              <a:gd name="connsiteX5" fmla="*/ 3928064 w 5249587"/>
              <a:gd name="connsiteY5" fmla="*/ 0 h 75154"/>
              <a:gd name="connsiteX6" fmla="*/ 4519276 w 5249587"/>
              <a:gd name="connsiteY6" fmla="*/ 0 h 75154"/>
              <a:gd name="connsiteX7" fmla="*/ 5212010 w 5249587"/>
              <a:gd name="connsiteY7" fmla="*/ 0 h 75154"/>
              <a:gd name="connsiteX8" fmla="*/ 5249587 w 5249587"/>
              <a:gd name="connsiteY8" fmla="*/ 37577 h 75154"/>
              <a:gd name="connsiteX9" fmla="*/ 5249586 w 5249587"/>
              <a:gd name="connsiteY9" fmla="*/ 37577 h 75154"/>
              <a:gd name="connsiteX10" fmla="*/ 5212009 w 5249587"/>
              <a:gd name="connsiteY10" fmla="*/ 75154 h 75154"/>
              <a:gd name="connsiteX11" fmla="*/ 4519276 w 5249587"/>
              <a:gd name="connsiteY11" fmla="*/ 75154 h 75154"/>
              <a:gd name="connsiteX12" fmla="*/ 4519275 w 5249587"/>
              <a:gd name="connsiteY12" fmla="*/ 75154 h 75154"/>
              <a:gd name="connsiteX13" fmla="*/ 3928064 w 5249587"/>
              <a:gd name="connsiteY13" fmla="*/ 75154 h 75154"/>
              <a:gd name="connsiteX14" fmla="*/ 3928063 w 5249587"/>
              <a:gd name="connsiteY14" fmla="*/ 75154 h 75154"/>
              <a:gd name="connsiteX15" fmla="*/ 3235330 w 5249587"/>
              <a:gd name="connsiteY15" fmla="*/ 75154 h 75154"/>
              <a:gd name="connsiteX16" fmla="*/ 3235329 w 5249587"/>
              <a:gd name="connsiteY16" fmla="*/ 75154 h 75154"/>
              <a:gd name="connsiteX17" fmla="*/ 37577 w 5249587"/>
              <a:gd name="connsiteY17" fmla="*/ 75153 h 75154"/>
              <a:gd name="connsiteX18" fmla="*/ 11006 w 5249587"/>
              <a:gd name="connsiteY18" fmla="*/ 64147 h 75154"/>
              <a:gd name="connsiteX19" fmla="*/ 0 w 5249587"/>
              <a:gd name="connsiteY19" fmla="*/ 37577 h 75154"/>
              <a:gd name="connsiteX20" fmla="*/ 11006 w 5249587"/>
              <a:gd name="connsiteY20" fmla="*/ 11006 h 75154"/>
              <a:gd name="connsiteX21" fmla="*/ 37577 w 5249587"/>
              <a:gd name="connsiteY21"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49587" h="75154">
                <a:moveTo>
                  <a:pt x="37577" y="0"/>
                </a:moveTo>
                <a:lnTo>
                  <a:pt x="730311" y="0"/>
                </a:lnTo>
                <a:lnTo>
                  <a:pt x="1321523" y="0"/>
                </a:lnTo>
                <a:lnTo>
                  <a:pt x="2014257" y="0"/>
                </a:lnTo>
                <a:lnTo>
                  <a:pt x="3235330" y="0"/>
                </a:lnTo>
                <a:lnTo>
                  <a:pt x="3928064" y="0"/>
                </a:lnTo>
                <a:lnTo>
                  <a:pt x="4519276" y="0"/>
                </a:lnTo>
                <a:lnTo>
                  <a:pt x="5212010" y="0"/>
                </a:lnTo>
                <a:cubicBezTo>
                  <a:pt x="5232763" y="0"/>
                  <a:pt x="5249587" y="16824"/>
                  <a:pt x="5249587" y="37577"/>
                </a:cubicBezTo>
                <a:lnTo>
                  <a:pt x="5249586" y="37577"/>
                </a:lnTo>
                <a:cubicBezTo>
                  <a:pt x="5249586" y="58330"/>
                  <a:pt x="5232762" y="75154"/>
                  <a:pt x="5212009" y="75154"/>
                </a:cubicBez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Rounded Corners 41">
            <a:extLst>
              <a:ext uri="{FF2B5EF4-FFF2-40B4-BE49-F238E27FC236}">
                <a16:creationId xmlns:a16="http://schemas.microsoft.com/office/drawing/2014/main" id="{E2299802-4069-1607-C0D5-623F246F058B}"/>
              </a:ext>
            </a:extLst>
          </p:cNvPr>
          <p:cNvSpPr/>
          <p:nvPr/>
        </p:nvSpPr>
        <p:spPr>
          <a:xfrm>
            <a:off x="452438" y="1289922"/>
            <a:ext cx="365392" cy="16033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21">
            <a:extLst>
              <a:ext uri="{FF2B5EF4-FFF2-40B4-BE49-F238E27FC236}">
                <a16:creationId xmlns:a16="http://schemas.microsoft.com/office/drawing/2014/main" id="{07471CA3-CA20-1DCF-B009-58A0849D02DB}"/>
              </a:ext>
            </a:extLst>
          </p:cNvPr>
          <p:cNvSpPr txBox="1">
            <a:spLocks/>
          </p:cNvSpPr>
          <p:nvPr/>
        </p:nvSpPr>
        <p:spPr>
          <a:xfrm>
            <a:off x="452436" y="1488360"/>
            <a:ext cx="6609821" cy="246221"/>
          </a:xfrm>
          <a:prstGeom prst="rect">
            <a:avLst/>
          </a:prstGeom>
          <a:noFill/>
        </p:spPr>
        <p:txBody>
          <a:bodyPr wrap="square" lIns="0" tIns="0" rIns="0" bIns="0">
            <a:spAutoFit/>
          </a:bodyPr>
          <a:lstStyle/>
          <a:p>
            <a:pPr marL="0" marR="0" lvl="1" indent="0" algn="l" defTabSz="410291" rtl="0" eaLnBrk="1" fontAlgn="auto" latinLnBrk="0" hangingPunct="1">
              <a:lnSpc>
                <a:spcPct val="100000"/>
              </a:lnSpc>
              <a:spcBef>
                <a:spcPts val="600"/>
              </a:spcBef>
              <a:spcAft>
                <a:spcPts val="0"/>
              </a:spcAft>
              <a:buClr>
                <a:srgbClr val="606B71"/>
              </a:buClr>
              <a:buSzPct val="100000"/>
              <a:buFontTx/>
              <a:buNone/>
              <a:tabLst/>
              <a:defRPr/>
            </a:pPr>
            <a:r>
              <a:rPr kumimoji="0" lang="en-GB" sz="1600" b="1" i="0" u="none" strike="noStrike" kern="1200" cap="all" spc="300" normalizeH="0" baseline="0" noProof="0">
                <a:ln>
                  <a:noFill/>
                </a:ln>
                <a:solidFill>
                  <a:srgbClr val="005587"/>
                </a:solidFill>
                <a:effectLst/>
                <a:uLnTx/>
                <a:uFillTx/>
                <a:latin typeface="Arial" panose="020B0604020202020204"/>
                <a:ea typeface="+mn-ea"/>
                <a:cs typeface="Arial" pitchFamily="34" charset="0"/>
              </a:rPr>
              <a:t>Problems with obesity drugs</a:t>
            </a:r>
          </a:p>
        </p:txBody>
      </p:sp>
      <p:sp>
        <p:nvSpPr>
          <p:cNvPr id="10" name="Freeform: Shape 29">
            <a:extLst>
              <a:ext uri="{FF2B5EF4-FFF2-40B4-BE49-F238E27FC236}">
                <a16:creationId xmlns:a16="http://schemas.microsoft.com/office/drawing/2014/main" id="{16D11BB7-86A3-71A5-629D-1070486AF5A9}"/>
              </a:ext>
            </a:extLst>
          </p:cNvPr>
          <p:cNvSpPr>
            <a:spLocks/>
          </p:cNvSpPr>
          <p:nvPr/>
        </p:nvSpPr>
        <p:spPr>
          <a:xfrm>
            <a:off x="6618701" y="1332786"/>
            <a:ext cx="4824000" cy="74613"/>
          </a:xfrm>
          <a:custGeom>
            <a:avLst/>
            <a:gdLst>
              <a:gd name="connsiteX0" fmla="*/ 37577 w 5249587"/>
              <a:gd name="connsiteY0" fmla="*/ 0 h 75154"/>
              <a:gd name="connsiteX1" fmla="*/ 730311 w 5249587"/>
              <a:gd name="connsiteY1" fmla="*/ 0 h 75154"/>
              <a:gd name="connsiteX2" fmla="*/ 1321523 w 5249587"/>
              <a:gd name="connsiteY2" fmla="*/ 0 h 75154"/>
              <a:gd name="connsiteX3" fmla="*/ 2014257 w 5249587"/>
              <a:gd name="connsiteY3" fmla="*/ 0 h 75154"/>
              <a:gd name="connsiteX4" fmla="*/ 3235330 w 5249587"/>
              <a:gd name="connsiteY4" fmla="*/ 0 h 75154"/>
              <a:gd name="connsiteX5" fmla="*/ 3928064 w 5249587"/>
              <a:gd name="connsiteY5" fmla="*/ 0 h 75154"/>
              <a:gd name="connsiteX6" fmla="*/ 4519276 w 5249587"/>
              <a:gd name="connsiteY6" fmla="*/ 0 h 75154"/>
              <a:gd name="connsiteX7" fmla="*/ 5212010 w 5249587"/>
              <a:gd name="connsiteY7" fmla="*/ 0 h 75154"/>
              <a:gd name="connsiteX8" fmla="*/ 5249587 w 5249587"/>
              <a:gd name="connsiteY8" fmla="*/ 37577 h 75154"/>
              <a:gd name="connsiteX9" fmla="*/ 5249586 w 5249587"/>
              <a:gd name="connsiteY9" fmla="*/ 37577 h 75154"/>
              <a:gd name="connsiteX10" fmla="*/ 5212009 w 5249587"/>
              <a:gd name="connsiteY10" fmla="*/ 75154 h 75154"/>
              <a:gd name="connsiteX11" fmla="*/ 4519276 w 5249587"/>
              <a:gd name="connsiteY11" fmla="*/ 75154 h 75154"/>
              <a:gd name="connsiteX12" fmla="*/ 4519275 w 5249587"/>
              <a:gd name="connsiteY12" fmla="*/ 75154 h 75154"/>
              <a:gd name="connsiteX13" fmla="*/ 3928064 w 5249587"/>
              <a:gd name="connsiteY13" fmla="*/ 75154 h 75154"/>
              <a:gd name="connsiteX14" fmla="*/ 3928063 w 5249587"/>
              <a:gd name="connsiteY14" fmla="*/ 75154 h 75154"/>
              <a:gd name="connsiteX15" fmla="*/ 3235330 w 5249587"/>
              <a:gd name="connsiteY15" fmla="*/ 75154 h 75154"/>
              <a:gd name="connsiteX16" fmla="*/ 3235329 w 5249587"/>
              <a:gd name="connsiteY16" fmla="*/ 75154 h 75154"/>
              <a:gd name="connsiteX17" fmla="*/ 37577 w 5249587"/>
              <a:gd name="connsiteY17" fmla="*/ 75153 h 75154"/>
              <a:gd name="connsiteX18" fmla="*/ 11006 w 5249587"/>
              <a:gd name="connsiteY18" fmla="*/ 64147 h 75154"/>
              <a:gd name="connsiteX19" fmla="*/ 0 w 5249587"/>
              <a:gd name="connsiteY19" fmla="*/ 37577 h 75154"/>
              <a:gd name="connsiteX20" fmla="*/ 11006 w 5249587"/>
              <a:gd name="connsiteY20" fmla="*/ 11006 h 75154"/>
              <a:gd name="connsiteX21" fmla="*/ 37577 w 5249587"/>
              <a:gd name="connsiteY21"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49587" h="75154">
                <a:moveTo>
                  <a:pt x="37577" y="0"/>
                </a:moveTo>
                <a:lnTo>
                  <a:pt x="730311" y="0"/>
                </a:lnTo>
                <a:lnTo>
                  <a:pt x="1321523" y="0"/>
                </a:lnTo>
                <a:lnTo>
                  <a:pt x="2014257" y="0"/>
                </a:lnTo>
                <a:lnTo>
                  <a:pt x="3235330" y="0"/>
                </a:lnTo>
                <a:lnTo>
                  <a:pt x="3928064" y="0"/>
                </a:lnTo>
                <a:lnTo>
                  <a:pt x="4519276" y="0"/>
                </a:lnTo>
                <a:lnTo>
                  <a:pt x="5212010" y="0"/>
                </a:lnTo>
                <a:cubicBezTo>
                  <a:pt x="5232763" y="0"/>
                  <a:pt x="5249587" y="16824"/>
                  <a:pt x="5249587" y="37577"/>
                </a:cubicBezTo>
                <a:lnTo>
                  <a:pt x="5249586" y="37577"/>
                </a:lnTo>
                <a:cubicBezTo>
                  <a:pt x="5249586" y="58330"/>
                  <a:pt x="5232762" y="75154"/>
                  <a:pt x="5212009" y="75154"/>
                </a:cubicBez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30">
            <a:extLst>
              <a:ext uri="{FF2B5EF4-FFF2-40B4-BE49-F238E27FC236}">
                <a16:creationId xmlns:a16="http://schemas.microsoft.com/office/drawing/2014/main" id="{D1491D76-FE1E-E106-9EF0-E30AC5FA5926}"/>
              </a:ext>
            </a:extLst>
          </p:cNvPr>
          <p:cNvSpPr/>
          <p:nvPr/>
        </p:nvSpPr>
        <p:spPr>
          <a:xfrm>
            <a:off x="6618701" y="1289923"/>
            <a:ext cx="365125" cy="16033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31">
            <a:extLst>
              <a:ext uri="{FF2B5EF4-FFF2-40B4-BE49-F238E27FC236}">
                <a16:creationId xmlns:a16="http://schemas.microsoft.com/office/drawing/2014/main" id="{302AA23D-23ED-A94F-BB2D-6EDCFBB82FFC}"/>
              </a:ext>
            </a:extLst>
          </p:cNvPr>
          <p:cNvSpPr txBox="1"/>
          <p:nvPr/>
        </p:nvSpPr>
        <p:spPr>
          <a:xfrm>
            <a:off x="6628225" y="1488360"/>
            <a:ext cx="5846751" cy="246221"/>
          </a:xfrm>
          <a:prstGeom prst="rect">
            <a:avLst/>
          </a:prstGeom>
          <a:noFill/>
        </p:spPr>
        <p:txBody>
          <a:bodyPr wrap="square" lIns="0" tIns="0" rIns="0" bIns="0">
            <a:spAutoFit/>
          </a:bodyPr>
          <a:lstStyle/>
          <a:p>
            <a:pPr marL="0" marR="0" lvl="1" indent="0" algn="l" defTabSz="410291" rtl="0" eaLnBrk="1" fontAlgn="auto" latinLnBrk="0" hangingPunct="1">
              <a:lnSpc>
                <a:spcPct val="100000"/>
              </a:lnSpc>
              <a:spcBef>
                <a:spcPts val="600"/>
              </a:spcBef>
              <a:spcAft>
                <a:spcPts val="0"/>
              </a:spcAft>
              <a:buClr>
                <a:srgbClr val="606B71"/>
              </a:buClr>
              <a:buSzPct val="100000"/>
              <a:buFontTx/>
              <a:buNone/>
              <a:tabLst/>
              <a:defRPr/>
            </a:pPr>
            <a:r>
              <a:rPr kumimoji="0" lang="en-GB" sz="1600" b="1" i="0" u="none" strike="noStrike" kern="1200" cap="all" spc="300" normalizeH="0" baseline="0" noProof="0">
                <a:ln>
                  <a:noFill/>
                </a:ln>
                <a:solidFill>
                  <a:srgbClr val="00A3E0"/>
                </a:solidFill>
                <a:effectLst/>
                <a:uLnTx/>
                <a:uFillTx/>
                <a:latin typeface="Arial" panose="020B0604020202020204"/>
                <a:ea typeface="+mn-ea"/>
                <a:cs typeface="Arial" pitchFamily="34" charset="0"/>
              </a:rPr>
              <a:t>CONSUMER HEALTH OPPORTUNITIES</a:t>
            </a:r>
          </a:p>
        </p:txBody>
      </p:sp>
      <p:sp>
        <p:nvSpPr>
          <p:cNvPr id="13" name="Isosceles Triangle 12">
            <a:extLst>
              <a:ext uri="{FF2B5EF4-FFF2-40B4-BE49-F238E27FC236}">
                <a16:creationId xmlns:a16="http://schemas.microsoft.com/office/drawing/2014/main" id="{2C550B4C-A798-CBA5-4F72-68BE74D2914F}"/>
              </a:ext>
            </a:extLst>
          </p:cNvPr>
          <p:cNvSpPr/>
          <p:nvPr/>
        </p:nvSpPr>
        <p:spPr>
          <a:xfrm rot="5400000">
            <a:off x="4485899" y="3673132"/>
            <a:ext cx="3220202" cy="264588"/>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Noto Sans"/>
              <a:ea typeface="+mn-ea"/>
              <a:cs typeface="+mn-cs"/>
            </a:endParaRPr>
          </a:p>
        </p:txBody>
      </p:sp>
      <p:sp>
        <p:nvSpPr>
          <p:cNvPr id="18" name="TextBox 17">
            <a:extLst>
              <a:ext uri="{FF2B5EF4-FFF2-40B4-BE49-F238E27FC236}">
                <a16:creationId xmlns:a16="http://schemas.microsoft.com/office/drawing/2014/main" id="{7FDAB1E5-DC69-0384-FFC7-769CFCE3806F}"/>
              </a:ext>
            </a:extLst>
          </p:cNvPr>
          <p:cNvSpPr txBox="1"/>
          <p:nvPr/>
        </p:nvSpPr>
        <p:spPr>
          <a:xfrm>
            <a:off x="1036053" y="1958634"/>
            <a:ext cx="4276384" cy="6771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Lean muscle loss and protein malnutr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B3A42"/>
                </a:solidFill>
                <a:effectLst/>
                <a:uLnTx/>
                <a:uFillTx/>
                <a:latin typeface="Noto Sans"/>
                <a:ea typeface="+mn-ea"/>
                <a:cs typeface="+mn-cs"/>
              </a:rPr>
              <a:t>GLP-1 RAs can cause 20–30% lean mass loss during weight reduction. Risk increases with low protein intake.</a:t>
            </a:r>
          </a:p>
        </p:txBody>
      </p:sp>
      <p:grpSp>
        <p:nvGrpSpPr>
          <p:cNvPr id="31" name="Group 30">
            <a:extLst>
              <a:ext uri="{FF2B5EF4-FFF2-40B4-BE49-F238E27FC236}">
                <a16:creationId xmlns:a16="http://schemas.microsoft.com/office/drawing/2014/main" id="{A8C19359-2AF5-EAD6-B490-E6B72118F753}"/>
              </a:ext>
            </a:extLst>
          </p:cNvPr>
          <p:cNvGrpSpPr/>
          <p:nvPr/>
        </p:nvGrpSpPr>
        <p:grpSpPr>
          <a:xfrm>
            <a:off x="418218" y="2720059"/>
            <a:ext cx="5048231" cy="861774"/>
            <a:chOff x="384694" y="2860681"/>
            <a:chExt cx="5048231" cy="861774"/>
          </a:xfrm>
        </p:grpSpPr>
        <p:pic>
          <p:nvPicPr>
            <p:cNvPr id="19" name="Graphic 18">
              <a:extLst>
                <a:ext uri="{FF2B5EF4-FFF2-40B4-BE49-F238E27FC236}">
                  <a16:creationId xmlns:a16="http://schemas.microsoft.com/office/drawing/2014/main" id="{49002156-ADB2-76C1-9D5B-43E7F1C618AE}"/>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384694" y="2980232"/>
              <a:ext cx="612000" cy="612000"/>
            </a:xfrm>
            <a:prstGeom prst="rect">
              <a:avLst/>
            </a:prstGeom>
          </p:spPr>
        </p:pic>
        <p:sp>
          <p:nvSpPr>
            <p:cNvPr id="20" name="TextBox 19">
              <a:extLst>
                <a:ext uri="{FF2B5EF4-FFF2-40B4-BE49-F238E27FC236}">
                  <a16:creationId xmlns:a16="http://schemas.microsoft.com/office/drawing/2014/main" id="{E1FEE5CB-14FC-4CE3-9E03-2AB0764A9A11}"/>
                </a:ext>
              </a:extLst>
            </p:cNvPr>
            <p:cNvSpPr txBox="1"/>
            <p:nvPr/>
          </p:nvSpPr>
          <p:spPr>
            <a:xfrm>
              <a:off x="1036052" y="2860681"/>
              <a:ext cx="4396873"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B3A42"/>
                  </a:solidFill>
                  <a:effectLst/>
                  <a:uLnTx/>
                  <a:uFillTx/>
                  <a:latin typeface="Noto Sans"/>
                  <a:ea typeface="+mn-ea"/>
                  <a:cs typeface="+mn-cs"/>
                </a:rPr>
                <a:t>Anaemia and fatig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3A42"/>
                  </a:solidFill>
                  <a:effectLst/>
                  <a:uLnTx/>
                  <a:uFillTx/>
                  <a:latin typeface="Noto Sans"/>
                  <a:ea typeface="+mn-ea"/>
                  <a:cs typeface="+mn-cs"/>
                </a:rPr>
                <a:t>Iron and B12 deficiencies may lead to anemia &amp; neurological symptoms. Metformin use can exacerbate B12 deficiency.</a:t>
              </a:r>
              <a:endParaRPr kumimoji="0" lang="en-GB" sz="1200" b="0" i="0" u="none" strike="noStrike" kern="1200" cap="none" spc="0" normalizeH="0" baseline="0" noProof="0" dirty="0">
                <a:ln>
                  <a:noFill/>
                </a:ln>
                <a:solidFill>
                  <a:srgbClr val="2B3A42"/>
                </a:solidFill>
                <a:effectLst/>
                <a:uLnTx/>
                <a:uFillTx/>
                <a:latin typeface="Noto Sans"/>
                <a:ea typeface="+mn-ea"/>
                <a:cs typeface="+mn-cs"/>
              </a:endParaRPr>
            </a:p>
          </p:txBody>
        </p:sp>
      </p:grpSp>
      <p:sp>
        <p:nvSpPr>
          <p:cNvPr id="22" name="TextBox 21">
            <a:extLst>
              <a:ext uri="{FF2B5EF4-FFF2-40B4-BE49-F238E27FC236}">
                <a16:creationId xmlns:a16="http://schemas.microsoft.com/office/drawing/2014/main" id="{033EF562-ED9A-E408-02C9-2BB6F19DB47C}"/>
              </a:ext>
            </a:extLst>
          </p:cNvPr>
          <p:cNvSpPr txBox="1"/>
          <p:nvPr/>
        </p:nvSpPr>
        <p:spPr>
          <a:xfrm>
            <a:off x="1069577" y="3643893"/>
            <a:ext cx="4396872" cy="6771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B3A42"/>
                </a:solidFill>
                <a:effectLst/>
                <a:uLnTx/>
                <a:uFillTx/>
                <a:latin typeface="Noto Sans"/>
                <a:ea typeface="+mn-ea"/>
                <a:cs typeface="+mn-cs"/>
              </a:rPr>
              <a:t>Bone health and osteopor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3A42"/>
                </a:solidFill>
                <a:effectLst/>
                <a:uLnTx/>
                <a:uFillTx/>
                <a:latin typeface="Noto Sans"/>
                <a:ea typeface="+mn-ea"/>
                <a:cs typeface="+mn-cs"/>
              </a:rPr>
              <a:t>Weight loss reduces bone density; low calcium and vitamin D intake can worsen this.</a:t>
            </a:r>
            <a:endParaRPr kumimoji="0" lang="en-GB" sz="1200" b="0" i="0" u="none" strike="noStrike" kern="1200" cap="none" spc="0" normalizeH="0" baseline="0" noProof="0" dirty="0">
              <a:ln>
                <a:noFill/>
              </a:ln>
              <a:solidFill>
                <a:srgbClr val="2B3A42"/>
              </a:solidFill>
              <a:effectLst/>
              <a:uLnTx/>
              <a:uFillTx/>
              <a:latin typeface="Noto Sans"/>
              <a:ea typeface="+mn-ea"/>
              <a:cs typeface="+mn-cs"/>
            </a:endParaRPr>
          </a:p>
        </p:txBody>
      </p:sp>
      <p:sp>
        <p:nvSpPr>
          <p:cNvPr id="24" name="TextBox 23">
            <a:extLst>
              <a:ext uri="{FF2B5EF4-FFF2-40B4-BE49-F238E27FC236}">
                <a16:creationId xmlns:a16="http://schemas.microsoft.com/office/drawing/2014/main" id="{F2BDA520-366D-7DB6-8EE8-7CF8AFD2D999}"/>
              </a:ext>
            </a:extLst>
          </p:cNvPr>
          <p:cNvSpPr txBox="1"/>
          <p:nvPr/>
        </p:nvSpPr>
        <p:spPr>
          <a:xfrm>
            <a:off x="1038092" y="4512693"/>
            <a:ext cx="4514515" cy="6771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3A42"/>
                </a:solidFill>
                <a:effectLst/>
                <a:uLnTx/>
                <a:uFillTx/>
                <a:latin typeface="Noto Sans"/>
                <a:ea typeface="+mn-ea"/>
                <a:cs typeface="+mn-cs"/>
              </a:rPr>
              <a:t>Impaired immunity and micronutrient defic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3A42"/>
                </a:solidFill>
                <a:effectLst/>
                <a:uLnTx/>
                <a:uFillTx/>
                <a:latin typeface="Noto Sans"/>
                <a:ea typeface="+mn-ea"/>
                <a:cs typeface="+mn-cs"/>
              </a:rPr>
              <a:t>Deficiencies in zinc, vitamin C, and vitamin A can weaken immunity and delay healing.</a:t>
            </a:r>
            <a:endParaRPr kumimoji="0" lang="en-GB" sz="1200" b="0" i="0" u="none" strike="noStrike" kern="1200" cap="none" spc="0" normalizeH="0" baseline="0" noProof="0" dirty="0">
              <a:ln>
                <a:noFill/>
              </a:ln>
              <a:solidFill>
                <a:srgbClr val="2B3A42"/>
              </a:solidFill>
              <a:effectLst/>
              <a:uLnTx/>
              <a:uFillTx/>
              <a:latin typeface="Noto Sans"/>
              <a:ea typeface="+mn-ea"/>
              <a:cs typeface="+mn-cs"/>
            </a:endParaRPr>
          </a:p>
        </p:txBody>
      </p:sp>
      <p:sp>
        <p:nvSpPr>
          <p:cNvPr id="26" name="TextBox 25">
            <a:extLst>
              <a:ext uri="{FF2B5EF4-FFF2-40B4-BE49-F238E27FC236}">
                <a16:creationId xmlns:a16="http://schemas.microsoft.com/office/drawing/2014/main" id="{531AD6F2-9172-EE86-1956-0D7D169DB83D}"/>
              </a:ext>
            </a:extLst>
          </p:cNvPr>
          <p:cNvSpPr txBox="1"/>
          <p:nvPr/>
        </p:nvSpPr>
        <p:spPr>
          <a:xfrm>
            <a:off x="1036053" y="5387968"/>
            <a:ext cx="4276384" cy="6771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B3A42"/>
                </a:solidFill>
                <a:effectLst/>
                <a:uLnTx/>
                <a:uFillTx/>
                <a:latin typeface="Noto Sans"/>
                <a:ea typeface="+mn-ea"/>
                <a:cs typeface="+mn-cs"/>
              </a:rPr>
              <a:t>Quality of life issu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3A42"/>
                </a:solidFill>
                <a:effectLst/>
                <a:uLnTx/>
                <a:uFillTx/>
                <a:latin typeface="Noto Sans"/>
                <a:ea typeface="+mn-ea"/>
                <a:cs typeface="+mn-cs"/>
              </a:rPr>
              <a:t>Rapid weight loss may cause hair thinning and constipation due to low nutrient and fiber intake.</a:t>
            </a:r>
            <a:endParaRPr kumimoji="0" lang="en-GB" sz="1200" b="0" i="0" u="none" strike="noStrike" kern="1200" cap="none" spc="0" normalizeH="0" baseline="0" noProof="0" dirty="0">
              <a:ln>
                <a:noFill/>
              </a:ln>
              <a:solidFill>
                <a:srgbClr val="2B3A42"/>
              </a:solidFill>
              <a:effectLst/>
              <a:uLnTx/>
              <a:uFillTx/>
              <a:latin typeface="Noto Sans"/>
              <a:ea typeface="+mn-ea"/>
              <a:cs typeface="+mn-cs"/>
            </a:endParaRPr>
          </a:p>
        </p:txBody>
      </p:sp>
      <p:sp>
        <p:nvSpPr>
          <p:cNvPr id="35" name="TextBox 34">
            <a:extLst>
              <a:ext uri="{FF2B5EF4-FFF2-40B4-BE49-F238E27FC236}">
                <a16:creationId xmlns:a16="http://schemas.microsoft.com/office/drawing/2014/main" id="{30DDB338-433E-A8D1-CE0B-B344C81A0DE5}"/>
              </a:ext>
            </a:extLst>
          </p:cNvPr>
          <p:cNvSpPr txBox="1"/>
          <p:nvPr/>
        </p:nvSpPr>
        <p:spPr>
          <a:xfrm>
            <a:off x="7208740" y="1958634"/>
            <a:ext cx="4276384"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B3A42"/>
                </a:solidFill>
                <a:effectLst/>
                <a:uLnTx/>
                <a:uFillTx/>
                <a:latin typeface="Noto Sans"/>
                <a:ea typeface="+mn-ea"/>
                <a:cs typeface="+mn-cs"/>
              </a:rPr>
              <a:t>Targeted product innov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B3A42"/>
                </a:solidFill>
                <a:effectLst/>
                <a:uLnTx/>
                <a:uFillTx/>
                <a:latin typeface="Noto Sans"/>
                <a:ea typeface="+mn-ea"/>
                <a:cs typeface="+mn-cs"/>
              </a:rPr>
              <a:t>Develop clinically tailored medical nutrition formulas for GLP-1 users - high-protein, low volume, enriched with key vitamins (B12, D, iron, calcium, etc.).</a:t>
            </a:r>
          </a:p>
        </p:txBody>
      </p:sp>
      <p:grpSp>
        <p:nvGrpSpPr>
          <p:cNvPr id="36" name="Group 35">
            <a:extLst>
              <a:ext uri="{FF2B5EF4-FFF2-40B4-BE49-F238E27FC236}">
                <a16:creationId xmlns:a16="http://schemas.microsoft.com/office/drawing/2014/main" id="{AB28AACC-5A0A-BADA-2C85-725196F58F52}"/>
              </a:ext>
            </a:extLst>
          </p:cNvPr>
          <p:cNvGrpSpPr/>
          <p:nvPr/>
        </p:nvGrpSpPr>
        <p:grpSpPr>
          <a:xfrm>
            <a:off x="6557381" y="2929972"/>
            <a:ext cx="5048231" cy="1046440"/>
            <a:chOff x="384694" y="2860681"/>
            <a:chExt cx="5048231" cy="1046440"/>
          </a:xfrm>
        </p:grpSpPr>
        <p:pic>
          <p:nvPicPr>
            <p:cNvPr id="37" name="Graphic 36">
              <a:extLst>
                <a:ext uri="{FF2B5EF4-FFF2-40B4-BE49-F238E27FC236}">
                  <a16:creationId xmlns:a16="http://schemas.microsoft.com/office/drawing/2014/main" id="{EDF8F46F-43AC-4D19-658D-088A3E281385}"/>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a:off x="384694" y="2893235"/>
              <a:ext cx="612000" cy="612000"/>
            </a:xfrm>
            <a:prstGeom prst="rect">
              <a:avLst/>
            </a:prstGeom>
          </p:spPr>
        </p:pic>
        <p:sp>
          <p:nvSpPr>
            <p:cNvPr id="38" name="TextBox 37">
              <a:extLst>
                <a:ext uri="{FF2B5EF4-FFF2-40B4-BE49-F238E27FC236}">
                  <a16:creationId xmlns:a16="http://schemas.microsoft.com/office/drawing/2014/main" id="{4A0FA87A-43FC-2ED6-2931-7FC4A00B51B8}"/>
                </a:ext>
              </a:extLst>
            </p:cNvPr>
            <p:cNvSpPr txBox="1"/>
            <p:nvPr/>
          </p:nvSpPr>
          <p:spPr>
            <a:xfrm>
              <a:off x="1036052" y="2860681"/>
              <a:ext cx="4396873"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B3A42"/>
                  </a:solidFill>
                  <a:effectLst/>
                  <a:uLnTx/>
                  <a:uFillTx/>
                  <a:latin typeface="Noto Sans"/>
                  <a:ea typeface="+mn-ea"/>
                  <a:cs typeface="+mn-cs"/>
                </a:rPr>
                <a:t>Claim supported marke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3A42"/>
                  </a:solidFill>
                  <a:effectLst/>
                  <a:uLnTx/>
                  <a:uFillTx/>
                  <a:latin typeface="Noto Sans"/>
                  <a:ea typeface="+mn-ea"/>
                  <a:cs typeface="+mn-cs"/>
                </a:rPr>
                <a:t>Create evidence-based claims such as: “Helps preserve muscle during weight loss with e.g., GLP-1 RA drugs” or “Supports daily B12 needs while on appetite-suppressing therapy.”</a:t>
              </a:r>
              <a:endParaRPr kumimoji="0" lang="en-GB" sz="1200" b="0" i="0" u="none" strike="noStrike" kern="1200" cap="none" spc="0" normalizeH="0" baseline="0" noProof="0" dirty="0">
                <a:ln>
                  <a:noFill/>
                </a:ln>
                <a:solidFill>
                  <a:srgbClr val="2B3A42"/>
                </a:solidFill>
                <a:effectLst/>
                <a:uLnTx/>
                <a:uFillTx/>
                <a:latin typeface="Noto Sans"/>
                <a:ea typeface="+mn-ea"/>
                <a:cs typeface="+mn-cs"/>
              </a:endParaRPr>
            </a:p>
          </p:txBody>
        </p:sp>
      </p:grpSp>
      <p:grpSp>
        <p:nvGrpSpPr>
          <p:cNvPr id="42" name="Group 41">
            <a:extLst>
              <a:ext uri="{FF2B5EF4-FFF2-40B4-BE49-F238E27FC236}">
                <a16:creationId xmlns:a16="http://schemas.microsoft.com/office/drawing/2014/main" id="{4A7FD22C-E18C-5B86-2599-C2DD6813D9AC}"/>
              </a:ext>
            </a:extLst>
          </p:cNvPr>
          <p:cNvGrpSpPr/>
          <p:nvPr/>
        </p:nvGrpSpPr>
        <p:grpSpPr>
          <a:xfrm>
            <a:off x="6557381" y="4018230"/>
            <a:ext cx="5165873" cy="1261884"/>
            <a:chOff x="384694" y="4504944"/>
            <a:chExt cx="5165873" cy="1261884"/>
          </a:xfrm>
        </p:grpSpPr>
        <p:pic>
          <p:nvPicPr>
            <p:cNvPr id="43" name="Graphic 42">
              <a:extLst>
                <a:ext uri="{FF2B5EF4-FFF2-40B4-BE49-F238E27FC236}">
                  <a16:creationId xmlns:a16="http://schemas.microsoft.com/office/drawing/2014/main" id="{2C4D448F-4FFB-7649-1616-0B8BAA647D40}"/>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384694" y="4537498"/>
              <a:ext cx="612000" cy="612000"/>
            </a:xfrm>
            <a:prstGeom prst="rect">
              <a:avLst/>
            </a:prstGeom>
          </p:spPr>
        </p:pic>
        <p:sp>
          <p:nvSpPr>
            <p:cNvPr id="44" name="TextBox 43">
              <a:extLst>
                <a:ext uri="{FF2B5EF4-FFF2-40B4-BE49-F238E27FC236}">
                  <a16:creationId xmlns:a16="http://schemas.microsoft.com/office/drawing/2014/main" id="{2F437457-AD47-7652-6518-ED274E3BF6DC}"/>
                </a:ext>
              </a:extLst>
            </p:cNvPr>
            <p:cNvSpPr txBox="1"/>
            <p:nvPr/>
          </p:nvSpPr>
          <p:spPr>
            <a:xfrm>
              <a:off x="1036052" y="4504944"/>
              <a:ext cx="4514515"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3A42"/>
                  </a:solidFill>
                  <a:effectLst/>
                  <a:uLnTx/>
                  <a:uFillTx/>
                  <a:latin typeface="Noto Sans"/>
                  <a:ea typeface="+mn-ea"/>
                  <a:cs typeface="+mn-cs"/>
                </a:rPr>
                <a:t>Digital adherence &amp; tracking tools or partnershi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3A42"/>
                  </a:solidFill>
                  <a:effectLst/>
                  <a:uLnTx/>
                  <a:uFillTx/>
                  <a:latin typeface="Noto Sans"/>
                  <a:ea typeface="+mn-ea"/>
                  <a:cs typeface="+mn-cs"/>
                </a:rPr>
                <a:t>Integrate digital apps or QR-linked tools that help patients track protein intake, log symptoms, and receive tailored reminders to take supplements. Collaborate with digital prescribing platforms.</a:t>
              </a:r>
              <a:endParaRPr kumimoji="0" lang="en-GB" sz="1200" b="0" i="0" u="none" strike="noStrike" kern="1200" cap="none" spc="0" normalizeH="0" baseline="0" noProof="0" dirty="0">
                <a:ln>
                  <a:noFill/>
                </a:ln>
                <a:solidFill>
                  <a:srgbClr val="2B3A42"/>
                </a:solidFill>
                <a:effectLst/>
                <a:uLnTx/>
                <a:uFillTx/>
                <a:latin typeface="Noto Sans"/>
                <a:ea typeface="+mn-ea"/>
                <a:cs typeface="+mn-cs"/>
              </a:endParaRPr>
            </a:p>
          </p:txBody>
        </p:sp>
      </p:grpSp>
      <p:grpSp>
        <p:nvGrpSpPr>
          <p:cNvPr id="45" name="Group 44">
            <a:extLst>
              <a:ext uri="{FF2B5EF4-FFF2-40B4-BE49-F238E27FC236}">
                <a16:creationId xmlns:a16="http://schemas.microsoft.com/office/drawing/2014/main" id="{E60A405D-0E1F-0FF5-BFAB-95DE301A8FC5}"/>
              </a:ext>
            </a:extLst>
          </p:cNvPr>
          <p:cNvGrpSpPr/>
          <p:nvPr/>
        </p:nvGrpSpPr>
        <p:grpSpPr>
          <a:xfrm>
            <a:off x="6557381" y="5291240"/>
            <a:ext cx="4927743" cy="861774"/>
            <a:chOff x="384694" y="5508460"/>
            <a:chExt cx="4927743" cy="861774"/>
          </a:xfrm>
        </p:grpSpPr>
        <p:pic>
          <p:nvPicPr>
            <p:cNvPr id="46" name="Graphic 45">
              <a:extLst>
                <a:ext uri="{FF2B5EF4-FFF2-40B4-BE49-F238E27FC236}">
                  <a16:creationId xmlns:a16="http://schemas.microsoft.com/office/drawing/2014/main" id="{BF40C70F-0155-561C-1703-77537A5ABF26}"/>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384694" y="5541014"/>
              <a:ext cx="612000" cy="612000"/>
            </a:xfrm>
            <a:prstGeom prst="rect">
              <a:avLst/>
            </a:prstGeom>
          </p:spPr>
        </p:pic>
        <p:sp>
          <p:nvSpPr>
            <p:cNvPr id="47" name="TextBox 46">
              <a:extLst>
                <a:ext uri="{FF2B5EF4-FFF2-40B4-BE49-F238E27FC236}">
                  <a16:creationId xmlns:a16="http://schemas.microsoft.com/office/drawing/2014/main" id="{C9AFF218-A043-8391-953B-02AE406404C5}"/>
                </a:ext>
              </a:extLst>
            </p:cNvPr>
            <p:cNvSpPr txBox="1"/>
            <p:nvPr/>
          </p:nvSpPr>
          <p:spPr>
            <a:xfrm>
              <a:off x="1036053" y="5508460"/>
              <a:ext cx="4276384"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Expanded patient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B3A42"/>
                  </a:solidFill>
                  <a:effectLst/>
                  <a:uLnTx/>
                  <a:uFillTx/>
                  <a:latin typeface="Noto Sans"/>
                  <a:ea typeface="+mn-ea"/>
                  <a:cs typeface="+mn-cs"/>
                </a:rPr>
                <a:t>Move beyond product to full ecosystem: recipe guides, satiety-friendly meal plans, FAQs for first-time GLP-1 users, and helplines.</a:t>
              </a:r>
              <a:endParaRPr kumimoji="0" lang="en-GB" sz="1200" b="0" i="0" u="none" strike="noStrike" kern="1200" cap="none" spc="0" normalizeH="0" baseline="0" noProof="0">
                <a:ln>
                  <a:noFill/>
                </a:ln>
                <a:solidFill>
                  <a:srgbClr val="2B3A42"/>
                </a:solidFill>
                <a:effectLst/>
                <a:uLnTx/>
                <a:uFillTx/>
                <a:latin typeface="Noto Sans"/>
                <a:ea typeface="+mn-ea"/>
                <a:cs typeface="+mn-cs"/>
              </a:endParaRPr>
            </a:p>
          </p:txBody>
        </p:sp>
      </p:grpSp>
      <p:pic>
        <p:nvPicPr>
          <p:cNvPr id="6" name="Picture 5">
            <a:extLst>
              <a:ext uri="{FF2B5EF4-FFF2-40B4-BE49-F238E27FC236}">
                <a16:creationId xmlns:a16="http://schemas.microsoft.com/office/drawing/2014/main" id="{3C2D24C7-6ADF-2285-0BD2-DB14610557EF}"/>
              </a:ext>
            </a:extLst>
          </p:cNvPr>
          <p:cNvPicPr>
            <a:picLocks noChangeAspect="1"/>
          </p:cNvPicPr>
          <p:nvPr/>
        </p:nvPicPr>
        <p:blipFill>
          <a:blip r:embed="rId11"/>
          <a:stretch>
            <a:fillRect/>
          </a:stretch>
        </p:blipFill>
        <p:spPr>
          <a:xfrm>
            <a:off x="452436" y="2026848"/>
            <a:ext cx="520840" cy="520840"/>
          </a:xfrm>
          <a:prstGeom prst="rect">
            <a:avLst/>
          </a:prstGeom>
        </p:spPr>
      </p:pic>
      <p:pic>
        <p:nvPicPr>
          <p:cNvPr id="15" name="Picture 14">
            <a:extLst>
              <a:ext uri="{FF2B5EF4-FFF2-40B4-BE49-F238E27FC236}">
                <a16:creationId xmlns:a16="http://schemas.microsoft.com/office/drawing/2014/main" id="{0D8E7417-DB4D-B0B8-8506-2B168E82A728}"/>
              </a:ext>
            </a:extLst>
          </p:cNvPr>
          <p:cNvPicPr>
            <a:picLocks noChangeAspect="1"/>
          </p:cNvPicPr>
          <p:nvPr/>
        </p:nvPicPr>
        <p:blipFill>
          <a:blip r:embed="rId12"/>
          <a:stretch>
            <a:fillRect/>
          </a:stretch>
        </p:blipFill>
        <p:spPr>
          <a:xfrm>
            <a:off x="404150" y="3694316"/>
            <a:ext cx="640135" cy="640135"/>
          </a:xfrm>
          <a:prstGeom prst="rect">
            <a:avLst/>
          </a:prstGeom>
        </p:spPr>
      </p:pic>
      <p:pic>
        <p:nvPicPr>
          <p:cNvPr id="17" name="Graphic 16">
            <a:extLst>
              <a:ext uri="{FF2B5EF4-FFF2-40B4-BE49-F238E27FC236}">
                <a16:creationId xmlns:a16="http://schemas.microsoft.com/office/drawing/2014/main" id="{8DADA74E-B0BF-154C-26CD-617E1CC7C90F}"/>
              </a:ext>
            </a:extLst>
          </p:cNvPr>
          <p:cNvPicPr>
            <a:picLocks noChangeAspect="1"/>
          </p:cNvPicPr>
          <p:nvPr/>
        </p:nvPicPr>
        <p:blipFill>
          <a:blip>
            <a:extLst>
              <a:ext uri="{96DAC541-7B7A-43D3-8B79-37D633B846F1}">
                <asvg:svgBlip xmlns:asvg="http://schemas.microsoft.com/office/drawing/2016/SVG/main" r:embed="rId13"/>
              </a:ext>
            </a:extLst>
          </a:blip>
          <a:srcRect/>
          <a:stretch/>
        </p:blipFill>
        <p:spPr>
          <a:xfrm>
            <a:off x="6579340" y="2086746"/>
            <a:ext cx="590041" cy="606940"/>
          </a:xfrm>
          <a:prstGeom prst="rect">
            <a:avLst/>
          </a:prstGeom>
          <a:ln>
            <a:noFill/>
          </a:ln>
        </p:spPr>
      </p:pic>
      <p:pic>
        <p:nvPicPr>
          <p:cNvPr id="39" name="Picture 38">
            <a:extLst>
              <a:ext uri="{FF2B5EF4-FFF2-40B4-BE49-F238E27FC236}">
                <a16:creationId xmlns:a16="http://schemas.microsoft.com/office/drawing/2014/main" id="{906E6124-F409-A0AE-85DE-76821EBC5360}"/>
              </a:ext>
            </a:extLst>
          </p:cNvPr>
          <p:cNvPicPr>
            <a:picLocks noChangeAspect="1"/>
          </p:cNvPicPr>
          <p:nvPr/>
        </p:nvPicPr>
        <p:blipFill>
          <a:blip r:embed="rId14"/>
          <a:stretch>
            <a:fillRect/>
          </a:stretch>
        </p:blipFill>
        <p:spPr>
          <a:xfrm>
            <a:off x="370626" y="5381870"/>
            <a:ext cx="640135" cy="640135"/>
          </a:xfrm>
          <a:prstGeom prst="rect">
            <a:avLst/>
          </a:prstGeom>
        </p:spPr>
      </p:pic>
      <p:pic>
        <p:nvPicPr>
          <p:cNvPr id="40" name="Graphic 6">
            <a:extLst>
              <a:ext uri="{FF2B5EF4-FFF2-40B4-BE49-F238E27FC236}">
                <a16:creationId xmlns:a16="http://schemas.microsoft.com/office/drawing/2014/main" id="{7EAFE7FF-67BF-4E90-1127-FBA457DCF36D}"/>
              </a:ext>
            </a:extLst>
          </p:cNvPr>
          <p:cNvPicPr>
            <a:picLocks noChangeAspect="1"/>
          </p:cNvPicPr>
          <p:nvPr/>
        </p:nvPicPr>
        <p:blipFill>
          <a:blip>
            <a:extLst>
              <a:ext uri="{96DAC541-7B7A-43D3-8B79-37D633B846F1}">
                <asvg:svgBlip xmlns:asvg="http://schemas.microsoft.com/office/drawing/2016/SVG/main" r:embed="rId15"/>
              </a:ext>
            </a:extLst>
          </a:blip>
          <a:srcRect/>
          <a:stretch/>
        </p:blipFill>
        <p:spPr>
          <a:xfrm>
            <a:off x="384694" y="4586670"/>
            <a:ext cx="590622" cy="590622"/>
          </a:xfrm>
          <a:prstGeom prst="rect">
            <a:avLst/>
          </a:prstGeom>
          <a:ln>
            <a:noFill/>
          </a:ln>
        </p:spPr>
      </p:pic>
    </p:spTree>
    <p:extLst>
      <p:ext uri="{BB962C8B-B14F-4D97-AF65-F5344CB8AC3E}">
        <p14:creationId xmlns:p14="http://schemas.microsoft.com/office/powerpoint/2010/main" val="7410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E952E-63F8-A2C1-933E-B284B83CC2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62EC96-3368-C66A-C171-94F173E810B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A562EC96-3368-C66A-C171-94F173E810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30" name="Content Placeholder 29">
            <a:extLst>
              <a:ext uri="{FF2B5EF4-FFF2-40B4-BE49-F238E27FC236}">
                <a16:creationId xmlns:a16="http://schemas.microsoft.com/office/drawing/2014/main" id="{5D70CF1B-D4E6-1984-CC7A-83F1214E4EF3}"/>
              </a:ext>
            </a:extLst>
          </p:cNvPr>
          <p:cNvGraphicFramePr>
            <a:graphicFrameLocks noGrp="1"/>
          </p:cNvGraphicFramePr>
          <p:nvPr>
            <p:ph idx="18"/>
          </p:nvPr>
        </p:nvGraphicFramePr>
        <p:xfrm>
          <a:off x="914801" y="957048"/>
          <a:ext cx="10278346" cy="5409138"/>
        </p:xfrm>
        <a:graphic>
          <a:graphicData uri="http://schemas.openxmlformats.org/drawingml/2006/chart">
            <c:chart xmlns:c="http://schemas.openxmlformats.org/drawingml/2006/chart" xmlns:r="http://schemas.openxmlformats.org/officeDocument/2006/relationships" r:id="rId5"/>
          </a:graphicData>
        </a:graphic>
      </p:graphicFrame>
      <p:sp>
        <p:nvSpPr>
          <p:cNvPr id="5" name="Title 4">
            <a:extLst>
              <a:ext uri="{FF2B5EF4-FFF2-40B4-BE49-F238E27FC236}">
                <a16:creationId xmlns:a16="http://schemas.microsoft.com/office/drawing/2014/main" id="{9E62B1FD-5620-0BDC-0390-0DAEE970F48E}"/>
              </a:ext>
            </a:extLst>
          </p:cNvPr>
          <p:cNvSpPr>
            <a:spLocks noGrp="1"/>
          </p:cNvSpPr>
          <p:nvPr>
            <p:ph type="title"/>
          </p:nvPr>
        </p:nvSpPr>
        <p:spPr>
          <a:xfrm>
            <a:off x="384694" y="117821"/>
            <a:ext cx="11338560" cy="768263"/>
          </a:xfrm>
        </p:spPr>
        <p:txBody>
          <a:bodyPr vert="horz" rIns="91440"/>
          <a:lstStyle/>
          <a:p>
            <a:r>
              <a:rPr lang="en-GB" sz="2400" dirty="0"/>
              <a:t>Outside of Weight Management, there are other areas of growth in the private market</a:t>
            </a:r>
          </a:p>
        </p:txBody>
      </p:sp>
      <p:sp>
        <p:nvSpPr>
          <p:cNvPr id="6" name="Footer Placeholder 5">
            <a:extLst>
              <a:ext uri="{FF2B5EF4-FFF2-40B4-BE49-F238E27FC236}">
                <a16:creationId xmlns:a16="http://schemas.microsoft.com/office/drawing/2014/main" id="{A10DD09C-F02B-3729-827C-AC7186001EA6}"/>
              </a:ext>
            </a:extLst>
          </p:cNvPr>
          <p:cNvSpPr>
            <a:spLocks noGrp="1"/>
          </p:cNvSpPr>
          <p:nvPr>
            <p:ph type="ftr" sz="quarter" idx="3"/>
          </p:nvPr>
        </p:nvSpPr>
        <p:spPr>
          <a:xfrm>
            <a:off x="384694" y="6437151"/>
            <a:ext cx="9975042" cy="4446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Times New Roman" panose="02020603050405020304" pitchFamily="18" charset="0"/>
                <a:ea typeface="+mn-ea"/>
                <a:cs typeface="Times New Roman" panose="02020603050405020304" pitchFamily="18" charset="0"/>
              </a:rPr>
              <a:t>Source: IQVIA XBPI/HPAI/SCM – Mar 2026, </a:t>
            </a:r>
            <a:r>
              <a:rPr kumimoji="0" lang="en-US" sz="800" b="0" i="0" u="none" strike="noStrike" kern="1200" cap="none" spc="0" normalizeH="0" baseline="0" noProof="0">
                <a:ln>
                  <a:noFill/>
                </a:ln>
                <a:solidFill>
                  <a:srgbClr val="2B3A42"/>
                </a:solidFill>
                <a:effectLst/>
                <a:uLnTx/>
                <a:uFillTx/>
                <a:latin typeface="Times New Roman" panose="02020603050405020304" pitchFamily="18" charset="0"/>
                <a:ea typeface="+mn-ea"/>
                <a:cs typeface="Times New Roman" panose="02020603050405020304" pitchFamily="18" charset="0"/>
              </a:rPr>
              <a:t>Excludes product supplied by manufacturers directly or distributed via Third Party Logistics (TPL) compan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Times New Roman" panose="02020603050405020304" pitchFamily="18" charset="0"/>
                <a:ea typeface="+mn-ea"/>
                <a:cs typeface="Times New Roman" panose="02020603050405020304" pitchFamily="18" charset="0"/>
              </a:rPr>
              <a:t>Channels include Private pharmacy and hospital purchasing, private prescriptions dispensed in community pharmacy and private usage in NHS hospitals, does not include online digital health providers who also offer NHS services </a:t>
            </a:r>
            <a:br>
              <a:rPr kumimoji="0" lang="en-US" sz="800" b="0" i="0" u="none" strike="noStrike" kern="1200" cap="none" spc="0" normalizeH="0" baseline="0" noProof="0">
                <a:ln>
                  <a:noFill/>
                </a:ln>
                <a:solidFill>
                  <a:srgbClr val="2B3A42"/>
                </a:solidFill>
                <a:effectLst/>
                <a:uLnTx/>
                <a:uFillTx/>
                <a:latin typeface="Times New Roman" panose="02020603050405020304" pitchFamily="18" charset="0"/>
                <a:ea typeface="+mn-ea"/>
                <a:cs typeface="Times New Roman" panose="02020603050405020304" pitchFamily="18" charset="0"/>
              </a:rPr>
            </a:br>
            <a:r>
              <a:rPr kumimoji="0" lang="en-GB" sz="800" b="0" i="0" u="none" strike="noStrike" kern="1200" cap="none" spc="0" normalizeH="0" baseline="0" noProof="0">
                <a:ln>
                  <a:noFill/>
                </a:ln>
                <a:solidFill>
                  <a:srgbClr val="2B3A42"/>
                </a:solidFill>
                <a:effectLst/>
                <a:uLnTx/>
                <a:uFillTx/>
                <a:latin typeface="Times New Roman" panose="02020603050405020304" pitchFamily="18" charset="0"/>
                <a:ea typeface="+mn-ea"/>
                <a:cs typeface="Times New Roman" panose="02020603050405020304" pitchFamily="18" charset="0"/>
              </a:rPr>
              <a:t>UK Customer Newsletter, May 2026 Edition. Copyright © 2026 IQVIA. All rights reserved.</a:t>
            </a:r>
            <a:endParaRPr kumimoji="0" lang="en-US" sz="800" b="0" i="0" u="none" strike="noStrike" kern="1200" cap="none" spc="0" normalizeH="0" baseline="0" noProof="0">
              <a:ln>
                <a:noFill/>
              </a:ln>
              <a:solidFill>
                <a:srgbClr val="2B3A42"/>
              </a:solidFill>
              <a:effectLst/>
              <a:uLnTx/>
              <a:uFillTx/>
              <a:latin typeface="Times New Roman" panose="02020603050405020304" pitchFamily="18" charset="0"/>
              <a:ea typeface="+mn-ea"/>
              <a:cs typeface="Times New Roman" panose="02020603050405020304" pitchFamily="18" charset="0"/>
            </a:endParaRPr>
          </a:p>
        </p:txBody>
      </p:sp>
      <p:sp>
        <p:nvSpPr>
          <p:cNvPr id="31" name="Rectangle 30">
            <a:extLst>
              <a:ext uri="{FF2B5EF4-FFF2-40B4-BE49-F238E27FC236}">
                <a16:creationId xmlns:a16="http://schemas.microsoft.com/office/drawing/2014/main" id="{224CEC7D-EC64-CC17-93A7-0B4DC3D995C4}"/>
              </a:ext>
            </a:extLst>
          </p:cNvPr>
          <p:cNvSpPr/>
          <p:nvPr/>
        </p:nvSpPr>
        <p:spPr>
          <a:xfrm>
            <a:off x="9345453" y="6267298"/>
            <a:ext cx="2736000" cy="169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1" u="none" strike="noStrike" kern="1200" cap="none" spc="0" normalizeH="0" baseline="0" noProof="0">
                <a:ln>
                  <a:noFill/>
                </a:ln>
                <a:solidFill>
                  <a:srgbClr val="2B3A42"/>
                </a:solidFill>
                <a:effectLst/>
                <a:uLnTx/>
                <a:uFillTx/>
                <a:latin typeface="Noto Sans"/>
                <a:ea typeface="+mn-ea"/>
                <a:cs typeface="+mn-cs"/>
              </a:rPr>
              <a:t>*Bubble size represents value in MAT Mar 26</a:t>
            </a:r>
          </a:p>
        </p:txBody>
      </p:sp>
      <p:sp>
        <p:nvSpPr>
          <p:cNvPr id="2" name="TextBox 1">
            <a:extLst>
              <a:ext uri="{FF2B5EF4-FFF2-40B4-BE49-F238E27FC236}">
                <a16:creationId xmlns:a16="http://schemas.microsoft.com/office/drawing/2014/main" id="{4177C4EC-1531-8377-78B9-4F06D91952AC}"/>
              </a:ext>
            </a:extLst>
          </p:cNvPr>
          <p:cNvSpPr txBox="1"/>
          <p:nvPr/>
        </p:nvSpPr>
        <p:spPr>
          <a:xfrm>
            <a:off x="1789865" y="4708565"/>
            <a:ext cx="513282" cy="246221"/>
          </a:xfrm>
          <a:prstGeom prst="rect">
            <a:avLst/>
          </a:prstGeom>
          <a:solidFill>
            <a:schemeClr val="bg1">
              <a:lumMod val="85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B3A42"/>
                </a:solidFill>
                <a:effectLst/>
                <a:uLnTx/>
                <a:uFillTx/>
                <a:latin typeface="Noto Sans"/>
                <a:ea typeface="+mn-ea"/>
                <a:cs typeface="+mn-cs"/>
              </a:rPr>
              <a:t>-0.4%</a:t>
            </a:r>
          </a:p>
        </p:txBody>
      </p:sp>
      <p:sp>
        <p:nvSpPr>
          <p:cNvPr id="3" name="TextBox 2">
            <a:extLst>
              <a:ext uri="{FF2B5EF4-FFF2-40B4-BE49-F238E27FC236}">
                <a16:creationId xmlns:a16="http://schemas.microsoft.com/office/drawing/2014/main" id="{7C5A1AEA-1C44-7D78-04C2-A748E17BF654}"/>
              </a:ext>
            </a:extLst>
          </p:cNvPr>
          <p:cNvSpPr txBox="1"/>
          <p:nvPr/>
        </p:nvSpPr>
        <p:spPr>
          <a:xfrm>
            <a:off x="4788639" y="5459927"/>
            <a:ext cx="513282" cy="246221"/>
          </a:xfrm>
          <a:prstGeom prst="rect">
            <a:avLst/>
          </a:prstGeom>
          <a:solidFill>
            <a:schemeClr val="bg1">
              <a:lumMod val="85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B3A42"/>
                </a:solidFill>
                <a:effectLst/>
                <a:uLnTx/>
                <a:uFillTx/>
                <a:latin typeface="Noto Sans"/>
                <a:ea typeface="+mn-ea"/>
                <a:cs typeface="+mn-cs"/>
              </a:rPr>
              <a:t>-4.4%</a:t>
            </a:r>
          </a:p>
        </p:txBody>
      </p:sp>
    </p:spTree>
    <p:extLst>
      <p:ext uri="{BB962C8B-B14F-4D97-AF65-F5344CB8AC3E}">
        <p14:creationId xmlns:p14="http://schemas.microsoft.com/office/powerpoint/2010/main" val="3242855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26428-F643-B37A-D1CD-E883C694346C}"/>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619198-69DD-6374-610C-2772E7A59B1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8" name="think-cell data - do not delete" hidden="1">
                        <a:extLst>
                          <a:ext uri="{FF2B5EF4-FFF2-40B4-BE49-F238E27FC236}">
                            <a16:creationId xmlns:a16="http://schemas.microsoft.com/office/drawing/2014/main" id="{67619198-69DD-6374-610C-2772E7A59B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ABC9A3D-4A6F-A296-F3C9-BF0E243FADD6}"/>
              </a:ext>
            </a:extLst>
          </p:cNvPr>
          <p:cNvSpPr>
            <a:spLocks noGrp="1"/>
          </p:cNvSpPr>
          <p:nvPr>
            <p:ph type="body" sz="quarter" idx="16"/>
          </p:nvPr>
        </p:nvSpPr>
        <p:spPr/>
        <p:txBody>
          <a:bodyPr/>
          <a:lstStyle/>
          <a:p>
            <a:r>
              <a:rPr lang="en-GB"/>
              <a:t>Category rises by 27.6% to 886k units in 2025 compared to 2024</a:t>
            </a:r>
          </a:p>
        </p:txBody>
      </p:sp>
      <p:sp>
        <p:nvSpPr>
          <p:cNvPr id="4" name="Title 3">
            <a:extLst>
              <a:ext uri="{FF2B5EF4-FFF2-40B4-BE49-F238E27FC236}">
                <a16:creationId xmlns:a16="http://schemas.microsoft.com/office/drawing/2014/main" id="{AB26F801-921C-AED0-4323-6E8538E9F51D}"/>
              </a:ext>
            </a:extLst>
          </p:cNvPr>
          <p:cNvSpPr>
            <a:spLocks noGrp="1"/>
          </p:cNvSpPr>
          <p:nvPr>
            <p:ph type="title"/>
          </p:nvPr>
        </p:nvSpPr>
        <p:spPr/>
        <p:txBody>
          <a:bodyPr vert="horz"/>
          <a:lstStyle/>
          <a:p>
            <a:r>
              <a:rPr lang="en-GB" dirty="0"/>
              <a:t>Retail pharmacies recorded double digit growth in the travel vaccines* in 2025</a:t>
            </a:r>
          </a:p>
        </p:txBody>
      </p:sp>
      <p:sp>
        <p:nvSpPr>
          <p:cNvPr id="5" name="Footer Placeholder 4">
            <a:extLst>
              <a:ext uri="{FF2B5EF4-FFF2-40B4-BE49-F238E27FC236}">
                <a16:creationId xmlns:a16="http://schemas.microsoft.com/office/drawing/2014/main" id="{43A7917C-048E-9BFF-3188-1811B8FBB399}"/>
              </a:ext>
            </a:extLst>
          </p:cNvPr>
          <p:cNvSpPr>
            <a:spLocks noGrp="1"/>
          </p:cNvSpPr>
          <p:nvPr>
            <p:ph type="ftr" sz="quarter" idx="3"/>
          </p:nvPr>
        </p:nvSpPr>
        <p:spPr>
          <a:xfrm>
            <a:off x="384176" y="6393054"/>
            <a:ext cx="9738019" cy="3070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Noto Sans"/>
                <a:ea typeface="+mn-ea"/>
                <a:cs typeface="+mn-cs"/>
              </a:rPr>
              <a:t>Source: IQVIA Sell-in data December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Noto Sans"/>
                <a:ea typeface="+mn-ea"/>
                <a:cs typeface="+mn-cs"/>
              </a:rPr>
              <a:t>*Includes Typhoid, Hepatitis, Cholera, Rabies, Yellow Fever, Japanese Encephalitis, Tick Based Encephalitis, Dengue, Chikungunya vaccines. Excludes TB, Tetanus and Meningitis where there is a larger volume through core NHS vaccination programs</a:t>
            </a:r>
          </a:p>
        </p:txBody>
      </p:sp>
      <p:grpSp>
        <p:nvGrpSpPr>
          <p:cNvPr id="10" name="Group 9">
            <a:extLst>
              <a:ext uri="{FF2B5EF4-FFF2-40B4-BE49-F238E27FC236}">
                <a16:creationId xmlns:a16="http://schemas.microsoft.com/office/drawing/2014/main" id="{F261E4FC-B657-5EB1-A1E0-9763B3D15902}"/>
              </a:ext>
            </a:extLst>
          </p:cNvPr>
          <p:cNvGrpSpPr/>
          <p:nvPr/>
        </p:nvGrpSpPr>
        <p:grpSpPr>
          <a:xfrm flipH="1" flipV="1">
            <a:off x="7986408" y="1844331"/>
            <a:ext cx="3736844" cy="933159"/>
            <a:chOff x="378664" y="1716000"/>
            <a:chExt cx="4354668" cy="1072245"/>
          </a:xfrm>
        </p:grpSpPr>
        <p:sp>
          <p:nvSpPr>
            <p:cNvPr id="11" name="Arc 10">
              <a:extLst>
                <a:ext uri="{FF2B5EF4-FFF2-40B4-BE49-F238E27FC236}">
                  <a16:creationId xmlns:a16="http://schemas.microsoft.com/office/drawing/2014/main" id="{6C87C551-D52C-7426-AE7F-81B5525C1B6B}"/>
                </a:ext>
              </a:extLst>
            </p:cNvPr>
            <p:cNvSpPr/>
            <p:nvPr/>
          </p:nvSpPr>
          <p:spPr>
            <a:xfrm flipH="1">
              <a:off x="378664" y="1716000"/>
              <a:ext cx="1070167" cy="1072245"/>
            </a:xfrm>
            <a:prstGeom prst="arc">
              <a:avLst>
                <a:gd name="adj1" fmla="val 16200000"/>
                <a:gd name="adj2" fmla="val 5498192"/>
              </a:avLst>
            </a:prstGeom>
            <a:ln w="28575"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cxnSp>
          <p:nvCxnSpPr>
            <p:cNvPr id="12" name="Straight Connector 11">
              <a:extLst>
                <a:ext uri="{FF2B5EF4-FFF2-40B4-BE49-F238E27FC236}">
                  <a16:creationId xmlns:a16="http://schemas.microsoft.com/office/drawing/2014/main" id="{1E8D719A-9401-01A3-31CF-5E3CBC5904C9}"/>
                </a:ext>
              </a:extLst>
            </p:cNvPr>
            <p:cNvCxnSpPr>
              <a:cxnSpLocks/>
            </p:cNvCxnSpPr>
            <p:nvPr/>
          </p:nvCxnSpPr>
          <p:spPr>
            <a:xfrm flipV="1">
              <a:off x="913986" y="2788245"/>
              <a:ext cx="3819346" cy="0"/>
            </a:xfrm>
            <a:prstGeom prst="line">
              <a:avLst/>
            </a:prstGeom>
            <a:ln w="28575" cap="rnd">
              <a:solidFill>
                <a:schemeClr val="accent2"/>
              </a:solidFill>
              <a:round/>
            </a:ln>
          </p:spPr>
          <p:style>
            <a:lnRef idx="1">
              <a:schemeClr val="accent1"/>
            </a:lnRef>
            <a:fillRef idx="0">
              <a:schemeClr val="accent1"/>
            </a:fillRef>
            <a:effectRef idx="0">
              <a:schemeClr val="accent1"/>
            </a:effectRef>
            <a:fontRef idx="minor">
              <a:schemeClr val="tx1"/>
            </a:fontRef>
          </p:style>
        </p:cxnSp>
      </p:grpSp>
      <p:sp>
        <p:nvSpPr>
          <p:cNvPr id="14" name="Rounded Rectangle 69">
            <a:extLst>
              <a:ext uri="{FF2B5EF4-FFF2-40B4-BE49-F238E27FC236}">
                <a16:creationId xmlns:a16="http://schemas.microsoft.com/office/drawing/2014/main" id="{97DC5926-7BA3-4A7F-41A5-801FB454E9FE}"/>
              </a:ext>
            </a:extLst>
          </p:cNvPr>
          <p:cNvSpPr>
            <a:spLocks/>
          </p:cNvSpPr>
          <p:nvPr/>
        </p:nvSpPr>
        <p:spPr>
          <a:xfrm>
            <a:off x="8080506" y="2092172"/>
            <a:ext cx="3277471" cy="1249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005587"/>
                </a:solidFill>
                <a:effectLst/>
                <a:uLnTx/>
                <a:uFillTx/>
                <a:latin typeface="Arial" panose="020B0604020202020204" pitchFamily="34" charset="0"/>
                <a:ea typeface="+mn-ea"/>
                <a:cs typeface="Arial" panose="020B0604020202020204" pitchFamily="34" charset="0"/>
              </a:rPr>
              <a:t>Travel Vaccines</a:t>
            </a:r>
          </a:p>
          <a:p>
            <a:pPr marL="0" marR="0" lvl="0" indent="0" algn="ctr" defTabSz="914400" rtl="0" eaLnBrk="1" fontAlgn="base" latinLnBrk="0" hangingPunct="1">
              <a:lnSpc>
                <a:spcPct val="100000"/>
              </a:lnSpc>
              <a:spcBef>
                <a:spcPts val="0"/>
              </a:spcBef>
              <a:spcAft>
                <a:spcPts val="600"/>
              </a:spcAft>
              <a:buClrTx/>
              <a:buSzTx/>
              <a:buFontTx/>
              <a:buNone/>
              <a:tabLst/>
              <a:defRPr/>
            </a:pPr>
            <a:endParaRPr kumimoji="0" lang="en-US" sz="2000" b="1" i="0" u="none" strike="noStrike" kern="1200" cap="none" spc="0" normalizeH="0" baseline="0" noProof="0">
              <a:ln>
                <a:noFill/>
              </a:ln>
              <a:solidFill>
                <a:srgbClr val="005587"/>
              </a:solidFill>
              <a:effectLst/>
              <a:uLnTx/>
              <a:uFillTx/>
              <a:latin typeface="Arial" panose="020B0604020202020204" pitchFamily="34" charset="0"/>
              <a:ea typeface="+mn-ea"/>
              <a:cs typeface="Arial" panose="020B0604020202020204" pitchFamily="34" charset="0"/>
            </a:endParaRPr>
          </a:p>
          <a:p>
            <a:pPr marL="182880" marR="0" lvl="0" indent="-18288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Arial" panose="020B0604020202020204" pitchFamily="34" charset="0"/>
                <a:ea typeface="+mn-ea"/>
                <a:cs typeface="Arial" panose="020B0604020202020204" pitchFamily="34" charset="0"/>
              </a:rPr>
              <a:t>Size of travel vaccines category is 0.9m units in 12 months to Dec 2025.</a:t>
            </a:r>
          </a:p>
          <a:p>
            <a:pPr marL="182880" marR="0" lvl="0" indent="-18288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Arial" panose="020B0604020202020204" pitchFamily="34" charset="0"/>
                <a:ea typeface="+mn-ea"/>
                <a:cs typeface="Arial" panose="020B0604020202020204" pitchFamily="34" charset="0"/>
              </a:rPr>
              <a:t>Category purchasing peaks from June to Aug, with a secondary peak in Dec to Jan.</a:t>
            </a:r>
          </a:p>
          <a:p>
            <a:pPr marL="182880" marR="0" lvl="0" indent="-18288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Arial" panose="020B0604020202020204" pitchFamily="34" charset="0"/>
                <a:ea typeface="+mn-ea"/>
                <a:cs typeface="Arial" panose="020B0604020202020204" pitchFamily="34" charset="0"/>
              </a:rPr>
              <a:t>Category has grown by 27.6% in 2025 compared to 2024.</a:t>
            </a:r>
          </a:p>
          <a:p>
            <a:pPr marL="182880" marR="0" lvl="0" indent="-18288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Arial" panose="020B0604020202020204" pitchFamily="34" charset="0"/>
                <a:ea typeface="+mn-ea"/>
                <a:cs typeface="Arial" panose="020B0604020202020204" pitchFamily="34" charset="0"/>
              </a:rPr>
              <a:t>Growth is driven by Rabies, Hepatitis and Typhoid vaccines. </a:t>
            </a:r>
          </a:p>
          <a:p>
            <a:pPr marL="182880" marR="0" lvl="0" indent="-18288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Arial" panose="020B0604020202020204" pitchFamily="34" charset="0"/>
                <a:ea typeface="+mn-ea"/>
                <a:cs typeface="Arial" panose="020B0604020202020204" pitchFamily="34" charset="0"/>
              </a:rPr>
              <a:t>Two new vaccines for Chikungunya have been released in 2025.</a:t>
            </a:r>
            <a:endParaRPr kumimoji="0" lang="en-US" sz="1400" b="0" i="0" u="none" strike="noStrike" kern="1200" cap="none" spc="0" normalizeH="0" baseline="0" noProof="0">
              <a:ln>
                <a:noFill/>
              </a:ln>
              <a:solidFill>
                <a:srgbClr val="2B3A42"/>
              </a:solidFill>
              <a:effectLst/>
              <a:uLnTx/>
              <a:uFillTx/>
              <a:latin typeface="Noto Sans"/>
              <a:ea typeface="+mn-ea"/>
              <a:cs typeface="+mn-cs"/>
            </a:endParaRPr>
          </a:p>
        </p:txBody>
      </p:sp>
      <p:pic>
        <p:nvPicPr>
          <p:cNvPr id="16" name="Graphic 15">
            <a:extLst>
              <a:ext uri="{FF2B5EF4-FFF2-40B4-BE49-F238E27FC236}">
                <a16:creationId xmlns:a16="http://schemas.microsoft.com/office/drawing/2014/main" id="{DAE0CEE4-568E-1143-6C10-84D11921814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923436" y="2032462"/>
            <a:ext cx="640080" cy="640080"/>
          </a:xfrm>
          <a:prstGeom prst="rect">
            <a:avLst/>
          </a:prstGeom>
        </p:spPr>
      </p:pic>
      <p:graphicFrame>
        <p:nvGraphicFramePr>
          <p:cNvPr id="7" name="Chart 6">
            <a:extLst>
              <a:ext uri="{FF2B5EF4-FFF2-40B4-BE49-F238E27FC236}">
                <a16:creationId xmlns:a16="http://schemas.microsoft.com/office/drawing/2014/main" id="{37DDE6AA-5C09-6565-AC7F-9B571CBF00C2}"/>
              </a:ext>
            </a:extLst>
          </p:cNvPr>
          <p:cNvGraphicFramePr/>
          <p:nvPr/>
        </p:nvGraphicFramePr>
        <p:xfrm>
          <a:off x="384174" y="1495294"/>
          <a:ext cx="7339462" cy="489474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7689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4CCD4-E364-EE8D-B3EE-F490716D2DB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A3E8CE-BB2B-89D0-D34F-8776E19AB9A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think-cell data - do not delete" hidden="1">
                        <a:extLst>
                          <a:ext uri="{FF2B5EF4-FFF2-40B4-BE49-F238E27FC236}">
                            <a16:creationId xmlns:a16="http://schemas.microsoft.com/office/drawing/2014/main" id="{0DA3E8CE-BB2B-89D0-D34F-8776E19AB9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Content Placeholder 9">
            <a:extLst>
              <a:ext uri="{FF2B5EF4-FFF2-40B4-BE49-F238E27FC236}">
                <a16:creationId xmlns:a16="http://schemas.microsoft.com/office/drawing/2014/main" id="{65FB8D2A-4266-29D9-60BA-AC5746493FDF}"/>
              </a:ext>
            </a:extLst>
          </p:cNvPr>
          <p:cNvGraphicFramePr>
            <a:graphicFrameLocks noGrp="1"/>
          </p:cNvGraphicFramePr>
          <p:nvPr>
            <p:ph idx="17"/>
          </p:nvPr>
        </p:nvGraphicFramePr>
        <p:xfrm>
          <a:off x="384175" y="1703388"/>
          <a:ext cx="11339513" cy="4576762"/>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7">
            <a:extLst>
              <a:ext uri="{FF2B5EF4-FFF2-40B4-BE49-F238E27FC236}">
                <a16:creationId xmlns:a16="http://schemas.microsoft.com/office/drawing/2014/main" id="{DCB70AE2-13A3-27B7-998E-F7F1F77BD6B7}"/>
              </a:ext>
            </a:extLst>
          </p:cNvPr>
          <p:cNvSpPr>
            <a:spLocks noGrp="1"/>
          </p:cNvSpPr>
          <p:nvPr>
            <p:ph type="body" sz="quarter" idx="16"/>
          </p:nvPr>
        </p:nvSpPr>
        <p:spPr/>
        <p:txBody>
          <a:bodyPr/>
          <a:lstStyle/>
          <a:p>
            <a:r>
              <a:rPr lang="en-GB"/>
              <a:t>All the categories except Dengue have seen an increase in 2025</a:t>
            </a:r>
          </a:p>
        </p:txBody>
      </p:sp>
      <p:sp>
        <p:nvSpPr>
          <p:cNvPr id="7" name="Title 6">
            <a:extLst>
              <a:ext uri="{FF2B5EF4-FFF2-40B4-BE49-F238E27FC236}">
                <a16:creationId xmlns:a16="http://schemas.microsoft.com/office/drawing/2014/main" id="{62A142CD-AF5E-A42F-5F87-84CEA504DE51}"/>
              </a:ext>
            </a:extLst>
          </p:cNvPr>
          <p:cNvSpPr>
            <a:spLocks noGrp="1"/>
          </p:cNvSpPr>
          <p:nvPr>
            <p:ph type="title"/>
          </p:nvPr>
        </p:nvSpPr>
        <p:spPr/>
        <p:txBody>
          <a:bodyPr vert="horz"/>
          <a:lstStyle/>
          <a:p>
            <a:r>
              <a:rPr lang="en-GB"/>
              <a:t>Hepatitis, Rabies and Typhoid are the leading travel vaccines categories </a:t>
            </a:r>
          </a:p>
        </p:txBody>
      </p:sp>
      <p:sp>
        <p:nvSpPr>
          <p:cNvPr id="6" name="Footer Placeholder 5">
            <a:extLst>
              <a:ext uri="{FF2B5EF4-FFF2-40B4-BE49-F238E27FC236}">
                <a16:creationId xmlns:a16="http://schemas.microsoft.com/office/drawing/2014/main" id="{C2BC5E7D-A3E5-7D6C-44E4-C60B6D9286C0}"/>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Noto Sans"/>
                <a:ea typeface="+mn-ea"/>
                <a:cs typeface="+mn-cs"/>
              </a:rPr>
              <a:t>Source: IQVIA Sell-in data December 2025</a:t>
            </a:r>
          </a:p>
        </p:txBody>
      </p:sp>
      <p:graphicFrame>
        <p:nvGraphicFramePr>
          <p:cNvPr id="12" name="Table 11">
            <a:extLst>
              <a:ext uri="{FF2B5EF4-FFF2-40B4-BE49-F238E27FC236}">
                <a16:creationId xmlns:a16="http://schemas.microsoft.com/office/drawing/2014/main" id="{BAAD81E6-C2BC-4F8B-EBC2-A010A427773D}"/>
              </a:ext>
            </a:extLst>
          </p:cNvPr>
          <p:cNvGraphicFramePr>
            <a:graphicFrameLocks noGrp="1"/>
          </p:cNvGraphicFramePr>
          <p:nvPr/>
        </p:nvGraphicFramePr>
        <p:xfrm>
          <a:off x="1237785" y="2284443"/>
          <a:ext cx="9902286" cy="624130"/>
        </p:xfrm>
        <a:graphic>
          <a:graphicData uri="http://schemas.openxmlformats.org/drawingml/2006/table">
            <a:tbl>
              <a:tblPr firstRow="1" bandRow="1">
                <a:tableStyleId>{5C22544A-7EE6-4342-B048-85BDC9FD1C3A}</a:tableStyleId>
              </a:tblPr>
              <a:tblGrid>
                <a:gridCol w="1100254">
                  <a:extLst>
                    <a:ext uri="{9D8B030D-6E8A-4147-A177-3AD203B41FA5}">
                      <a16:colId xmlns:a16="http://schemas.microsoft.com/office/drawing/2014/main" val="3922536464"/>
                    </a:ext>
                  </a:extLst>
                </a:gridCol>
                <a:gridCol w="1100254">
                  <a:extLst>
                    <a:ext uri="{9D8B030D-6E8A-4147-A177-3AD203B41FA5}">
                      <a16:colId xmlns:a16="http://schemas.microsoft.com/office/drawing/2014/main" val="2789776700"/>
                    </a:ext>
                  </a:extLst>
                </a:gridCol>
                <a:gridCol w="1100254">
                  <a:extLst>
                    <a:ext uri="{9D8B030D-6E8A-4147-A177-3AD203B41FA5}">
                      <a16:colId xmlns:a16="http://schemas.microsoft.com/office/drawing/2014/main" val="1912350672"/>
                    </a:ext>
                  </a:extLst>
                </a:gridCol>
                <a:gridCol w="1100254">
                  <a:extLst>
                    <a:ext uri="{9D8B030D-6E8A-4147-A177-3AD203B41FA5}">
                      <a16:colId xmlns:a16="http://schemas.microsoft.com/office/drawing/2014/main" val="549148235"/>
                    </a:ext>
                  </a:extLst>
                </a:gridCol>
                <a:gridCol w="1100254">
                  <a:extLst>
                    <a:ext uri="{9D8B030D-6E8A-4147-A177-3AD203B41FA5}">
                      <a16:colId xmlns:a16="http://schemas.microsoft.com/office/drawing/2014/main" val="3769873203"/>
                    </a:ext>
                  </a:extLst>
                </a:gridCol>
                <a:gridCol w="1100254">
                  <a:extLst>
                    <a:ext uri="{9D8B030D-6E8A-4147-A177-3AD203B41FA5}">
                      <a16:colId xmlns:a16="http://schemas.microsoft.com/office/drawing/2014/main" val="3534425313"/>
                    </a:ext>
                  </a:extLst>
                </a:gridCol>
                <a:gridCol w="1100254">
                  <a:extLst>
                    <a:ext uri="{9D8B030D-6E8A-4147-A177-3AD203B41FA5}">
                      <a16:colId xmlns:a16="http://schemas.microsoft.com/office/drawing/2014/main" val="3166920955"/>
                    </a:ext>
                  </a:extLst>
                </a:gridCol>
                <a:gridCol w="1100254">
                  <a:extLst>
                    <a:ext uri="{9D8B030D-6E8A-4147-A177-3AD203B41FA5}">
                      <a16:colId xmlns:a16="http://schemas.microsoft.com/office/drawing/2014/main" val="1332633686"/>
                    </a:ext>
                  </a:extLst>
                </a:gridCol>
                <a:gridCol w="1100254">
                  <a:extLst>
                    <a:ext uri="{9D8B030D-6E8A-4147-A177-3AD203B41FA5}">
                      <a16:colId xmlns:a16="http://schemas.microsoft.com/office/drawing/2014/main" val="887065782"/>
                    </a:ext>
                  </a:extLst>
                </a:gridCol>
              </a:tblGrid>
              <a:tr h="312065">
                <a:tc>
                  <a:txBody>
                    <a:bodyPr/>
                    <a:lstStyle/>
                    <a:p>
                      <a:pPr algn="ctr" fontAlgn="b">
                        <a:buNone/>
                      </a:pPr>
                      <a:r>
                        <a:rPr lang="en-GB" sz="1400" b="0" i="0" u="none" strike="noStrike">
                          <a:solidFill>
                            <a:srgbClr val="00B050"/>
                          </a:solidFill>
                          <a:effectLst/>
                          <a:latin typeface="Aptos Narrow" panose="020B0004020202020204" pitchFamily="34" charset="0"/>
                        </a:rPr>
                        <a:t>+12.5%</a:t>
                      </a:r>
                    </a:p>
                  </a:txBody>
                  <a:tcPr marL="7620" marR="7620" marT="7620" marB="0" anchor="b">
                    <a:noFill/>
                  </a:tcPr>
                </a:tc>
                <a:tc>
                  <a:txBody>
                    <a:bodyPr/>
                    <a:lstStyle/>
                    <a:p>
                      <a:pPr algn="ctr" fontAlgn="b">
                        <a:buNone/>
                      </a:pPr>
                      <a:r>
                        <a:rPr lang="en-GB" sz="1400" b="0" i="0" u="none" strike="noStrike">
                          <a:solidFill>
                            <a:srgbClr val="00B050"/>
                          </a:solidFill>
                          <a:effectLst/>
                          <a:latin typeface="Aptos Narrow" panose="020B0004020202020204" pitchFamily="34" charset="0"/>
                        </a:rPr>
                        <a:t>+79.1%</a:t>
                      </a:r>
                    </a:p>
                  </a:txBody>
                  <a:tcPr marL="7620" marR="7620" marT="7620" marB="0" anchor="b">
                    <a:noFill/>
                  </a:tcPr>
                </a:tc>
                <a:tc>
                  <a:txBody>
                    <a:bodyPr/>
                    <a:lstStyle/>
                    <a:p>
                      <a:pPr algn="ctr" fontAlgn="b">
                        <a:buNone/>
                      </a:pPr>
                      <a:r>
                        <a:rPr lang="en-GB" sz="1400" b="0" i="0" u="none" strike="noStrike">
                          <a:solidFill>
                            <a:srgbClr val="00B050"/>
                          </a:solidFill>
                          <a:effectLst/>
                          <a:latin typeface="Aptos Narrow" panose="020B0004020202020204" pitchFamily="34" charset="0"/>
                        </a:rPr>
                        <a:t>+15.0%</a:t>
                      </a:r>
                    </a:p>
                  </a:txBody>
                  <a:tcPr marL="7620" marR="7620" marT="7620" marB="0" anchor="b">
                    <a:noFill/>
                  </a:tcPr>
                </a:tc>
                <a:tc>
                  <a:txBody>
                    <a:bodyPr/>
                    <a:lstStyle/>
                    <a:p>
                      <a:pPr algn="ctr" fontAlgn="b">
                        <a:buNone/>
                      </a:pPr>
                      <a:r>
                        <a:rPr lang="en-GB" sz="1400" b="0" i="0" u="none" strike="noStrike">
                          <a:solidFill>
                            <a:srgbClr val="00B050"/>
                          </a:solidFill>
                          <a:effectLst/>
                          <a:latin typeface="Aptos Narrow" panose="020B0004020202020204" pitchFamily="34" charset="0"/>
                        </a:rPr>
                        <a:t>+23.6%</a:t>
                      </a:r>
                    </a:p>
                  </a:txBody>
                  <a:tcPr marL="7620" marR="7620" marT="7620" marB="0" anchor="b">
                    <a:noFill/>
                  </a:tcPr>
                </a:tc>
                <a:tc>
                  <a:txBody>
                    <a:bodyPr/>
                    <a:lstStyle/>
                    <a:p>
                      <a:pPr algn="ctr" fontAlgn="b">
                        <a:buNone/>
                      </a:pPr>
                      <a:r>
                        <a:rPr lang="en-GB" sz="1400" b="0" i="0" u="none" strike="noStrike">
                          <a:solidFill>
                            <a:srgbClr val="00B050"/>
                          </a:solidFill>
                          <a:effectLst/>
                          <a:latin typeface="Aptos Narrow" panose="020B0004020202020204" pitchFamily="34" charset="0"/>
                        </a:rPr>
                        <a:t>+39.5%</a:t>
                      </a:r>
                    </a:p>
                  </a:txBody>
                  <a:tcPr marL="7620" marR="7620" marT="7620" marB="0" anchor="b">
                    <a:noFill/>
                  </a:tcPr>
                </a:tc>
                <a:tc>
                  <a:txBody>
                    <a:bodyPr/>
                    <a:lstStyle/>
                    <a:p>
                      <a:pPr algn="ctr" fontAlgn="b">
                        <a:buNone/>
                      </a:pPr>
                      <a:r>
                        <a:rPr lang="en-GB" sz="1400" b="0" i="0" u="none" strike="noStrike">
                          <a:solidFill>
                            <a:srgbClr val="00B050"/>
                          </a:solidFill>
                          <a:effectLst/>
                          <a:latin typeface="Aptos Narrow" panose="020B0004020202020204" pitchFamily="34" charset="0"/>
                        </a:rPr>
                        <a:t>+15.9%</a:t>
                      </a:r>
                    </a:p>
                  </a:txBody>
                  <a:tcPr marL="7620" marR="7620" marT="7620" marB="0" anchor="b">
                    <a:noFill/>
                  </a:tcPr>
                </a:tc>
                <a:tc>
                  <a:txBody>
                    <a:bodyPr/>
                    <a:lstStyle/>
                    <a:p>
                      <a:pPr algn="ctr" fontAlgn="b">
                        <a:buNone/>
                      </a:pPr>
                      <a:r>
                        <a:rPr lang="en-GB" sz="1400" b="0" i="0" u="none" strike="noStrike">
                          <a:solidFill>
                            <a:srgbClr val="00B050"/>
                          </a:solidFill>
                          <a:effectLst/>
                          <a:latin typeface="Aptos Narrow" panose="020B0004020202020204" pitchFamily="34" charset="0"/>
                        </a:rPr>
                        <a:t>+38.7%</a:t>
                      </a:r>
                    </a:p>
                  </a:txBody>
                  <a:tcPr marL="7620" marR="7620" marT="7620" marB="0" anchor="b">
                    <a:noFill/>
                  </a:tcPr>
                </a:tc>
                <a:tc>
                  <a:txBody>
                    <a:bodyPr/>
                    <a:lstStyle/>
                    <a:p>
                      <a:pPr algn="ctr" fontAlgn="b">
                        <a:buNone/>
                      </a:pPr>
                      <a:r>
                        <a:rPr lang="en-GB" sz="1400" b="0" i="0" u="none" strike="noStrike">
                          <a:solidFill>
                            <a:srgbClr val="FF0000"/>
                          </a:solidFill>
                          <a:effectLst/>
                          <a:latin typeface="Aptos Narrow" panose="020B0004020202020204" pitchFamily="34" charset="0"/>
                        </a:rPr>
                        <a:t>-10.0%</a:t>
                      </a:r>
                    </a:p>
                  </a:txBody>
                  <a:tcPr marL="7620" marR="7620" marT="7620" marB="0" anchor="b">
                    <a:noFill/>
                  </a:tcPr>
                </a:tc>
                <a:tc>
                  <a:txBody>
                    <a:bodyPr/>
                    <a:lstStyle/>
                    <a:p>
                      <a:pPr algn="ctr" fontAlgn="b">
                        <a:buNone/>
                      </a:pPr>
                      <a:r>
                        <a:rPr lang="en-GB" sz="1400" b="0" i="0" u="none" strike="noStrike">
                          <a:solidFill>
                            <a:srgbClr val="000000"/>
                          </a:solidFill>
                          <a:effectLst/>
                          <a:latin typeface="Aptos Narrow" panose="020B0004020202020204" pitchFamily="34" charset="0"/>
                        </a:rPr>
                        <a:t>-</a:t>
                      </a:r>
                    </a:p>
                  </a:txBody>
                  <a:tcPr marL="7620" marR="7620" marT="7620" marB="0" anchor="b">
                    <a:noFill/>
                  </a:tcPr>
                </a:tc>
                <a:extLst>
                  <a:ext uri="{0D108BD9-81ED-4DB2-BD59-A6C34878D82A}">
                    <a16:rowId xmlns:a16="http://schemas.microsoft.com/office/drawing/2014/main" val="431882999"/>
                  </a:ext>
                </a:extLst>
              </a:tr>
              <a:tr h="312065">
                <a:tc>
                  <a:txBody>
                    <a:bodyPr/>
                    <a:lstStyle/>
                    <a:p>
                      <a:pPr algn="ctr" fontAlgn="b">
                        <a:buNone/>
                      </a:pPr>
                      <a:r>
                        <a:rPr lang="en-GB" sz="1400" b="0" i="0" u="none" strike="noStrike">
                          <a:solidFill>
                            <a:srgbClr val="00B050"/>
                          </a:solidFill>
                          <a:effectLst/>
                          <a:latin typeface="Aptos Narrow" panose="020B0004020202020204" pitchFamily="34" charset="0"/>
                        </a:rPr>
                        <a:t>(+34k)</a:t>
                      </a:r>
                    </a:p>
                  </a:txBody>
                  <a:tcPr marL="7620" marR="7620" marT="7620" marB="0">
                    <a:noFill/>
                  </a:tcPr>
                </a:tc>
                <a:tc>
                  <a:txBody>
                    <a:bodyPr/>
                    <a:lstStyle/>
                    <a:p>
                      <a:pPr algn="ctr" fontAlgn="b">
                        <a:buNone/>
                      </a:pPr>
                      <a:r>
                        <a:rPr lang="en-GB" sz="1400" b="0" i="0" u="none" strike="noStrike">
                          <a:solidFill>
                            <a:srgbClr val="00B050"/>
                          </a:solidFill>
                          <a:effectLst/>
                          <a:latin typeface="Aptos Narrow" panose="020B0004020202020204" pitchFamily="34" charset="0"/>
                        </a:rPr>
                        <a:t>(+89k)</a:t>
                      </a:r>
                    </a:p>
                  </a:txBody>
                  <a:tcPr marL="7620" marR="7620" marT="7620" marB="0">
                    <a:noFill/>
                  </a:tcPr>
                </a:tc>
                <a:tc>
                  <a:txBody>
                    <a:bodyPr/>
                    <a:lstStyle/>
                    <a:p>
                      <a:pPr algn="ctr" fontAlgn="b">
                        <a:buNone/>
                      </a:pPr>
                      <a:r>
                        <a:rPr lang="en-GB" sz="1400" b="0" i="0" u="none" strike="noStrike">
                          <a:solidFill>
                            <a:srgbClr val="00B050"/>
                          </a:solidFill>
                          <a:effectLst/>
                          <a:latin typeface="Aptos Narrow" panose="020B0004020202020204" pitchFamily="34" charset="0"/>
                        </a:rPr>
                        <a:t>(+23k)</a:t>
                      </a:r>
                    </a:p>
                  </a:txBody>
                  <a:tcPr marL="7620" marR="7620" marT="7620" marB="0">
                    <a:noFill/>
                  </a:tcPr>
                </a:tc>
                <a:tc>
                  <a:txBody>
                    <a:bodyPr/>
                    <a:lstStyle/>
                    <a:p>
                      <a:pPr algn="ctr" fontAlgn="b">
                        <a:buNone/>
                      </a:pPr>
                      <a:r>
                        <a:rPr lang="en-GB" sz="1400" b="0" i="0" u="none" strike="noStrike">
                          <a:solidFill>
                            <a:srgbClr val="00B050"/>
                          </a:solidFill>
                          <a:effectLst/>
                          <a:latin typeface="Aptos Narrow" panose="020B0004020202020204" pitchFamily="34" charset="0"/>
                        </a:rPr>
                        <a:t>(+18k)</a:t>
                      </a:r>
                    </a:p>
                  </a:txBody>
                  <a:tcPr marL="7620" marR="7620" marT="7620" marB="0">
                    <a:noFill/>
                  </a:tcPr>
                </a:tc>
                <a:tc>
                  <a:txBody>
                    <a:bodyPr/>
                    <a:lstStyle/>
                    <a:p>
                      <a:pPr algn="ctr" fontAlgn="b">
                        <a:buNone/>
                      </a:pPr>
                      <a:r>
                        <a:rPr lang="en-GB" sz="1400" b="0" i="0" u="none" strike="noStrike">
                          <a:solidFill>
                            <a:srgbClr val="00B050"/>
                          </a:solidFill>
                          <a:effectLst/>
                          <a:latin typeface="Aptos Narrow" panose="020B0004020202020204" pitchFamily="34" charset="0"/>
                        </a:rPr>
                        <a:t>(+19k)</a:t>
                      </a:r>
                    </a:p>
                  </a:txBody>
                  <a:tcPr marL="7620" marR="7620" marT="7620" marB="0">
                    <a:noFill/>
                  </a:tcPr>
                </a:tc>
                <a:tc>
                  <a:txBody>
                    <a:bodyPr/>
                    <a:lstStyle/>
                    <a:p>
                      <a:pPr algn="ctr" fontAlgn="b">
                        <a:buNone/>
                      </a:pPr>
                      <a:r>
                        <a:rPr lang="en-GB" sz="1400" b="0" i="0" u="none" strike="noStrike">
                          <a:solidFill>
                            <a:srgbClr val="00B050"/>
                          </a:solidFill>
                          <a:effectLst/>
                          <a:latin typeface="Aptos Narrow" panose="020B0004020202020204" pitchFamily="34" charset="0"/>
                        </a:rPr>
                        <a:t>(+3k)</a:t>
                      </a:r>
                    </a:p>
                  </a:txBody>
                  <a:tcPr marL="7620" marR="7620" marT="7620" marB="0">
                    <a:noFill/>
                  </a:tcPr>
                </a:tc>
                <a:tc>
                  <a:txBody>
                    <a:bodyPr/>
                    <a:lstStyle/>
                    <a:p>
                      <a:pPr algn="ctr" fontAlgn="b">
                        <a:buNone/>
                      </a:pPr>
                      <a:r>
                        <a:rPr lang="en-GB" sz="1400" b="0" i="0" u="none" strike="noStrike">
                          <a:solidFill>
                            <a:srgbClr val="00B050"/>
                          </a:solidFill>
                          <a:effectLst/>
                          <a:latin typeface="Aptos Narrow" panose="020B0004020202020204" pitchFamily="34" charset="0"/>
                        </a:rPr>
                        <a:t>(+5k)</a:t>
                      </a:r>
                    </a:p>
                  </a:txBody>
                  <a:tcPr marL="7620" marR="7620" marT="7620" marB="0">
                    <a:noFill/>
                  </a:tcPr>
                </a:tc>
                <a:tc>
                  <a:txBody>
                    <a:bodyPr/>
                    <a:lstStyle/>
                    <a:p>
                      <a:pPr algn="ctr" fontAlgn="b">
                        <a:buNone/>
                      </a:pPr>
                      <a:r>
                        <a:rPr lang="en-GB" sz="1400" b="0" i="0" u="none" strike="noStrike">
                          <a:solidFill>
                            <a:srgbClr val="FF0000"/>
                          </a:solidFill>
                          <a:effectLst/>
                          <a:latin typeface="Aptos Narrow" panose="020B0004020202020204" pitchFamily="34" charset="0"/>
                        </a:rPr>
                        <a:t>(-1k)</a:t>
                      </a:r>
                    </a:p>
                  </a:txBody>
                  <a:tcPr marL="7620" marR="7620" marT="7620" marB="0">
                    <a:noFill/>
                  </a:tcPr>
                </a:tc>
                <a:tc>
                  <a:txBody>
                    <a:bodyPr/>
                    <a:lstStyle/>
                    <a:p>
                      <a:pPr algn="ctr" fontAlgn="b">
                        <a:buNone/>
                      </a:pPr>
                      <a:r>
                        <a:rPr lang="en-GB" sz="1400" b="0" i="0" u="none" strike="noStrike">
                          <a:solidFill>
                            <a:srgbClr val="00B050"/>
                          </a:solidFill>
                          <a:effectLst/>
                          <a:latin typeface="Aptos Narrow" panose="020B0004020202020204" pitchFamily="34" charset="0"/>
                        </a:rPr>
                        <a:t>(+2k)</a:t>
                      </a:r>
                    </a:p>
                  </a:txBody>
                  <a:tcPr marL="7620" marR="7620" marT="7620" marB="0">
                    <a:noFill/>
                  </a:tcPr>
                </a:tc>
                <a:extLst>
                  <a:ext uri="{0D108BD9-81ED-4DB2-BD59-A6C34878D82A}">
                    <a16:rowId xmlns:a16="http://schemas.microsoft.com/office/drawing/2014/main" val="2223815133"/>
                  </a:ext>
                </a:extLst>
              </a:tr>
            </a:tbl>
          </a:graphicData>
        </a:graphic>
      </p:graphicFrame>
      <p:sp>
        <p:nvSpPr>
          <p:cNvPr id="2" name="TextBox 1">
            <a:extLst>
              <a:ext uri="{FF2B5EF4-FFF2-40B4-BE49-F238E27FC236}">
                <a16:creationId xmlns:a16="http://schemas.microsoft.com/office/drawing/2014/main" id="{92F1A5C2-5DB1-7E0F-E736-7E4F7817D1E7}"/>
              </a:ext>
            </a:extLst>
          </p:cNvPr>
          <p:cNvSpPr txBox="1"/>
          <p:nvPr/>
        </p:nvSpPr>
        <p:spPr>
          <a:xfrm>
            <a:off x="10940528" y="2348991"/>
            <a:ext cx="9103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Noto Sans"/>
                <a:ea typeface="+mn-ea"/>
                <a:cs typeface="+mn-cs"/>
              </a:rPr>
              <a:t>Yo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Noto Sans"/>
                <a:ea typeface="+mn-ea"/>
                <a:cs typeface="+mn-cs"/>
              </a:rPr>
              <a:t>Growth</a:t>
            </a:r>
          </a:p>
        </p:txBody>
      </p:sp>
    </p:spTree>
    <p:extLst>
      <p:ext uri="{BB962C8B-B14F-4D97-AF65-F5344CB8AC3E}">
        <p14:creationId xmlns:p14="http://schemas.microsoft.com/office/powerpoint/2010/main" val="300816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42D30-5A2D-2C0B-C9FC-CB40A69664A7}"/>
            </a:ext>
          </a:extLst>
        </p:cNvPr>
        <p:cNvGrpSpPr/>
        <p:nvPr/>
      </p:nvGrpSpPr>
      <p:grpSpPr>
        <a:xfrm>
          <a:off x="0" y="0"/>
          <a:ext cx="0" cy="0"/>
          <a:chOff x="0" y="0"/>
          <a:chExt cx="0" cy="0"/>
        </a:xfrm>
      </p:grpSpPr>
      <p:graphicFrame>
        <p:nvGraphicFramePr>
          <p:cNvPr id="18" name="Content Placeholder 17">
            <a:extLst>
              <a:ext uri="{FF2B5EF4-FFF2-40B4-BE49-F238E27FC236}">
                <a16:creationId xmlns:a16="http://schemas.microsoft.com/office/drawing/2014/main" id="{E9A33F13-7DAB-B7FD-E0DD-775F2B9FEA59}"/>
              </a:ext>
            </a:extLst>
          </p:cNvPr>
          <p:cNvGraphicFramePr>
            <a:graphicFrameLocks noGrp="1"/>
          </p:cNvGraphicFramePr>
          <p:nvPr>
            <p:ph idx="19"/>
          </p:nvPr>
        </p:nvGraphicFramePr>
        <p:xfrm>
          <a:off x="7025833" y="1898248"/>
          <a:ext cx="4466360" cy="4259484"/>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8">
            <a:extLst>
              <a:ext uri="{FF2B5EF4-FFF2-40B4-BE49-F238E27FC236}">
                <a16:creationId xmlns:a16="http://schemas.microsoft.com/office/drawing/2014/main" id="{9F9C4352-4877-6DD3-F2FE-9979E09A9F60}"/>
              </a:ext>
            </a:extLst>
          </p:cNvPr>
          <p:cNvSpPr>
            <a:spLocks noGrp="1"/>
          </p:cNvSpPr>
          <p:nvPr>
            <p:ph type="body" sz="quarter" idx="16"/>
          </p:nvPr>
        </p:nvSpPr>
        <p:spPr/>
        <p:txBody>
          <a:bodyPr lIns="91440" tIns="45720" rIns="91440" bIns="45720" anchor="t"/>
          <a:lstStyle/>
          <a:p>
            <a:r>
              <a:rPr lang="en-GB" dirty="0">
                <a:solidFill>
                  <a:srgbClr val="005587"/>
                </a:solidFill>
                <a:latin typeface="Noto Sans"/>
                <a:ea typeface="Noto Sans"/>
                <a:cs typeface="Noto Sans"/>
              </a:rPr>
              <a:t>ADHD sector has exponentially outgrown total medicines each year</a:t>
            </a:r>
            <a:endParaRPr lang="en-GB" i="0" dirty="0">
              <a:solidFill>
                <a:srgbClr val="000000"/>
              </a:solidFill>
              <a:latin typeface="Noto Sans"/>
              <a:ea typeface="Noto Sans"/>
              <a:cs typeface="Noto Sans"/>
            </a:endParaRPr>
          </a:p>
          <a:p>
            <a:endParaRPr lang="en-GB" dirty="0">
              <a:cs typeface="Arial"/>
            </a:endParaRPr>
          </a:p>
        </p:txBody>
      </p:sp>
      <p:sp>
        <p:nvSpPr>
          <p:cNvPr id="8" name="Title 7">
            <a:extLst>
              <a:ext uri="{FF2B5EF4-FFF2-40B4-BE49-F238E27FC236}">
                <a16:creationId xmlns:a16="http://schemas.microsoft.com/office/drawing/2014/main" id="{44FB1778-B555-5DED-B6CF-DCAE9D416394}"/>
              </a:ext>
            </a:extLst>
          </p:cNvPr>
          <p:cNvSpPr>
            <a:spLocks noGrp="1"/>
          </p:cNvSpPr>
          <p:nvPr>
            <p:ph type="title"/>
          </p:nvPr>
        </p:nvSpPr>
        <p:spPr/>
        <p:txBody>
          <a:bodyPr lIns="91440" tIns="45720" rIns="91440" bIns="45720" anchor="b" anchorCtr="0"/>
          <a:lstStyle/>
          <a:p>
            <a:r>
              <a:rPr lang="en-GB">
                <a:latin typeface="Noto Sans"/>
                <a:ea typeface="Noto Sans"/>
                <a:cs typeface="Noto Sans"/>
              </a:rPr>
              <a:t>The UK ADHD market has grown at a CAGR of 12.5% over the last decade, growing from 2.2m units in 2015 to 6.4m in 2025</a:t>
            </a:r>
          </a:p>
        </p:txBody>
      </p:sp>
      <p:sp>
        <p:nvSpPr>
          <p:cNvPr id="4" name="Footer Placeholder 3">
            <a:extLst>
              <a:ext uri="{FF2B5EF4-FFF2-40B4-BE49-F238E27FC236}">
                <a16:creationId xmlns:a16="http://schemas.microsoft.com/office/drawing/2014/main" id="{90671A45-802B-7A34-45BA-442688D6CB3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Source: IQVIA PBS and HP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Note: Treatment limited to ATC-3 N06B (Psychostimulants)</a:t>
            </a:r>
          </a:p>
        </p:txBody>
      </p:sp>
      <p:graphicFrame>
        <p:nvGraphicFramePr>
          <p:cNvPr id="12" name="Content Placeholder 10">
            <a:extLst>
              <a:ext uri="{FF2B5EF4-FFF2-40B4-BE49-F238E27FC236}">
                <a16:creationId xmlns:a16="http://schemas.microsoft.com/office/drawing/2014/main" id="{B36453D2-C8A1-6984-9EA0-81A4429E9CBC}"/>
              </a:ext>
            </a:extLst>
          </p:cNvPr>
          <p:cNvGraphicFramePr>
            <a:graphicFrameLocks noGrp="1"/>
          </p:cNvGraphicFramePr>
          <p:nvPr>
            <p:ph idx="18"/>
          </p:nvPr>
        </p:nvGraphicFramePr>
        <p:xfrm>
          <a:off x="384174" y="1703388"/>
          <a:ext cx="6259693" cy="4576762"/>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Arrow Connector 4">
            <a:extLst>
              <a:ext uri="{FF2B5EF4-FFF2-40B4-BE49-F238E27FC236}">
                <a16:creationId xmlns:a16="http://schemas.microsoft.com/office/drawing/2014/main" id="{2E2F88DA-4120-8676-AB57-D599038CC247}"/>
              </a:ext>
            </a:extLst>
          </p:cNvPr>
          <p:cNvCxnSpPr>
            <a:cxnSpLocks/>
          </p:cNvCxnSpPr>
          <p:nvPr/>
        </p:nvCxnSpPr>
        <p:spPr>
          <a:xfrm flipV="1">
            <a:off x="1409251" y="2388198"/>
            <a:ext cx="4593516" cy="2151529"/>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7030B6EB-CEE3-A9CE-1FCF-72E5C53BCB1B}"/>
              </a:ext>
            </a:extLst>
          </p:cNvPr>
          <p:cNvSpPr/>
          <p:nvPr/>
        </p:nvSpPr>
        <p:spPr>
          <a:xfrm rot="19913274">
            <a:off x="3001383" y="3248811"/>
            <a:ext cx="1581374" cy="36037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CAGR +12.5% </a:t>
            </a:r>
          </a:p>
        </p:txBody>
      </p:sp>
    </p:spTree>
    <p:extLst>
      <p:ext uri="{BB962C8B-B14F-4D97-AF65-F5344CB8AC3E}">
        <p14:creationId xmlns:p14="http://schemas.microsoft.com/office/powerpoint/2010/main" val="133418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5DC9D-60A1-1152-2082-9E4A6A638519}"/>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2AB15BA-F948-6C75-3860-C3DA4638098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22AB15BA-F948-6C75-3860-C3DA46380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CFED6F-6F41-10A7-3C80-2BDF75035CFD}"/>
              </a:ext>
            </a:extLst>
          </p:cNvPr>
          <p:cNvSpPr>
            <a:spLocks noGrp="1"/>
          </p:cNvSpPr>
          <p:nvPr>
            <p:ph type="title"/>
          </p:nvPr>
        </p:nvSpPr>
        <p:spPr>
          <a:xfrm>
            <a:off x="3354269" y="2400302"/>
            <a:ext cx="6007014" cy="2057398"/>
          </a:xfrm>
        </p:spPr>
        <p:txBody>
          <a:bodyPr vert="horz" rIns="91440"/>
          <a:lstStyle/>
          <a:p>
            <a:r>
              <a:rPr lang="en-US"/>
              <a:t>Evolution for the future</a:t>
            </a:r>
            <a:endParaRPr lang="en-US">
              <a:highlight>
                <a:srgbClr val="FFFF00"/>
              </a:highlight>
            </a:endParaRPr>
          </a:p>
        </p:txBody>
      </p:sp>
    </p:spTree>
    <p:extLst>
      <p:ext uri="{BB962C8B-B14F-4D97-AF65-F5344CB8AC3E}">
        <p14:creationId xmlns:p14="http://schemas.microsoft.com/office/powerpoint/2010/main" val="133693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A83777-2476-430F-B077-9AB93161C72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BA83777-2476-430F-B077-9AB93161C7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F74A78D8-C33F-991B-993C-14B04440AB92}"/>
              </a:ext>
            </a:extLst>
          </p:cNvPr>
          <p:cNvGrpSpPr/>
          <p:nvPr/>
        </p:nvGrpSpPr>
        <p:grpSpPr bwMode="gray">
          <a:xfrm>
            <a:off x="384175" y="1015348"/>
            <a:ext cx="11338560" cy="4886485"/>
            <a:chOff x="418707" y="1034598"/>
            <a:chExt cx="11485761" cy="4886485"/>
          </a:xfrm>
        </p:grpSpPr>
        <p:sp>
          <p:nvSpPr>
            <p:cNvPr id="11" name="Rectangle 6">
              <a:extLst>
                <a:ext uri="{FF2B5EF4-FFF2-40B4-BE49-F238E27FC236}">
                  <a16:creationId xmlns:a16="http://schemas.microsoft.com/office/drawing/2014/main" id="{0C8B32BC-124C-B07C-8CD3-2AF4FDF42F81}"/>
                </a:ext>
              </a:extLst>
            </p:cNvPr>
            <p:cNvSpPr/>
            <p:nvPr/>
          </p:nvSpPr>
          <p:spPr bwMode="gray">
            <a:xfrm>
              <a:off x="418707" y="1044296"/>
              <a:ext cx="11404345" cy="4876787"/>
            </a:xfrm>
            <a:custGeom>
              <a:avLst/>
              <a:gdLst>
                <a:gd name="connsiteX0" fmla="*/ 0 w 11317414"/>
                <a:gd name="connsiteY0" fmla="*/ 0 h 4451246"/>
                <a:gd name="connsiteX1" fmla="*/ 11317414 w 11317414"/>
                <a:gd name="connsiteY1" fmla="*/ 0 h 4451246"/>
                <a:gd name="connsiteX2" fmla="*/ 11317414 w 11317414"/>
                <a:gd name="connsiteY2" fmla="*/ 4451246 h 4451246"/>
                <a:gd name="connsiteX3" fmla="*/ 0 w 11317414"/>
                <a:gd name="connsiteY3" fmla="*/ 4451246 h 4451246"/>
                <a:gd name="connsiteX4" fmla="*/ 0 w 11317414"/>
                <a:gd name="connsiteY4" fmla="*/ 0 h 4451246"/>
                <a:gd name="connsiteX0" fmla="*/ 6246796 w 11317414"/>
                <a:gd name="connsiteY0" fmla="*/ 1251284 h 4451246"/>
                <a:gd name="connsiteX1" fmla="*/ 11317414 w 11317414"/>
                <a:gd name="connsiteY1" fmla="*/ 0 h 4451246"/>
                <a:gd name="connsiteX2" fmla="*/ 11317414 w 11317414"/>
                <a:gd name="connsiteY2" fmla="*/ 4451246 h 4451246"/>
                <a:gd name="connsiteX3" fmla="*/ 0 w 11317414"/>
                <a:gd name="connsiteY3" fmla="*/ 4451246 h 4451246"/>
                <a:gd name="connsiteX4" fmla="*/ 6246796 w 11317414"/>
                <a:gd name="connsiteY4" fmla="*/ 1251284 h 4451246"/>
                <a:gd name="connsiteX0" fmla="*/ 8037094 w 11317414"/>
                <a:gd name="connsiteY0" fmla="*/ 0 h 4451246"/>
                <a:gd name="connsiteX1" fmla="*/ 11317414 w 11317414"/>
                <a:gd name="connsiteY1" fmla="*/ 0 h 4451246"/>
                <a:gd name="connsiteX2" fmla="*/ 11317414 w 11317414"/>
                <a:gd name="connsiteY2" fmla="*/ 4451246 h 4451246"/>
                <a:gd name="connsiteX3" fmla="*/ 0 w 11317414"/>
                <a:gd name="connsiteY3" fmla="*/ 4451246 h 4451246"/>
                <a:gd name="connsiteX4" fmla="*/ 8037094 w 11317414"/>
                <a:gd name="connsiteY4" fmla="*/ 0 h 4451246"/>
                <a:gd name="connsiteX0" fmla="*/ 8037094 w 11317414"/>
                <a:gd name="connsiteY0" fmla="*/ 0 h 4451246"/>
                <a:gd name="connsiteX1" fmla="*/ 11317414 w 11317414"/>
                <a:gd name="connsiteY1" fmla="*/ 0 h 4451246"/>
                <a:gd name="connsiteX2" fmla="*/ 11317414 w 11317414"/>
                <a:gd name="connsiteY2" fmla="*/ 4451246 h 4451246"/>
                <a:gd name="connsiteX3" fmla="*/ 0 w 11317414"/>
                <a:gd name="connsiteY3" fmla="*/ 4451246 h 4451246"/>
                <a:gd name="connsiteX4" fmla="*/ 8037094 w 11317414"/>
                <a:gd name="connsiteY4" fmla="*/ 0 h 4451246"/>
                <a:gd name="connsiteX0" fmla="*/ 8056345 w 11336665"/>
                <a:gd name="connsiteY0" fmla="*/ 0 h 4460871"/>
                <a:gd name="connsiteX1" fmla="*/ 11336665 w 11336665"/>
                <a:gd name="connsiteY1" fmla="*/ 0 h 4460871"/>
                <a:gd name="connsiteX2" fmla="*/ 11336665 w 11336665"/>
                <a:gd name="connsiteY2" fmla="*/ 4451246 h 4460871"/>
                <a:gd name="connsiteX3" fmla="*/ 0 w 11336665"/>
                <a:gd name="connsiteY3" fmla="*/ 4460871 h 4460871"/>
                <a:gd name="connsiteX4" fmla="*/ 8056345 w 11336665"/>
                <a:gd name="connsiteY4" fmla="*/ 0 h 4460871"/>
                <a:gd name="connsiteX0" fmla="*/ 8058454 w 11338774"/>
                <a:gd name="connsiteY0" fmla="*/ 0 h 4460871"/>
                <a:gd name="connsiteX1" fmla="*/ 11338774 w 11338774"/>
                <a:gd name="connsiteY1" fmla="*/ 0 h 4460871"/>
                <a:gd name="connsiteX2" fmla="*/ 11338774 w 11338774"/>
                <a:gd name="connsiteY2" fmla="*/ 4451246 h 4460871"/>
                <a:gd name="connsiteX3" fmla="*/ 2109 w 11338774"/>
                <a:gd name="connsiteY3" fmla="*/ 4460871 h 4460871"/>
                <a:gd name="connsiteX4" fmla="*/ 8058454 w 11338774"/>
                <a:gd name="connsiteY4" fmla="*/ 0 h 4460871"/>
                <a:gd name="connsiteX0" fmla="*/ 6558238 w 11474853"/>
                <a:gd name="connsiteY0" fmla="*/ 19250 h 4460871"/>
                <a:gd name="connsiteX1" fmla="*/ 11474853 w 11474853"/>
                <a:gd name="connsiteY1" fmla="*/ 0 h 4460871"/>
                <a:gd name="connsiteX2" fmla="*/ 11474853 w 11474853"/>
                <a:gd name="connsiteY2" fmla="*/ 4451246 h 4460871"/>
                <a:gd name="connsiteX3" fmla="*/ 138188 w 11474853"/>
                <a:gd name="connsiteY3" fmla="*/ 4460871 h 4460871"/>
                <a:gd name="connsiteX4" fmla="*/ 6558238 w 11474853"/>
                <a:gd name="connsiteY4" fmla="*/ 19250 h 4460871"/>
                <a:gd name="connsiteX0" fmla="*/ 7239956 w 11367299"/>
                <a:gd name="connsiteY0" fmla="*/ 0 h 4460871"/>
                <a:gd name="connsiteX1" fmla="*/ 11367299 w 11367299"/>
                <a:gd name="connsiteY1" fmla="*/ 0 h 4460871"/>
                <a:gd name="connsiteX2" fmla="*/ 11367299 w 11367299"/>
                <a:gd name="connsiteY2" fmla="*/ 4451246 h 4460871"/>
                <a:gd name="connsiteX3" fmla="*/ 30634 w 11367299"/>
                <a:gd name="connsiteY3" fmla="*/ 4460871 h 4460871"/>
                <a:gd name="connsiteX4" fmla="*/ 7239956 w 11367299"/>
                <a:gd name="connsiteY4" fmla="*/ 0 h 4460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7299" h="4460871">
                  <a:moveTo>
                    <a:pt x="7239956" y="0"/>
                  </a:moveTo>
                  <a:lnTo>
                    <a:pt x="11367299" y="0"/>
                  </a:lnTo>
                  <a:lnTo>
                    <a:pt x="11367299" y="4451246"/>
                  </a:lnTo>
                  <a:lnTo>
                    <a:pt x="30634" y="4460871"/>
                  </a:lnTo>
                  <a:cubicBezTo>
                    <a:pt x="4966" y="3246630"/>
                    <a:pt x="-761845" y="3197046"/>
                    <a:pt x="7239956"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Noto Sans"/>
                <a:ea typeface="+mn-ea"/>
                <a:cs typeface="+mn-cs"/>
              </a:endParaRPr>
            </a:p>
          </p:txBody>
        </p:sp>
        <p:sp>
          <p:nvSpPr>
            <p:cNvPr id="14" name="Rectangle 13">
              <a:extLst>
                <a:ext uri="{FF2B5EF4-FFF2-40B4-BE49-F238E27FC236}">
                  <a16:creationId xmlns:a16="http://schemas.microsoft.com/office/drawing/2014/main" id="{ECE30193-22C7-2C0A-B83E-B59FBAA1A398}"/>
                </a:ext>
              </a:extLst>
            </p:cNvPr>
            <p:cNvSpPr/>
            <p:nvPr/>
          </p:nvSpPr>
          <p:spPr bwMode="gray">
            <a:xfrm>
              <a:off x="4992521" y="1034598"/>
              <a:ext cx="6911947" cy="1003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Noto Sans"/>
                <a:ea typeface="+mn-ea"/>
                <a:cs typeface="+mn-cs"/>
              </a:endParaRPr>
            </a:p>
          </p:txBody>
        </p:sp>
      </p:grpSp>
      <p:sp>
        <p:nvSpPr>
          <p:cNvPr id="5" name="Rectangle 4" hidden="1">
            <a:extLst>
              <a:ext uri="{FF2B5EF4-FFF2-40B4-BE49-F238E27FC236}">
                <a16:creationId xmlns:a16="http://schemas.microsoft.com/office/drawing/2014/main" id="{8FFE4C65-ED05-4840-8222-45D34C4C1BB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Title 2">
            <a:extLst>
              <a:ext uri="{FF2B5EF4-FFF2-40B4-BE49-F238E27FC236}">
                <a16:creationId xmlns:a16="http://schemas.microsoft.com/office/drawing/2014/main" id="{480516B7-86A6-49E6-9860-25AA8F5E67BF}"/>
              </a:ext>
            </a:extLst>
          </p:cNvPr>
          <p:cNvSpPr>
            <a:spLocks noGrp="1"/>
          </p:cNvSpPr>
          <p:nvPr>
            <p:ph type="title"/>
          </p:nvPr>
        </p:nvSpPr>
        <p:spPr bwMode="gray">
          <a:xfrm>
            <a:off x="384694" y="294468"/>
            <a:ext cx="11338560" cy="768263"/>
          </a:xfrm>
        </p:spPr>
        <p:txBody>
          <a:bodyPr vert="horz"/>
          <a:lstStyle/>
          <a:p>
            <a:r>
              <a:rPr lang="en-GB"/>
              <a:t>Many areas of exciting innovation lie on the horizon</a:t>
            </a:r>
          </a:p>
        </p:txBody>
      </p:sp>
      <p:sp>
        <p:nvSpPr>
          <p:cNvPr id="4" name="TextBox 3">
            <a:extLst>
              <a:ext uri="{FF2B5EF4-FFF2-40B4-BE49-F238E27FC236}">
                <a16:creationId xmlns:a16="http://schemas.microsoft.com/office/drawing/2014/main" id="{6505924F-8B1C-4807-98D9-04125FC85694}"/>
              </a:ext>
            </a:extLst>
          </p:cNvPr>
          <p:cNvSpPr txBox="1"/>
          <p:nvPr/>
        </p:nvSpPr>
        <p:spPr bwMode="gray">
          <a:xfrm>
            <a:off x="1184192" y="5883408"/>
            <a:ext cx="731520" cy="2743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2024</a:t>
            </a:r>
          </a:p>
        </p:txBody>
      </p:sp>
      <p:sp>
        <p:nvSpPr>
          <p:cNvPr id="45" name="TextBox 44">
            <a:extLst>
              <a:ext uri="{FF2B5EF4-FFF2-40B4-BE49-F238E27FC236}">
                <a16:creationId xmlns:a16="http://schemas.microsoft.com/office/drawing/2014/main" id="{C6B270FE-44ED-480D-AECA-406A8F6D41A2}"/>
              </a:ext>
            </a:extLst>
          </p:cNvPr>
          <p:cNvSpPr txBox="1"/>
          <p:nvPr/>
        </p:nvSpPr>
        <p:spPr bwMode="gray">
          <a:xfrm>
            <a:off x="2711340" y="5883408"/>
            <a:ext cx="731520" cy="2743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2025</a:t>
            </a:r>
          </a:p>
        </p:txBody>
      </p:sp>
      <p:sp>
        <p:nvSpPr>
          <p:cNvPr id="47" name="TextBox 46">
            <a:extLst>
              <a:ext uri="{FF2B5EF4-FFF2-40B4-BE49-F238E27FC236}">
                <a16:creationId xmlns:a16="http://schemas.microsoft.com/office/drawing/2014/main" id="{146E2578-DEA2-4BA4-A7D4-B750FBC00BE6}"/>
              </a:ext>
            </a:extLst>
          </p:cNvPr>
          <p:cNvSpPr txBox="1"/>
          <p:nvPr/>
        </p:nvSpPr>
        <p:spPr bwMode="gray">
          <a:xfrm>
            <a:off x="4279877" y="5883408"/>
            <a:ext cx="731520" cy="2743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2026</a:t>
            </a:r>
          </a:p>
        </p:txBody>
      </p:sp>
      <p:sp>
        <p:nvSpPr>
          <p:cNvPr id="48" name="TextBox 47">
            <a:extLst>
              <a:ext uri="{FF2B5EF4-FFF2-40B4-BE49-F238E27FC236}">
                <a16:creationId xmlns:a16="http://schemas.microsoft.com/office/drawing/2014/main" id="{E12FA69E-C79B-42AD-8B00-1A8B07A382BF}"/>
              </a:ext>
            </a:extLst>
          </p:cNvPr>
          <p:cNvSpPr txBox="1"/>
          <p:nvPr/>
        </p:nvSpPr>
        <p:spPr bwMode="gray">
          <a:xfrm>
            <a:off x="5793111" y="5883408"/>
            <a:ext cx="731520" cy="2743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2027</a:t>
            </a:r>
          </a:p>
        </p:txBody>
      </p:sp>
      <p:sp>
        <p:nvSpPr>
          <p:cNvPr id="49" name="TextBox 48">
            <a:extLst>
              <a:ext uri="{FF2B5EF4-FFF2-40B4-BE49-F238E27FC236}">
                <a16:creationId xmlns:a16="http://schemas.microsoft.com/office/drawing/2014/main" id="{E361CC90-9EC3-437A-BA9B-BE6AEC3ADDC7}"/>
              </a:ext>
            </a:extLst>
          </p:cNvPr>
          <p:cNvSpPr txBox="1"/>
          <p:nvPr/>
        </p:nvSpPr>
        <p:spPr bwMode="gray">
          <a:xfrm>
            <a:off x="7238942" y="5883408"/>
            <a:ext cx="731520" cy="2743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2028</a:t>
            </a:r>
          </a:p>
        </p:txBody>
      </p:sp>
      <p:sp>
        <p:nvSpPr>
          <p:cNvPr id="55" name="TextBox 54">
            <a:extLst>
              <a:ext uri="{FF2B5EF4-FFF2-40B4-BE49-F238E27FC236}">
                <a16:creationId xmlns:a16="http://schemas.microsoft.com/office/drawing/2014/main" id="{73A11043-B70D-42AB-9C8F-B13AE79D3DB2}"/>
              </a:ext>
            </a:extLst>
          </p:cNvPr>
          <p:cNvSpPr txBox="1"/>
          <p:nvPr/>
        </p:nvSpPr>
        <p:spPr bwMode="gray">
          <a:xfrm>
            <a:off x="8658854" y="5883408"/>
            <a:ext cx="731520" cy="2743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2029</a:t>
            </a:r>
          </a:p>
        </p:txBody>
      </p:sp>
      <p:sp>
        <p:nvSpPr>
          <p:cNvPr id="56" name="TextBox 55">
            <a:extLst>
              <a:ext uri="{FF2B5EF4-FFF2-40B4-BE49-F238E27FC236}">
                <a16:creationId xmlns:a16="http://schemas.microsoft.com/office/drawing/2014/main" id="{0048618F-A356-4791-B53B-2A2C35AAD11C}"/>
              </a:ext>
            </a:extLst>
          </p:cNvPr>
          <p:cNvSpPr txBox="1"/>
          <p:nvPr/>
        </p:nvSpPr>
        <p:spPr bwMode="gray">
          <a:xfrm>
            <a:off x="9952321" y="5883408"/>
            <a:ext cx="731520" cy="2743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2030+</a:t>
            </a:r>
          </a:p>
        </p:txBody>
      </p:sp>
      <p:grpSp>
        <p:nvGrpSpPr>
          <p:cNvPr id="2" name="Group 1">
            <a:extLst>
              <a:ext uri="{FF2B5EF4-FFF2-40B4-BE49-F238E27FC236}">
                <a16:creationId xmlns:a16="http://schemas.microsoft.com/office/drawing/2014/main" id="{624467EF-6F1E-9852-0B62-662F2C1AE130}"/>
              </a:ext>
            </a:extLst>
          </p:cNvPr>
          <p:cNvGrpSpPr/>
          <p:nvPr/>
        </p:nvGrpSpPr>
        <p:grpSpPr bwMode="gray">
          <a:xfrm>
            <a:off x="1103959" y="2084458"/>
            <a:ext cx="10477803" cy="3731174"/>
            <a:chOff x="1286838" y="2767456"/>
            <a:chExt cx="10477803" cy="3114867"/>
          </a:xfrm>
        </p:grpSpPr>
        <p:sp>
          <p:nvSpPr>
            <p:cNvPr id="58" name="Oval 57">
              <a:extLst>
                <a:ext uri="{FF2B5EF4-FFF2-40B4-BE49-F238E27FC236}">
                  <a16:creationId xmlns:a16="http://schemas.microsoft.com/office/drawing/2014/main" id="{8A002F7E-D2A5-43B2-A50C-D630181AC9BE}"/>
                </a:ext>
              </a:extLst>
            </p:cNvPr>
            <p:cNvSpPr/>
            <p:nvPr/>
          </p:nvSpPr>
          <p:spPr bwMode="gray">
            <a:xfrm>
              <a:off x="6925011" y="4479058"/>
              <a:ext cx="1656000"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Non-traditional Antibiotics</a:t>
              </a:r>
            </a:p>
          </p:txBody>
        </p:sp>
        <p:sp>
          <p:nvSpPr>
            <p:cNvPr id="64" name="Oval 63">
              <a:extLst>
                <a:ext uri="{FF2B5EF4-FFF2-40B4-BE49-F238E27FC236}">
                  <a16:creationId xmlns:a16="http://schemas.microsoft.com/office/drawing/2014/main" id="{2E53F6A9-7C3D-4061-9BE6-C678BD7FF413}"/>
                </a:ext>
              </a:extLst>
            </p:cNvPr>
            <p:cNvSpPr/>
            <p:nvPr/>
          </p:nvSpPr>
          <p:spPr bwMode="gray">
            <a:xfrm>
              <a:off x="4992522" y="2861049"/>
              <a:ext cx="1656000"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Combination vaccines for respiratory infections</a:t>
              </a:r>
            </a:p>
          </p:txBody>
        </p:sp>
        <p:sp>
          <p:nvSpPr>
            <p:cNvPr id="65" name="Oval 64">
              <a:extLst>
                <a:ext uri="{FF2B5EF4-FFF2-40B4-BE49-F238E27FC236}">
                  <a16:creationId xmlns:a16="http://schemas.microsoft.com/office/drawing/2014/main" id="{3AAD0196-A912-4EDB-A7F7-DBAECDB3EAE4}"/>
                </a:ext>
              </a:extLst>
            </p:cNvPr>
            <p:cNvSpPr/>
            <p:nvPr/>
          </p:nvSpPr>
          <p:spPr bwMode="gray">
            <a:xfrm>
              <a:off x="6697495" y="2767456"/>
              <a:ext cx="1910559" cy="684000"/>
            </a:xfrm>
            <a:prstGeom prst="ellipse">
              <a:avLst/>
            </a:prstGeom>
            <a:solidFill>
              <a:schemeClr val="bg1"/>
            </a:solid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Psychoplastogens</a:t>
              </a:r>
            </a:p>
          </p:txBody>
        </p:sp>
        <p:sp>
          <p:nvSpPr>
            <p:cNvPr id="67" name="Oval 66">
              <a:extLst>
                <a:ext uri="{FF2B5EF4-FFF2-40B4-BE49-F238E27FC236}">
                  <a16:creationId xmlns:a16="http://schemas.microsoft.com/office/drawing/2014/main" id="{88D4C7C9-EC2E-4560-8253-08BDC7D7B027}"/>
                </a:ext>
              </a:extLst>
            </p:cNvPr>
            <p:cNvSpPr/>
            <p:nvPr/>
          </p:nvSpPr>
          <p:spPr bwMode="gray">
            <a:xfrm>
              <a:off x="7739637" y="3720198"/>
              <a:ext cx="1656000" cy="684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CRISPR gene-editing for CVD</a:t>
              </a:r>
            </a:p>
          </p:txBody>
        </p:sp>
        <p:sp>
          <p:nvSpPr>
            <p:cNvPr id="68" name="Oval 67">
              <a:extLst>
                <a:ext uri="{FF2B5EF4-FFF2-40B4-BE49-F238E27FC236}">
                  <a16:creationId xmlns:a16="http://schemas.microsoft.com/office/drawing/2014/main" id="{78A78F83-1EFD-45DF-AEA6-3EB2D8D19FDC}"/>
                </a:ext>
              </a:extLst>
            </p:cNvPr>
            <p:cNvSpPr/>
            <p:nvPr/>
          </p:nvSpPr>
          <p:spPr bwMode="gray">
            <a:xfrm>
              <a:off x="5132801" y="4263109"/>
              <a:ext cx="1656000" cy="684000"/>
            </a:xfrm>
            <a:prstGeom prst="ellipse">
              <a:avLst/>
            </a:prstGeom>
            <a:solidFill>
              <a:srgbClr val="FFFFFF"/>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AAV-vector gene therapies</a:t>
              </a:r>
            </a:p>
          </p:txBody>
        </p:sp>
        <p:sp>
          <p:nvSpPr>
            <p:cNvPr id="69" name="Oval 68">
              <a:extLst>
                <a:ext uri="{FF2B5EF4-FFF2-40B4-BE49-F238E27FC236}">
                  <a16:creationId xmlns:a16="http://schemas.microsoft.com/office/drawing/2014/main" id="{26C8B2A9-C4EA-427D-99AF-585C67629A8E}"/>
                </a:ext>
              </a:extLst>
            </p:cNvPr>
            <p:cNvSpPr/>
            <p:nvPr/>
          </p:nvSpPr>
          <p:spPr bwMode="gray">
            <a:xfrm>
              <a:off x="3398718" y="4411660"/>
              <a:ext cx="1593804" cy="63904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Next-gen obesity treatment</a:t>
              </a:r>
            </a:p>
          </p:txBody>
        </p:sp>
        <p:sp>
          <p:nvSpPr>
            <p:cNvPr id="70" name="Oval 69">
              <a:extLst>
                <a:ext uri="{FF2B5EF4-FFF2-40B4-BE49-F238E27FC236}">
                  <a16:creationId xmlns:a16="http://schemas.microsoft.com/office/drawing/2014/main" id="{5919737D-4918-45C2-A437-EE352C1F57EF}"/>
                </a:ext>
              </a:extLst>
            </p:cNvPr>
            <p:cNvSpPr/>
            <p:nvPr/>
          </p:nvSpPr>
          <p:spPr bwMode="gray">
            <a:xfrm>
              <a:off x="2564915" y="3679261"/>
              <a:ext cx="1547226" cy="684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CAR-T cell therapies </a:t>
              </a:r>
            </a:p>
          </p:txBody>
        </p:sp>
        <p:sp>
          <p:nvSpPr>
            <p:cNvPr id="73" name="Oval 72">
              <a:extLst>
                <a:ext uri="{FF2B5EF4-FFF2-40B4-BE49-F238E27FC236}">
                  <a16:creationId xmlns:a16="http://schemas.microsoft.com/office/drawing/2014/main" id="{2AE76584-E686-41D8-A9C5-4496F7D6B733}"/>
                </a:ext>
              </a:extLst>
            </p:cNvPr>
            <p:cNvSpPr/>
            <p:nvPr/>
          </p:nvSpPr>
          <p:spPr bwMode="gray">
            <a:xfrm>
              <a:off x="8334751" y="5155677"/>
              <a:ext cx="1656000"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Recomb. subunit vaccines for EBV</a:t>
              </a:r>
            </a:p>
          </p:txBody>
        </p:sp>
        <p:sp>
          <p:nvSpPr>
            <p:cNvPr id="74" name="Oval 73">
              <a:extLst>
                <a:ext uri="{FF2B5EF4-FFF2-40B4-BE49-F238E27FC236}">
                  <a16:creationId xmlns:a16="http://schemas.microsoft.com/office/drawing/2014/main" id="{6C83F626-0D38-43C4-AC00-B75BF98B441B}"/>
                </a:ext>
              </a:extLst>
            </p:cNvPr>
            <p:cNvSpPr/>
            <p:nvPr/>
          </p:nvSpPr>
          <p:spPr bwMode="gray">
            <a:xfrm>
              <a:off x="4261955" y="3618273"/>
              <a:ext cx="1562636"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saRNA Vaccines</a:t>
              </a:r>
            </a:p>
          </p:txBody>
        </p:sp>
        <p:sp>
          <p:nvSpPr>
            <p:cNvPr id="75" name="Oval 74">
              <a:extLst>
                <a:ext uri="{FF2B5EF4-FFF2-40B4-BE49-F238E27FC236}">
                  <a16:creationId xmlns:a16="http://schemas.microsoft.com/office/drawing/2014/main" id="{7528FB1A-3A7C-453A-B100-5805177BC3B9}"/>
                </a:ext>
              </a:extLst>
            </p:cNvPr>
            <p:cNvSpPr/>
            <p:nvPr/>
          </p:nvSpPr>
          <p:spPr bwMode="gray">
            <a:xfrm>
              <a:off x="8845108" y="4452789"/>
              <a:ext cx="1656000"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Senolytics</a:t>
              </a:r>
            </a:p>
          </p:txBody>
        </p:sp>
        <p:sp>
          <p:nvSpPr>
            <p:cNvPr id="76" name="Oval 75">
              <a:extLst>
                <a:ext uri="{FF2B5EF4-FFF2-40B4-BE49-F238E27FC236}">
                  <a16:creationId xmlns:a16="http://schemas.microsoft.com/office/drawing/2014/main" id="{F87596DC-9235-475C-9483-9326757CCA71}"/>
                </a:ext>
              </a:extLst>
            </p:cNvPr>
            <p:cNvSpPr/>
            <p:nvPr/>
          </p:nvSpPr>
          <p:spPr bwMode="gray">
            <a:xfrm>
              <a:off x="1605325" y="4379680"/>
              <a:ext cx="1656000" cy="684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Radioligand therapies</a:t>
              </a:r>
            </a:p>
          </p:txBody>
        </p:sp>
        <p:sp>
          <p:nvSpPr>
            <p:cNvPr id="77" name="Oval 76">
              <a:extLst>
                <a:ext uri="{FF2B5EF4-FFF2-40B4-BE49-F238E27FC236}">
                  <a16:creationId xmlns:a16="http://schemas.microsoft.com/office/drawing/2014/main" id="{7AFB4B47-96B9-4153-B0C8-9A1414470A7B}"/>
                </a:ext>
              </a:extLst>
            </p:cNvPr>
            <p:cNvSpPr/>
            <p:nvPr/>
          </p:nvSpPr>
          <p:spPr bwMode="gray">
            <a:xfrm>
              <a:off x="10108641" y="5151726"/>
              <a:ext cx="1656000" cy="684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mRNA vaccines for cancer</a:t>
              </a:r>
            </a:p>
          </p:txBody>
        </p:sp>
        <p:sp>
          <p:nvSpPr>
            <p:cNvPr id="78" name="Oval 77">
              <a:extLst>
                <a:ext uri="{FF2B5EF4-FFF2-40B4-BE49-F238E27FC236}">
                  <a16:creationId xmlns:a16="http://schemas.microsoft.com/office/drawing/2014/main" id="{15C102E1-8E32-423F-8DA1-FC6BB6BBCAFB}"/>
                </a:ext>
              </a:extLst>
            </p:cNvPr>
            <p:cNvSpPr/>
            <p:nvPr/>
          </p:nvSpPr>
          <p:spPr bwMode="gray">
            <a:xfrm>
              <a:off x="3005666" y="5117245"/>
              <a:ext cx="1804841"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Inflammation-targeting therapies for asthma</a:t>
              </a:r>
            </a:p>
          </p:txBody>
        </p:sp>
        <p:sp>
          <p:nvSpPr>
            <p:cNvPr id="79" name="Oval 78">
              <a:extLst>
                <a:ext uri="{FF2B5EF4-FFF2-40B4-BE49-F238E27FC236}">
                  <a16:creationId xmlns:a16="http://schemas.microsoft.com/office/drawing/2014/main" id="{995E9167-9FEE-435D-84FE-6CE5B0400544}"/>
                </a:ext>
              </a:extLst>
            </p:cNvPr>
            <p:cNvSpPr/>
            <p:nvPr/>
          </p:nvSpPr>
          <p:spPr bwMode="gray">
            <a:xfrm>
              <a:off x="5960801" y="3534226"/>
              <a:ext cx="1791290"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Next-g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anti-depressants</a:t>
              </a:r>
            </a:p>
          </p:txBody>
        </p:sp>
        <p:sp>
          <p:nvSpPr>
            <p:cNvPr id="80" name="Oval 79">
              <a:extLst>
                <a:ext uri="{FF2B5EF4-FFF2-40B4-BE49-F238E27FC236}">
                  <a16:creationId xmlns:a16="http://schemas.microsoft.com/office/drawing/2014/main" id="{79856624-2B0F-4CDA-B6F8-B36356AD65BC}"/>
                </a:ext>
              </a:extLst>
            </p:cNvPr>
            <p:cNvSpPr/>
            <p:nvPr/>
          </p:nvSpPr>
          <p:spPr bwMode="gray">
            <a:xfrm>
              <a:off x="9508274" y="3749361"/>
              <a:ext cx="1656000" cy="684000"/>
            </a:xfrm>
            <a:prstGeom prst="ellipse">
              <a:avLst/>
            </a:prstGeom>
            <a:solidFill>
              <a:srgbClr val="FFFFFF"/>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Stem cells therapies for PD </a:t>
              </a:r>
            </a:p>
          </p:txBody>
        </p:sp>
        <p:sp>
          <p:nvSpPr>
            <p:cNvPr id="82" name="Oval 81">
              <a:extLst>
                <a:ext uri="{FF2B5EF4-FFF2-40B4-BE49-F238E27FC236}">
                  <a16:creationId xmlns:a16="http://schemas.microsoft.com/office/drawing/2014/main" id="{B5EAF5D9-492B-4AF5-8315-8E9787FF7969}"/>
                </a:ext>
              </a:extLst>
            </p:cNvPr>
            <p:cNvSpPr/>
            <p:nvPr/>
          </p:nvSpPr>
          <p:spPr bwMode="gray">
            <a:xfrm>
              <a:off x="4850617" y="5140468"/>
              <a:ext cx="1656000"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Microbiome therapies</a:t>
              </a:r>
            </a:p>
          </p:txBody>
        </p:sp>
        <p:sp>
          <p:nvSpPr>
            <p:cNvPr id="83" name="Oval 82">
              <a:extLst>
                <a:ext uri="{FF2B5EF4-FFF2-40B4-BE49-F238E27FC236}">
                  <a16:creationId xmlns:a16="http://schemas.microsoft.com/office/drawing/2014/main" id="{A87BA780-E1CF-4215-AABA-4FC52BA3361B}"/>
                </a:ext>
              </a:extLst>
            </p:cNvPr>
            <p:cNvSpPr/>
            <p:nvPr/>
          </p:nvSpPr>
          <p:spPr bwMode="gray">
            <a:xfrm>
              <a:off x="6578042" y="5198323"/>
              <a:ext cx="1656000"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AMR-relevant vaccines </a:t>
              </a:r>
            </a:p>
          </p:txBody>
        </p:sp>
        <p:sp>
          <p:nvSpPr>
            <p:cNvPr id="84" name="Oval 83">
              <a:extLst>
                <a:ext uri="{FF2B5EF4-FFF2-40B4-BE49-F238E27FC236}">
                  <a16:creationId xmlns:a16="http://schemas.microsoft.com/office/drawing/2014/main" id="{F9A72462-B50E-4CA1-9C18-EDE224467302}"/>
                </a:ext>
              </a:extLst>
            </p:cNvPr>
            <p:cNvSpPr/>
            <p:nvPr/>
          </p:nvSpPr>
          <p:spPr bwMode="gray">
            <a:xfrm>
              <a:off x="8535689" y="3051951"/>
              <a:ext cx="1656000" cy="684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RNA-based gene therapies for high Lp(a)</a:t>
              </a:r>
            </a:p>
          </p:txBody>
        </p:sp>
        <p:sp>
          <p:nvSpPr>
            <p:cNvPr id="85" name="Oval 84">
              <a:extLst>
                <a:ext uri="{FF2B5EF4-FFF2-40B4-BE49-F238E27FC236}">
                  <a16:creationId xmlns:a16="http://schemas.microsoft.com/office/drawing/2014/main" id="{3D69A976-B4A5-4DEB-B78F-A23D17B7F99B}"/>
                </a:ext>
              </a:extLst>
            </p:cNvPr>
            <p:cNvSpPr/>
            <p:nvPr/>
          </p:nvSpPr>
          <p:spPr bwMode="gray">
            <a:xfrm>
              <a:off x="1286838" y="5146983"/>
              <a:ext cx="1656000" cy="684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B3A42"/>
                  </a:solidFill>
                  <a:effectLst/>
                  <a:uLnTx/>
                  <a:uFillTx/>
                  <a:latin typeface="Noto Sans"/>
                  <a:ea typeface="+mn-ea"/>
                  <a:cs typeface="+mn-cs"/>
                </a:rPr>
                <a:t>Anti-IL targeting therapies for COPD</a:t>
              </a:r>
            </a:p>
          </p:txBody>
        </p:sp>
      </p:grpSp>
      <p:cxnSp>
        <p:nvCxnSpPr>
          <p:cNvPr id="81" name="Straight Arrow Connector 80">
            <a:extLst>
              <a:ext uri="{FF2B5EF4-FFF2-40B4-BE49-F238E27FC236}">
                <a16:creationId xmlns:a16="http://schemas.microsoft.com/office/drawing/2014/main" id="{D945F069-8570-492F-8AB5-2800C07EFC01}"/>
              </a:ext>
            </a:extLst>
          </p:cNvPr>
          <p:cNvCxnSpPr>
            <a:cxnSpLocks/>
          </p:cNvCxnSpPr>
          <p:nvPr/>
        </p:nvCxnSpPr>
        <p:spPr bwMode="gray">
          <a:xfrm>
            <a:off x="393827" y="5883408"/>
            <a:ext cx="11338560" cy="0"/>
          </a:xfrm>
          <a:prstGeom prst="straightConnector1">
            <a:avLst/>
          </a:prstGeom>
          <a:ln w="38100" cap="rnd">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FB60B8CA-90D2-4C6F-8932-FC362164096C}"/>
              </a:ext>
            </a:extLst>
          </p:cNvPr>
          <p:cNvSpPr>
            <a:spLocks/>
          </p:cNvSpPr>
          <p:nvPr/>
        </p:nvSpPr>
        <p:spPr bwMode="gray">
          <a:xfrm>
            <a:off x="384694" y="1863465"/>
            <a:ext cx="180000" cy="1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Noto Sans"/>
              <a:ea typeface="+mn-ea"/>
              <a:cs typeface="+mn-cs"/>
            </a:endParaRPr>
          </a:p>
        </p:txBody>
      </p:sp>
      <p:sp>
        <p:nvSpPr>
          <p:cNvPr id="53" name="Rectangle 52">
            <a:extLst>
              <a:ext uri="{FF2B5EF4-FFF2-40B4-BE49-F238E27FC236}">
                <a16:creationId xmlns:a16="http://schemas.microsoft.com/office/drawing/2014/main" id="{E916DC45-8235-4742-A2E2-90B692E60988}"/>
              </a:ext>
            </a:extLst>
          </p:cNvPr>
          <p:cNvSpPr>
            <a:spLocks/>
          </p:cNvSpPr>
          <p:nvPr/>
        </p:nvSpPr>
        <p:spPr bwMode="gray">
          <a:xfrm>
            <a:off x="384694" y="2142138"/>
            <a:ext cx="180000" cy="1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Noto Sans"/>
              <a:ea typeface="+mn-ea"/>
              <a:cs typeface="+mn-cs"/>
            </a:endParaRPr>
          </a:p>
        </p:txBody>
      </p:sp>
      <p:sp>
        <p:nvSpPr>
          <p:cNvPr id="13" name="Rectangle 12">
            <a:extLst>
              <a:ext uri="{FF2B5EF4-FFF2-40B4-BE49-F238E27FC236}">
                <a16:creationId xmlns:a16="http://schemas.microsoft.com/office/drawing/2014/main" id="{CA95E2A7-68F5-47E3-8B20-713A0EBA63DD}"/>
              </a:ext>
            </a:extLst>
          </p:cNvPr>
          <p:cNvSpPr>
            <a:spLocks/>
          </p:cNvSpPr>
          <p:nvPr/>
        </p:nvSpPr>
        <p:spPr bwMode="gray">
          <a:xfrm>
            <a:off x="384693" y="1490472"/>
            <a:ext cx="914400" cy="274320"/>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B3A42"/>
                </a:solidFill>
                <a:effectLst/>
                <a:uLnTx/>
                <a:uFillTx/>
                <a:latin typeface="Noto Sans"/>
                <a:ea typeface="+mn-ea"/>
                <a:cs typeface="+mn-cs"/>
              </a:rPr>
              <a:t>Key:</a:t>
            </a:r>
            <a:endParaRPr kumimoji="0" lang="en-GB" sz="1400" b="0" i="0" u="none" strike="noStrike" kern="1200" cap="none" spc="0" normalizeH="0" baseline="0" noProof="0">
              <a:ln>
                <a:noFill/>
              </a:ln>
              <a:solidFill>
                <a:srgbClr val="2B3A42"/>
              </a:solidFill>
              <a:effectLst/>
              <a:uLnTx/>
              <a:uFillTx/>
              <a:latin typeface="Noto Sans"/>
              <a:ea typeface="+mn-ea"/>
              <a:cs typeface="+mn-cs"/>
            </a:endParaRPr>
          </a:p>
        </p:txBody>
      </p:sp>
      <p:sp>
        <p:nvSpPr>
          <p:cNvPr id="26" name="Rectangle 25">
            <a:extLst>
              <a:ext uri="{FF2B5EF4-FFF2-40B4-BE49-F238E27FC236}">
                <a16:creationId xmlns:a16="http://schemas.microsoft.com/office/drawing/2014/main" id="{21ADEAF0-E755-7118-DE04-33C840C4F335}"/>
              </a:ext>
            </a:extLst>
          </p:cNvPr>
          <p:cNvSpPr>
            <a:spLocks/>
          </p:cNvSpPr>
          <p:nvPr/>
        </p:nvSpPr>
        <p:spPr bwMode="gray">
          <a:xfrm>
            <a:off x="516029" y="1878873"/>
            <a:ext cx="3763848" cy="158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Noto Sans"/>
                <a:ea typeface="+mn-ea"/>
                <a:cs typeface="+mn-cs"/>
              </a:rPr>
              <a:t>Require specialist centres or hospitals</a:t>
            </a:r>
          </a:p>
        </p:txBody>
      </p:sp>
      <p:sp>
        <p:nvSpPr>
          <p:cNvPr id="29" name="Rectangle 28">
            <a:extLst>
              <a:ext uri="{FF2B5EF4-FFF2-40B4-BE49-F238E27FC236}">
                <a16:creationId xmlns:a16="http://schemas.microsoft.com/office/drawing/2014/main" id="{1431CF30-BD54-30C3-E6D3-D9FDBCABF7C9}"/>
              </a:ext>
            </a:extLst>
          </p:cNvPr>
          <p:cNvSpPr>
            <a:spLocks/>
          </p:cNvSpPr>
          <p:nvPr/>
        </p:nvSpPr>
        <p:spPr bwMode="gray">
          <a:xfrm>
            <a:off x="516028" y="2140218"/>
            <a:ext cx="3955387" cy="1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B3A42"/>
                </a:solidFill>
                <a:effectLst/>
                <a:uLnTx/>
                <a:uFillTx/>
                <a:latin typeface="Noto Sans"/>
                <a:ea typeface="+mn-ea"/>
                <a:cs typeface="+mn-cs"/>
              </a:rPr>
              <a:t>May be administered in community settings</a:t>
            </a:r>
          </a:p>
        </p:txBody>
      </p:sp>
      <p:sp>
        <p:nvSpPr>
          <p:cNvPr id="16" name="Rectangle 15">
            <a:extLst>
              <a:ext uri="{FF2B5EF4-FFF2-40B4-BE49-F238E27FC236}">
                <a16:creationId xmlns:a16="http://schemas.microsoft.com/office/drawing/2014/main" id="{061AEFF3-7D49-0332-1A25-D364C541DCDD}"/>
              </a:ext>
            </a:extLst>
          </p:cNvPr>
          <p:cNvSpPr/>
          <p:nvPr/>
        </p:nvSpPr>
        <p:spPr bwMode="gray">
          <a:xfrm>
            <a:off x="303802" y="6574479"/>
            <a:ext cx="11338560" cy="137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Noto Sans"/>
                <a:ea typeface="+mn-ea"/>
                <a:cs typeface="+mn-cs"/>
              </a:rPr>
              <a:t>Abbreviations: Antimicrobial resistance (AMR), Anti-interleukin (Anti-IL), Chimeric antigen receptor T cells (CAR-Ts), Chronic obstructive pulmonary disease (COPD), Cardiovascular disease (CVD), Epstein-Barr virus (EBV), Monoclonal antibodies (</a:t>
            </a:r>
            <a:r>
              <a:rPr kumimoji="0" lang="en-US" sz="900" b="0" i="0" u="none" strike="noStrike" kern="1200" cap="none" spc="0" normalizeH="0" baseline="0" noProof="0" err="1">
                <a:ln>
                  <a:noFill/>
                </a:ln>
                <a:solidFill>
                  <a:srgbClr val="2B3A42"/>
                </a:solidFill>
                <a:effectLst/>
                <a:uLnTx/>
                <a:uFillTx/>
                <a:latin typeface="Noto Sans"/>
                <a:ea typeface="+mn-ea"/>
                <a:cs typeface="+mn-cs"/>
              </a:rPr>
              <a:t>mAbs</a:t>
            </a:r>
            <a:r>
              <a:rPr kumimoji="0" lang="en-US" sz="900" b="0" i="0" u="none" strike="noStrike" kern="1200" cap="none" spc="0" normalizeH="0" baseline="0" noProof="0">
                <a:ln>
                  <a:noFill/>
                </a:ln>
                <a:solidFill>
                  <a:srgbClr val="2B3A42"/>
                </a:solidFill>
                <a:effectLst/>
                <a:uLnTx/>
                <a:uFillTx/>
                <a:latin typeface="Noto Sans"/>
                <a:ea typeface="+mn-ea"/>
                <a:cs typeface="+mn-cs"/>
              </a:rPr>
              <a:t>), Messenger RNA (mRNA), Respiratory syncytial virus (RSV), Self-amplifying RNA (</a:t>
            </a:r>
            <a:r>
              <a:rPr kumimoji="0" lang="en-US" sz="900" b="0" i="0" u="none" strike="noStrike" kern="1200" cap="none" spc="0" normalizeH="0" baseline="0" noProof="0" err="1">
                <a:ln>
                  <a:noFill/>
                </a:ln>
                <a:solidFill>
                  <a:srgbClr val="2B3A42"/>
                </a:solidFill>
                <a:effectLst/>
                <a:uLnTx/>
                <a:uFillTx/>
                <a:latin typeface="Noto Sans"/>
                <a:ea typeface="+mn-ea"/>
                <a:cs typeface="+mn-cs"/>
              </a:rPr>
              <a:t>saRNA</a:t>
            </a:r>
            <a:r>
              <a:rPr kumimoji="0" lang="en-US" sz="900" b="0" i="0" u="none" strike="noStrike" kern="1200" cap="none" spc="0" normalizeH="0" baseline="0" noProof="0">
                <a:ln>
                  <a:noFill/>
                </a:ln>
                <a:solidFill>
                  <a:srgbClr val="2B3A42"/>
                </a:solidFill>
                <a:effectLst/>
                <a:uLnTx/>
                <a:uFillTx/>
                <a:latin typeface="Noto Sans"/>
                <a:ea typeface="+mn-ea"/>
                <a:cs typeface="+mn-cs"/>
              </a:rPr>
              <a:t>), Therapies (Tx), Parkinson’s Disease (PD); 2024 Pipeline Review – Innovation for Unmet Need</a:t>
            </a:r>
          </a:p>
        </p:txBody>
      </p:sp>
      <p:sp>
        <p:nvSpPr>
          <p:cNvPr id="18" name="Double Bracket 58">
            <a:extLst>
              <a:ext uri="{FF2B5EF4-FFF2-40B4-BE49-F238E27FC236}">
                <a16:creationId xmlns:a16="http://schemas.microsoft.com/office/drawing/2014/main" id="{77C95E19-B65E-AF22-E970-7E86A9F27B95}"/>
              </a:ext>
            </a:extLst>
          </p:cNvPr>
          <p:cNvSpPr/>
          <p:nvPr/>
        </p:nvSpPr>
        <p:spPr bwMode="gray">
          <a:xfrm rot="5400000">
            <a:off x="10900294" y="935673"/>
            <a:ext cx="274320" cy="1371600"/>
          </a:xfrm>
          <a:prstGeom prst="roundRect">
            <a:avLst/>
          </a:prstGeom>
          <a:solidFill>
            <a:sysClr val="window" lastClr="FFFFFF"/>
          </a:solidFill>
          <a:ln w="19050" cap="flat" cmpd="sng" algn="ctr">
            <a:solidFill>
              <a:srgbClr val="FF0000"/>
            </a:solidFill>
            <a:prstDash val="soli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FF0000"/>
                </a:solidFill>
                <a:effectLst/>
                <a:uLnTx/>
                <a:uFillTx/>
                <a:latin typeface="Noto Sans"/>
                <a:ea typeface="+mn-ea"/>
                <a:cs typeface="+mn-cs"/>
              </a:rPr>
              <a:t>Illustrative</a:t>
            </a:r>
          </a:p>
        </p:txBody>
      </p:sp>
      <p:sp>
        <p:nvSpPr>
          <p:cNvPr id="7" name="Footer Placeholder 6">
            <a:extLst>
              <a:ext uri="{FF2B5EF4-FFF2-40B4-BE49-F238E27FC236}">
                <a16:creationId xmlns:a16="http://schemas.microsoft.com/office/drawing/2014/main" id="{F8522A16-7200-BD87-0837-EA2A1ECD653B}"/>
              </a:ext>
            </a:extLst>
          </p:cNvPr>
          <p:cNvSpPr>
            <a:spLocks noGrp="1"/>
          </p:cNvSpPr>
          <p:nvPr>
            <p:ph type="ftr" sz="quarter" idx="3"/>
          </p:nvPr>
        </p:nvSpPr>
        <p:spPr>
          <a:xfrm>
            <a:off x="1468278" y="6420202"/>
            <a:ext cx="9285484" cy="33808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2B3A42"/>
              </a:solidFill>
              <a:effectLst/>
              <a:uLnTx/>
              <a:uFillTx/>
              <a:latin typeface="Noto Sans"/>
              <a:ea typeface="+mn-ea"/>
              <a:cs typeface="+mn-cs"/>
            </a:endParaRPr>
          </a:p>
        </p:txBody>
      </p:sp>
    </p:spTree>
    <p:extLst>
      <p:ext uri="{BB962C8B-B14F-4D97-AF65-F5344CB8AC3E}">
        <p14:creationId xmlns:p14="http://schemas.microsoft.com/office/powerpoint/2010/main" val="577439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E9FC0A-27E2-F90B-3049-F67C4485EEB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051FA6-FC68-84C9-0159-54325035C7A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think-cell data - do not delete" hidden="1">
                        <a:extLst>
                          <a:ext uri="{FF2B5EF4-FFF2-40B4-BE49-F238E27FC236}">
                            <a16:creationId xmlns:a16="http://schemas.microsoft.com/office/drawing/2014/main" id="{A0051FA6-FC68-84C9-0159-54325035C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rc 1">
            <a:extLst>
              <a:ext uri="{FF2B5EF4-FFF2-40B4-BE49-F238E27FC236}">
                <a16:creationId xmlns:a16="http://schemas.microsoft.com/office/drawing/2014/main" id="{BF60F959-A662-8F5B-DED2-1A5CD1A527D6}"/>
              </a:ext>
            </a:extLst>
          </p:cNvPr>
          <p:cNvSpPr/>
          <p:nvPr/>
        </p:nvSpPr>
        <p:spPr>
          <a:xfrm>
            <a:off x="4034467" y="467596"/>
            <a:ext cx="1626175" cy="5812001"/>
          </a:xfrm>
          <a:custGeom>
            <a:avLst/>
            <a:gdLst>
              <a:gd name="connsiteX0" fmla="*/ 5229682 w 6838496"/>
              <a:gd name="connsiteY0" fmla="*/ 518630 h 6838496"/>
              <a:gd name="connsiteX1" fmla="*/ 6838481 w 6838496"/>
              <a:gd name="connsiteY1" fmla="*/ 3429462 h 6838496"/>
              <a:gd name="connsiteX2" fmla="*/ 5212321 w 6838496"/>
              <a:gd name="connsiteY2" fmla="*/ 6330631 h 6838496"/>
              <a:gd name="connsiteX3" fmla="*/ 3419248 w 6838496"/>
              <a:gd name="connsiteY3" fmla="*/ 3419248 h 6838496"/>
              <a:gd name="connsiteX4" fmla="*/ 5229682 w 6838496"/>
              <a:gd name="connsiteY4" fmla="*/ 518630 h 6838496"/>
              <a:gd name="connsiteX0" fmla="*/ 5229682 w 6838496"/>
              <a:gd name="connsiteY0" fmla="*/ 518630 h 6838496"/>
              <a:gd name="connsiteX1" fmla="*/ 6838481 w 6838496"/>
              <a:gd name="connsiteY1" fmla="*/ 3429462 h 6838496"/>
              <a:gd name="connsiteX2" fmla="*/ 5212321 w 6838496"/>
              <a:gd name="connsiteY2" fmla="*/ 6330631 h 6838496"/>
              <a:gd name="connsiteX0" fmla="*/ 17361 w 1626175"/>
              <a:gd name="connsiteY0" fmla="*/ 0 h 5812001"/>
              <a:gd name="connsiteX1" fmla="*/ 1626160 w 1626175"/>
              <a:gd name="connsiteY1" fmla="*/ 2910832 h 5812001"/>
              <a:gd name="connsiteX2" fmla="*/ 0 w 1626175"/>
              <a:gd name="connsiteY2" fmla="*/ 5812001 h 5812001"/>
              <a:gd name="connsiteX3" fmla="*/ 17361 w 1626175"/>
              <a:gd name="connsiteY3" fmla="*/ 0 h 5812001"/>
              <a:gd name="connsiteX0" fmla="*/ 17361 w 1626175"/>
              <a:gd name="connsiteY0" fmla="*/ 0 h 5812001"/>
              <a:gd name="connsiteX1" fmla="*/ 1626160 w 1626175"/>
              <a:gd name="connsiteY1" fmla="*/ 2910832 h 5812001"/>
              <a:gd name="connsiteX2" fmla="*/ 0 w 1626175"/>
              <a:gd name="connsiteY2" fmla="*/ 5812001 h 5812001"/>
            </a:gdLst>
            <a:ahLst/>
            <a:cxnLst>
              <a:cxn ang="0">
                <a:pos x="connsiteX0" y="connsiteY0"/>
              </a:cxn>
              <a:cxn ang="0">
                <a:pos x="connsiteX1" y="connsiteY1"/>
              </a:cxn>
              <a:cxn ang="0">
                <a:pos x="connsiteX2" y="connsiteY2"/>
              </a:cxn>
            </a:cxnLst>
            <a:rect l="l" t="t" r="r" b="b"/>
            <a:pathLst>
              <a:path w="1626175" h="5812001" stroke="0" extrusionOk="0">
                <a:moveTo>
                  <a:pt x="17361" y="0"/>
                </a:moveTo>
                <a:cubicBezTo>
                  <a:pt x="1021175" y="626535"/>
                  <a:pt x="1629695" y="1727542"/>
                  <a:pt x="1626160" y="2910832"/>
                </a:cubicBezTo>
                <a:cubicBezTo>
                  <a:pt x="1622625" y="4094122"/>
                  <a:pt x="1007539" y="5191474"/>
                  <a:pt x="0" y="5812001"/>
                </a:cubicBezTo>
                <a:lnTo>
                  <a:pt x="17361" y="0"/>
                </a:lnTo>
                <a:close/>
              </a:path>
              <a:path w="1626175" h="5812001" fill="none">
                <a:moveTo>
                  <a:pt x="17361" y="0"/>
                </a:moveTo>
                <a:cubicBezTo>
                  <a:pt x="1021175" y="626535"/>
                  <a:pt x="1629695" y="1727542"/>
                  <a:pt x="1626160" y="2910832"/>
                </a:cubicBezTo>
                <a:cubicBezTo>
                  <a:pt x="1622625" y="4094122"/>
                  <a:pt x="1007539" y="5191474"/>
                  <a:pt x="0" y="5812001"/>
                </a:cubicBezTo>
              </a:path>
            </a:pathLst>
          </a:custGeom>
          <a:noFill/>
          <a:ln w="38100" cap="rnd">
            <a:solidFill>
              <a:schemeClr val="accent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Noto Sans"/>
              <a:ea typeface="+mn-ea"/>
              <a:cs typeface="+mn-cs"/>
            </a:endParaRPr>
          </a:p>
        </p:txBody>
      </p:sp>
      <p:sp>
        <p:nvSpPr>
          <p:cNvPr id="60" name="Oval 59">
            <a:extLst>
              <a:ext uri="{FF2B5EF4-FFF2-40B4-BE49-F238E27FC236}">
                <a16:creationId xmlns:a16="http://schemas.microsoft.com/office/drawing/2014/main" id="{38F1F7F4-664A-E3FA-995D-E4E49958C098}"/>
              </a:ext>
            </a:extLst>
          </p:cNvPr>
          <p:cNvSpPr/>
          <p:nvPr/>
        </p:nvSpPr>
        <p:spPr>
          <a:xfrm>
            <a:off x="5214863" y="2393992"/>
            <a:ext cx="881522" cy="865352"/>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Noto Sans"/>
              <a:ea typeface="+mn-ea"/>
              <a:cs typeface="+mn-cs"/>
            </a:endParaRPr>
          </a:p>
        </p:txBody>
      </p:sp>
      <p:sp>
        <p:nvSpPr>
          <p:cNvPr id="9" name="Oval 8">
            <a:extLst>
              <a:ext uri="{FF2B5EF4-FFF2-40B4-BE49-F238E27FC236}">
                <a16:creationId xmlns:a16="http://schemas.microsoft.com/office/drawing/2014/main" id="{DA8BB04D-2DD7-3202-50B8-359300B5C7DD}"/>
              </a:ext>
            </a:extLst>
          </p:cNvPr>
          <p:cNvSpPr/>
          <p:nvPr/>
        </p:nvSpPr>
        <p:spPr>
          <a:xfrm>
            <a:off x="4252814" y="5362491"/>
            <a:ext cx="881522" cy="865352"/>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Noto Sans"/>
              <a:ea typeface="+mn-ea"/>
              <a:cs typeface="+mn-cs"/>
            </a:endParaRPr>
          </a:p>
        </p:txBody>
      </p:sp>
      <p:sp>
        <p:nvSpPr>
          <p:cNvPr id="61" name="Oval 60">
            <a:extLst>
              <a:ext uri="{FF2B5EF4-FFF2-40B4-BE49-F238E27FC236}">
                <a16:creationId xmlns:a16="http://schemas.microsoft.com/office/drawing/2014/main" id="{1DC7A0D0-BB27-8E2C-AF23-856B19A78FE8}"/>
              </a:ext>
            </a:extLst>
          </p:cNvPr>
          <p:cNvSpPr/>
          <p:nvPr/>
        </p:nvSpPr>
        <p:spPr>
          <a:xfrm>
            <a:off x="4498387" y="852183"/>
            <a:ext cx="881522" cy="865352"/>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Noto Sans"/>
              <a:ea typeface="+mn-ea"/>
              <a:cs typeface="+mn-cs"/>
            </a:endParaRPr>
          </a:p>
        </p:txBody>
      </p:sp>
      <p:sp>
        <p:nvSpPr>
          <p:cNvPr id="13" name="Rectangle 12">
            <a:extLst>
              <a:ext uri="{FF2B5EF4-FFF2-40B4-BE49-F238E27FC236}">
                <a16:creationId xmlns:a16="http://schemas.microsoft.com/office/drawing/2014/main" id="{69EEF12A-0C00-C2CF-D353-0F80D88E9558}"/>
              </a:ext>
            </a:extLst>
          </p:cNvPr>
          <p:cNvSpPr/>
          <p:nvPr/>
        </p:nvSpPr>
        <p:spPr>
          <a:xfrm>
            <a:off x="2298963" y="5452427"/>
            <a:ext cx="1797973" cy="584775"/>
          </a:xfrm>
          <a:prstGeom prst="rect">
            <a:avLst/>
          </a:prstGeom>
        </p:spPr>
        <p:txBody>
          <a:bodyPr wrap="square">
            <a:noAutofit/>
          </a:bodyPr>
          <a:lstStyle/>
          <a:p>
            <a:pPr marL="0" marR="0" lvl="0" indent="0" algn="r" defTabSz="914400" rtl="0" eaLnBrk="1" fontAlgn="auto" latinLnBrk="0" hangingPunct="1">
              <a:lnSpc>
                <a:spcPct val="100000"/>
              </a:lnSpc>
              <a:spcBef>
                <a:spcPts val="0"/>
              </a:spcBef>
              <a:spcAft>
                <a:spcPts val="300"/>
              </a:spcAft>
              <a:buClrTx/>
              <a:buSzTx/>
              <a:buFontTx/>
              <a:buNone/>
              <a:tabLst>
                <a:tab pos="4283075" algn="l"/>
              </a:tabLst>
              <a:defRPr/>
            </a:pPr>
            <a:r>
              <a:rPr kumimoji="0" lang="en-US" sz="1400" b="1" i="0" u="none" strike="noStrike" kern="1200" cap="none" spc="0" normalizeH="0" baseline="0" noProof="0">
                <a:ln>
                  <a:noFill/>
                </a:ln>
                <a:solidFill>
                  <a:srgbClr val="00BFB3"/>
                </a:solidFill>
                <a:effectLst/>
                <a:uLnTx/>
                <a:uFillTx/>
                <a:latin typeface="Noto Sans"/>
                <a:ea typeface="Noto Sans" panose="020B0502040504020204" pitchFamily="34"/>
                <a:cs typeface="Noto Sans" panose="020B0502040504020204" pitchFamily="34"/>
              </a:rPr>
              <a:t>Brand growth  and innovation</a:t>
            </a:r>
          </a:p>
        </p:txBody>
      </p:sp>
      <p:sp>
        <p:nvSpPr>
          <p:cNvPr id="33" name="Oval 32">
            <a:extLst>
              <a:ext uri="{FF2B5EF4-FFF2-40B4-BE49-F238E27FC236}">
                <a16:creationId xmlns:a16="http://schemas.microsoft.com/office/drawing/2014/main" id="{E7E0B900-FFAD-C4B8-6959-B86428EF5DB1}"/>
              </a:ext>
            </a:extLst>
          </p:cNvPr>
          <p:cNvSpPr/>
          <p:nvPr/>
        </p:nvSpPr>
        <p:spPr>
          <a:xfrm>
            <a:off x="510977" y="1995948"/>
            <a:ext cx="2405945" cy="25012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9" name="Rectangle 38">
            <a:extLst>
              <a:ext uri="{FF2B5EF4-FFF2-40B4-BE49-F238E27FC236}">
                <a16:creationId xmlns:a16="http://schemas.microsoft.com/office/drawing/2014/main" id="{27914E02-08D3-B255-4D92-850ED782CFA6}"/>
              </a:ext>
            </a:extLst>
          </p:cNvPr>
          <p:cNvSpPr/>
          <p:nvPr/>
        </p:nvSpPr>
        <p:spPr>
          <a:xfrm>
            <a:off x="584710" y="3089791"/>
            <a:ext cx="2196358" cy="47249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Noto Sans"/>
                <a:ea typeface="+mn-ea"/>
                <a:cs typeface="+mn-cs"/>
              </a:rPr>
              <a:t>MHRA is encouraging POM to P reclassifi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Noto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Noto Sans"/>
                <a:ea typeface="+mn-ea"/>
                <a:cs typeface="+mn-cs"/>
              </a:rPr>
              <a:t>What is the impact on Community Pharmacy? </a:t>
            </a:r>
          </a:p>
        </p:txBody>
      </p:sp>
      <p:sp>
        <p:nvSpPr>
          <p:cNvPr id="65" name="Rectangle 64">
            <a:extLst>
              <a:ext uri="{FF2B5EF4-FFF2-40B4-BE49-F238E27FC236}">
                <a16:creationId xmlns:a16="http://schemas.microsoft.com/office/drawing/2014/main" id="{024A1F44-7EE0-3A3E-6E8C-CAB0097D4361}"/>
              </a:ext>
            </a:extLst>
          </p:cNvPr>
          <p:cNvSpPr/>
          <p:nvPr/>
        </p:nvSpPr>
        <p:spPr>
          <a:xfrm>
            <a:off x="2774431" y="2545271"/>
            <a:ext cx="2277528" cy="584775"/>
          </a:xfrm>
          <a:prstGeom prst="rect">
            <a:avLst/>
          </a:prstGeom>
        </p:spPr>
        <p:txBody>
          <a:bodyPr wrap="square">
            <a:noAutofit/>
          </a:bodyPr>
          <a:lstStyle/>
          <a:p>
            <a:pPr marL="0" marR="0" lvl="0" indent="0" algn="r" defTabSz="914400" rtl="0" eaLnBrk="1" fontAlgn="auto" latinLnBrk="0" hangingPunct="1">
              <a:lnSpc>
                <a:spcPct val="100000"/>
              </a:lnSpc>
              <a:spcBef>
                <a:spcPts val="0"/>
              </a:spcBef>
              <a:spcAft>
                <a:spcPts val="300"/>
              </a:spcAft>
              <a:buClrTx/>
              <a:buSzTx/>
              <a:buFontTx/>
              <a:buNone/>
              <a:tabLst>
                <a:tab pos="4283075" algn="l"/>
              </a:tabLst>
              <a:defRPr/>
            </a:pPr>
            <a:r>
              <a:rPr kumimoji="0" lang="en-US" sz="1400" b="1" i="0" u="none" strike="noStrike" kern="1200" cap="none" spc="0" normalizeH="0" baseline="0" noProof="0">
                <a:ln>
                  <a:noFill/>
                </a:ln>
                <a:solidFill>
                  <a:srgbClr val="00BFB3"/>
                </a:solidFill>
                <a:effectLst/>
                <a:uLnTx/>
                <a:uFillTx/>
                <a:latin typeface="Noto Sans"/>
                <a:ea typeface="Noto Sans" panose="020B0502040504020204" pitchFamily="34"/>
                <a:cs typeface="Noto Sans" panose="020B0502040504020204" pitchFamily="34"/>
              </a:rPr>
              <a:t>Reduces burden on healthcare services</a:t>
            </a:r>
          </a:p>
        </p:txBody>
      </p:sp>
      <p:sp>
        <p:nvSpPr>
          <p:cNvPr id="66" name="Rectangle 65">
            <a:extLst>
              <a:ext uri="{FF2B5EF4-FFF2-40B4-BE49-F238E27FC236}">
                <a16:creationId xmlns:a16="http://schemas.microsoft.com/office/drawing/2014/main" id="{FE64C0BF-051A-2AD8-7685-2FDA7E7D01A1}"/>
              </a:ext>
            </a:extLst>
          </p:cNvPr>
          <p:cNvSpPr/>
          <p:nvPr/>
        </p:nvSpPr>
        <p:spPr>
          <a:xfrm>
            <a:off x="3153643" y="3992445"/>
            <a:ext cx="1917863" cy="584775"/>
          </a:xfrm>
          <a:prstGeom prst="rect">
            <a:avLst/>
          </a:prstGeom>
        </p:spPr>
        <p:txBody>
          <a:bodyPr wrap="square">
            <a:noAutofit/>
          </a:bodyPr>
          <a:lstStyle/>
          <a:p>
            <a:pPr marL="0" marR="0" lvl="0" indent="0" algn="r" defTabSz="914400" rtl="0" eaLnBrk="1" fontAlgn="auto" latinLnBrk="0" hangingPunct="1">
              <a:lnSpc>
                <a:spcPct val="100000"/>
              </a:lnSpc>
              <a:spcBef>
                <a:spcPts val="0"/>
              </a:spcBef>
              <a:spcAft>
                <a:spcPts val="300"/>
              </a:spcAft>
              <a:buClrTx/>
              <a:buSzTx/>
              <a:buFontTx/>
              <a:buNone/>
              <a:tabLst>
                <a:tab pos="4283075" algn="l"/>
              </a:tabLst>
              <a:defRPr/>
            </a:pPr>
            <a:r>
              <a:rPr kumimoji="0" lang="en-US" sz="1400" b="1" i="0" u="none" strike="noStrike" kern="1200" cap="none" spc="0" normalizeH="0" baseline="0" noProof="0">
                <a:ln>
                  <a:noFill/>
                </a:ln>
                <a:solidFill>
                  <a:srgbClr val="00BFB3"/>
                </a:solidFill>
                <a:effectLst/>
                <a:uLnTx/>
                <a:uFillTx/>
                <a:latin typeface="Noto Sans"/>
                <a:ea typeface="Noto Sans" panose="020B0502040504020204" pitchFamily="34"/>
                <a:cs typeface="Noto Sans" panose="020B0502040504020204" pitchFamily="34"/>
              </a:rPr>
              <a:t>Consumer self-care is a growing trend</a:t>
            </a:r>
          </a:p>
        </p:txBody>
      </p:sp>
      <p:sp>
        <p:nvSpPr>
          <p:cNvPr id="68" name="Text Placeholder 6">
            <a:extLst>
              <a:ext uri="{FF2B5EF4-FFF2-40B4-BE49-F238E27FC236}">
                <a16:creationId xmlns:a16="http://schemas.microsoft.com/office/drawing/2014/main" id="{6D9649F3-E511-03D5-9AB4-A5F39B787749}"/>
              </a:ext>
            </a:extLst>
          </p:cNvPr>
          <p:cNvSpPr txBox="1">
            <a:spLocks/>
          </p:cNvSpPr>
          <p:nvPr/>
        </p:nvSpPr>
        <p:spPr>
          <a:xfrm>
            <a:off x="5425057" y="5574507"/>
            <a:ext cx="5257482" cy="705090"/>
          </a:xfrm>
          <a:prstGeom prst="rect">
            <a:avLst/>
          </a:prstGeom>
        </p:spPr>
        <p:txBody>
          <a:bodyPr numCol="1"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2B3A42"/>
                </a:solidFill>
                <a:effectLst/>
                <a:uLnTx/>
                <a:uFillTx/>
                <a:latin typeface="Noto Sans"/>
                <a:ea typeface="+mn-ea"/>
                <a:cs typeface="+mn-cs"/>
              </a:rPr>
              <a:t>Growth opportunities for lifecycle management </a:t>
            </a:r>
            <a:r>
              <a:rPr kumimoji="0" lang="en-US" sz="1400" b="0" i="0" u="none" strike="noStrike" kern="1200" cap="none" spc="0" normalizeH="0" baseline="0" noProof="0">
                <a:ln>
                  <a:noFill/>
                </a:ln>
                <a:solidFill>
                  <a:srgbClr val="2B3A42"/>
                </a:solidFill>
                <a:effectLst/>
                <a:uLnTx/>
                <a:uFillTx/>
                <a:latin typeface="Noto Sans"/>
                <a:ea typeface="+mn-ea"/>
                <a:cs typeface="+mn-cs"/>
              </a:rPr>
              <a:t>after </a:t>
            </a:r>
            <a:r>
              <a:rPr kumimoji="0" lang="en-US" sz="1400" b="1" i="0" u="none" strike="noStrike" kern="1200" cap="none" spc="0" normalizeH="0" baseline="0" noProof="0">
                <a:ln>
                  <a:noFill/>
                </a:ln>
                <a:solidFill>
                  <a:srgbClr val="2B3A42"/>
                </a:solidFill>
                <a:effectLst/>
                <a:uLnTx/>
                <a:uFillTx/>
                <a:latin typeface="Noto Sans"/>
                <a:ea typeface="+mn-ea"/>
                <a:cs typeface="+mn-cs"/>
              </a:rPr>
              <a:t>patent expiry </a:t>
            </a:r>
            <a:r>
              <a:rPr kumimoji="0" lang="en-US" sz="1400" b="0" i="0" u="none" strike="noStrike" kern="1200" cap="none" spc="0" normalizeH="0" baseline="0" noProof="0">
                <a:ln>
                  <a:noFill/>
                </a:ln>
                <a:solidFill>
                  <a:srgbClr val="2B3A42"/>
                </a:solidFill>
                <a:effectLst/>
                <a:uLnTx/>
                <a:uFillTx/>
                <a:latin typeface="Noto Sans"/>
                <a:ea typeface="+mn-ea"/>
                <a:cs typeface="+mn-cs"/>
              </a:rPr>
              <a:t>or increase Rx molecule revenu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2B3A42"/>
                </a:solidFill>
                <a:effectLst/>
                <a:uLnTx/>
                <a:uFillTx/>
                <a:latin typeface="Noto Sans"/>
                <a:ea typeface="+mn-ea"/>
                <a:cs typeface="+mn-cs"/>
              </a:rPr>
              <a:t>Innovation</a:t>
            </a:r>
            <a:r>
              <a:rPr kumimoji="0" lang="en-US" sz="1400" b="0" i="0" u="none" strike="noStrike" kern="1200" cap="none" spc="0" normalizeH="0" baseline="0" noProof="0">
                <a:ln>
                  <a:noFill/>
                </a:ln>
                <a:solidFill>
                  <a:srgbClr val="2B3A42"/>
                </a:solidFill>
                <a:effectLst/>
                <a:uLnTx/>
                <a:uFillTx/>
                <a:latin typeface="Noto Sans"/>
                <a:ea typeface="+mn-ea"/>
                <a:cs typeface="+mn-cs"/>
              </a:rPr>
              <a:t> </a:t>
            </a: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with focus on </a:t>
            </a:r>
            <a:r>
              <a:rPr kumimoji="0" lang="en-US"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novel formulations</a:t>
            </a: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 </a:t>
            </a:r>
            <a:r>
              <a:rPr kumimoji="0" lang="en-US"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additional claims </a:t>
            </a: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and </a:t>
            </a:r>
            <a:r>
              <a:rPr kumimoji="0" lang="en-US"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new indications</a:t>
            </a: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a:t>
            </a:r>
          </a:p>
        </p:txBody>
      </p:sp>
      <p:sp>
        <p:nvSpPr>
          <p:cNvPr id="69" name="Text Placeholder 6">
            <a:extLst>
              <a:ext uri="{FF2B5EF4-FFF2-40B4-BE49-F238E27FC236}">
                <a16:creationId xmlns:a16="http://schemas.microsoft.com/office/drawing/2014/main" id="{A584ED12-881F-E39C-C2FD-18128BA748FE}"/>
              </a:ext>
            </a:extLst>
          </p:cNvPr>
          <p:cNvSpPr txBox="1">
            <a:spLocks/>
          </p:cNvSpPr>
          <p:nvPr/>
        </p:nvSpPr>
        <p:spPr>
          <a:xfrm>
            <a:off x="6282984" y="4014948"/>
            <a:ext cx="5150339" cy="705090"/>
          </a:xfrm>
          <a:prstGeom prst="rect">
            <a:avLst/>
          </a:prstGeom>
        </p:spPr>
        <p:txBody>
          <a:bodyPr numCol="1"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283075" algn="l"/>
              </a:tabLst>
              <a:defRPr/>
            </a:pPr>
            <a:r>
              <a:rPr kumimoji="0" lang="en-US"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Shifts in consumer </a:t>
            </a:r>
            <a:r>
              <a:rPr kumimoji="0" lang="en-US" sz="1400" b="1" i="0" u="none" strike="noStrike" kern="1200" cap="none" spc="0" normalizeH="0" baseline="0" noProof="0" err="1">
                <a:ln>
                  <a:noFill/>
                </a:ln>
                <a:solidFill>
                  <a:srgbClr val="2B3A42"/>
                </a:solidFill>
                <a:effectLst/>
                <a:uLnTx/>
                <a:uFillTx/>
                <a:latin typeface="Noto Sans"/>
                <a:ea typeface="Noto Sans" panose="020B0502040504020204" pitchFamily="34"/>
                <a:cs typeface="Noto Sans" panose="020B0502040504020204" pitchFamily="34"/>
              </a:rPr>
              <a:t>behaviour</a:t>
            </a:r>
            <a:r>
              <a:rPr kumimoji="0" lang="en-US"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 towards self treatment/selection </a:t>
            </a: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and </a:t>
            </a:r>
            <a:r>
              <a:rPr kumimoji="0" lang="en-US"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purchasing</a:t>
            </a: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a:t>
            </a:r>
          </a:p>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283075" algn="l"/>
              </a:tabLst>
              <a:defRPr/>
            </a:pPr>
            <a:r>
              <a:rPr kumimoji="0" lang="en-GB"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Increased accessibility </a:t>
            </a:r>
            <a:r>
              <a:rPr kumimoji="0" lang="en-GB"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for individuals who may not have easy access to a healthcare provider.</a:t>
            </a:r>
            <a:endPar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endParaRPr>
          </a:p>
        </p:txBody>
      </p:sp>
      <p:sp>
        <p:nvSpPr>
          <p:cNvPr id="71" name="Text Placeholder 6">
            <a:extLst>
              <a:ext uri="{FF2B5EF4-FFF2-40B4-BE49-F238E27FC236}">
                <a16:creationId xmlns:a16="http://schemas.microsoft.com/office/drawing/2014/main" id="{6BB3A301-1EFE-139A-41B0-63194E206200}"/>
              </a:ext>
            </a:extLst>
          </p:cNvPr>
          <p:cNvSpPr txBox="1">
            <a:spLocks/>
          </p:cNvSpPr>
          <p:nvPr/>
        </p:nvSpPr>
        <p:spPr>
          <a:xfrm>
            <a:off x="6264773" y="2561946"/>
            <a:ext cx="5342517" cy="705090"/>
          </a:xfrm>
          <a:prstGeom prst="rect">
            <a:avLst/>
          </a:prstGeom>
        </p:spPr>
        <p:txBody>
          <a:bodyPr numCol="1"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tab pos="4283075" algn="l"/>
              </a:tabLst>
              <a:defRPr/>
            </a:pP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Pharmacists are a trusted </a:t>
            </a:r>
            <a:r>
              <a:rPr kumimoji="0" lang="en-US"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source of advice</a:t>
            </a: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 </a:t>
            </a:r>
          </a:p>
          <a:p>
            <a:pPr marL="22860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tab pos="4283075" algn="l"/>
              </a:tabLst>
              <a:defRPr/>
            </a:pP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Treatment of minor conditions </a:t>
            </a:r>
            <a:r>
              <a:rPr kumimoji="0" lang="en-US" sz="1400" b="1"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frees up other parts of the system</a:t>
            </a:r>
            <a:r>
              <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rPr>
              <a:t> to focus on more complex cases.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tab pos="4283075" algn="l"/>
              </a:tabLst>
              <a:defRPr/>
            </a:pPr>
            <a:endParaRPr kumimoji="0" lang="en-US" sz="1400" b="0" i="0" u="none" strike="noStrike" kern="1200" cap="none" spc="0" normalizeH="0" baseline="0" noProof="0">
              <a:ln>
                <a:noFill/>
              </a:ln>
              <a:solidFill>
                <a:srgbClr val="2B3A42"/>
              </a:solidFill>
              <a:effectLst/>
              <a:uLnTx/>
              <a:uFillTx/>
              <a:latin typeface="Noto Sans"/>
              <a:ea typeface="Noto Sans" panose="020B0502040504020204" pitchFamily="34"/>
              <a:cs typeface="Noto Sans" panose="020B0502040504020204" pitchFamily="34"/>
            </a:endParaRPr>
          </a:p>
        </p:txBody>
      </p:sp>
      <p:sp>
        <p:nvSpPr>
          <p:cNvPr id="58" name="Oval 57">
            <a:extLst>
              <a:ext uri="{FF2B5EF4-FFF2-40B4-BE49-F238E27FC236}">
                <a16:creationId xmlns:a16="http://schemas.microsoft.com/office/drawing/2014/main" id="{EB9BE312-1364-D0C2-78E6-D975A881FA99}"/>
              </a:ext>
            </a:extLst>
          </p:cNvPr>
          <p:cNvSpPr/>
          <p:nvPr/>
        </p:nvSpPr>
        <p:spPr>
          <a:xfrm>
            <a:off x="5145559" y="3842310"/>
            <a:ext cx="881522" cy="865352"/>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Noto Sans"/>
              <a:ea typeface="+mn-ea"/>
              <a:cs typeface="+mn-cs"/>
            </a:endParaRPr>
          </a:p>
        </p:txBody>
      </p:sp>
      <p:pic>
        <p:nvPicPr>
          <p:cNvPr id="4" name="Graphic 3">
            <a:extLst>
              <a:ext uri="{FF2B5EF4-FFF2-40B4-BE49-F238E27FC236}">
                <a16:creationId xmlns:a16="http://schemas.microsoft.com/office/drawing/2014/main" id="{9FEF44F4-3C9C-15F7-3FAB-8E6E11E42B1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293664" y="3937140"/>
            <a:ext cx="640080" cy="640080"/>
          </a:xfrm>
          <a:prstGeom prst="rect">
            <a:avLst/>
          </a:prstGeom>
        </p:spPr>
      </p:pic>
      <p:pic>
        <p:nvPicPr>
          <p:cNvPr id="6" name="Graphic 5">
            <a:extLst>
              <a:ext uri="{FF2B5EF4-FFF2-40B4-BE49-F238E27FC236}">
                <a16:creationId xmlns:a16="http://schemas.microsoft.com/office/drawing/2014/main" id="{C58B49F3-60BC-A5DE-9B12-6894D002298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360906" y="5459139"/>
            <a:ext cx="640080" cy="640080"/>
          </a:xfrm>
          <a:prstGeom prst="rect">
            <a:avLst/>
          </a:prstGeom>
        </p:spPr>
      </p:pic>
      <p:sp>
        <p:nvSpPr>
          <p:cNvPr id="8" name="Rectangle 7">
            <a:extLst>
              <a:ext uri="{FF2B5EF4-FFF2-40B4-BE49-F238E27FC236}">
                <a16:creationId xmlns:a16="http://schemas.microsoft.com/office/drawing/2014/main" id="{162F0D35-32E2-47AE-3532-F2434E231780}"/>
              </a:ext>
            </a:extLst>
          </p:cNvPr>
          <p:cNvSpPr/>
          <p:nvPr/>
        </p:nvSpPr>
        <p:spPr>
          <a:xfrm>
            <a:off x="2517058" y="973827"/>
            <a:ext cx="1865460" cy="584775"/>
          </a:xfrm>
          <a:prstGeom prst="rect">
            <a:avLst/>
          </a:prstGeom>
        </p:spPr>
        <p:txBody>
          <a:bodyPr wrap="square">
            <a:noAutofit/>
          </a:bodyPr>
          <a:lstStyle/>
          <a:p>
            <a:pPr marL="0" marR="0" lvl="0" indent="0" algn="r" defTabSz="914400" rtl="0" eaLnBrk="1" fontAlgn="auto" latinLnBrk="0" hangingPunct="1">
              <a:lnSpc>
                <a:spcPct val="100000"/>
              </a:lnSpc>
              <a:spcBef>
                <a:spcPts val="0"/>
              </a:spcBef>
              <a:spcAft>
                <a:spcPts val="300"/>
              </a:spcAft>
              <a:buClrTx/>
              <a:buSzTx/>
              <a:buFontTx/>
              <a:buNone/>
              <a:tabLst>
                <a:tab pos="4283075" algn="l"/>
              </a:tabLst>
              <a:defRPr/>
            </a:pPr>
            <a:r>
              <a:rPr kumimoji="0" lang="en-US" sz="1400" b="1" i="0" u="none" strike="noStrike" kern="1200" cap="none" spc="0" normalizeH="0" baseline="0" noProof="0">
                <a:ln>
                  <a:noFill/>
                </a:ln>
                <a:solidFill>
                  <a:srgbClr val="00BFB3"/>
                </a:solidFill>
                <a:effectLst/>
                <a:uLnTx/>
                <a:uFillTx/>
                <a:latin typeface="Noto Sans"/>
                <a:ea typeface="Noto Sans" panose="020B0502040504020204" pitchFamily="34"/>
                <a:cs typeface="Noto Sans" panose="020B0502040504020204" pitchFamily="34"/>
              </a:rPr>
              <a:t>Key treatment areas identified</a:t>
            </a:r>
          </a:p>
        </p:txBody>
      </p:sp>
      <p:pic>
        <p:nvPicPr>
          <p:cNvPr id="10" name="Graphic 9">
            <a:extLst>
              <a:ext uri="{FF2B5EF4-FFF2-40B4-BE49-F238E27FC236}">
                <a16:creationId xmlns:a16="http://schemas.microsoft.com/office/drawing/2014/main" id="{31B54C30-BC9D-E999-F383-D8A93387CD1F}"/>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616560" y="973827"/>
            <a:ext cx="640080" cy="640080"/>
          </a:xfrm>
          <a:prstGeom prst="rect">
            <a:avLst/>
          </a:prstGeom>
        </p:spPr>
      </p:pic>
      <p:sp>
        <p:nvSpPr>
          <p:cNvPr id="12" name="Shape 6">
            <a:extLst>
              <a:ext uri="{FF2B5EF4-FFF2-40B4-BE49-F238E27FC236}">
                <a16:creationId xmlns:a16="http://schemas.microsoft.com/office/drawing/2014/main" id="{94B15BC2-4B59-EC94-C259-F94C4EA270D5}"/>
              </a:ext>
            </a:extLst>
          </p:cNvPr>
          <p:cNvSpPr/>
          <p:nvPr/>
        </p:nvSpPr>
        <p:spPr>
          <a:xfrm>
            <a:off x="5935792" y="871864"/>
            <a:ext cx="658368" cy="658368"/>
          </a:xfrm>
          <a:prstGeom prst="ellipse">
            <a:avLst/>
          </a:prstGeom>
          <a:solidFill>
            <a:schemeClr val="tx2"/>
          </a:solidFill>
          <a:ln w="12700">
            <a:solidFill>
              <a:srgbClr val="0A69A7">
                <a:alpha val="0"/>
              </a:srgbClr>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400" b="0" i="0" u="none" strike="noStrike" kern="1200" cap="none" spc="0" normalizeH="0" baseline="0" noProof="0">
              <a:ln>
                <a:noFill/>
              </a:ln>
              <a:solidFill>
                <a:srgbClr val="2B3A42"/>
              </a:solidFill>
              <a:effectLst/>
              <a:uLnTx/>
              <a:uFillTx/>
              <a:latin typeface="Noto Sans"/>
              <a:ea typeface="+mn-ea"/>
              <a:cs typeface="+mn-cs"/>
            </a:endParaRPr>
          </a:p>
        </p:txBody>
      </p:sp>
      <p:pic>
        <p:nvPicPr>
          <p:cNvPr id="14" name="Image 1">
            <a:extLst>
              <a:ext uri="{FF2B5EF4-FFF2-40B4-BE49-F238E27FC236}">
                <a16:creationId xmlns:a16="http://schemas.microsoft.com/office/drawing/2014/main" id="{A7647ABA-594E-9F91-F6A1-E34218E8F515}"/>
              </a:ext>
            </a:extLst>
          </p:cNvPr>
          <p:cNvPicPr>
            <a:picLocks noChangeAspect="1"/>
          </p:cNvPicPr>
          <p:nvPr/>
        </p:nvPicPr>
        <p:blipFill>
          <a:blip r:embed="rId9"/>
          <a:stretch>
            <a:fillRect/>
          </a:stretch>
        </p:blipFill>
        <p:spPr>
          <a:xfrm>
            <a:off x="6045520" y="981592"/>
            <a:ext cx="438912" cy="438912"/>
          </a:xfrm>
          <a:prstGeom prst="rect">
            <a:avLst/>
          </a:prstGeom>
        </p:spPr>
      </p:pic>
      <p:sp>
        <p:nvSpPr>
          <p:cNvPr id="15" name="Text 7">
            <a:extLst>
              <a:ext uri="{FF2B5EF4-FFF2-40B4-BE49-F238E27FC236}">
                <a16:creationId xmlns:a16="http://schemas.microsoft.com/office/drawing/2014/main" id="{6B18B982-D26F-B7AF-2BD0-E8B0D735FE74}"/>
              </a:ext>
            </a:extLst>
          </p:cNvPr>
          <p:cNvSpPr/>
          <p:nvPr/>
        </p:nvSpPr>
        <p:spPr>
          <a:xfrm>
            <a:off x="5752912" y="1639960"/>
            <a:ext cx="1024128" cy="182880"/>
          </a:xfrm>
          <a:prstGeom prst="rect">
            <a:avLst/>
          </a:prstGeom>
          <a:noFill/>
          <a:ln/>
        </p:spPr>
        <p:txBody>
          <a:bodyPr wrap="square" lIns="0" tIns="0" rIns="0" bIns="0"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3746"/>
                </a:solidFill>
                <a:effectLst/>
                <a:uLnTx/>
                <a:uFillTx/>
                <a:latin typeface="Noto Sans"/>
                <a:ea typeface="+mn-ea"/>
                <a:cs typeface="+mn-cs"/>
              </a:rPr>
              <a:t>Pain</a:t>
            </a:r>
            <a:endParaRPr kumimoji="0" lang="en-US" sz="1400" b="0" i="0" u="none" strike="noStrike" kern="1200" cap="none" spc="0" normalizeH="0" baseline="0" noProof="0">
              <a:ln>
                <a:noFill/>
              </a:ln>
              <a:solidFill>
                <a:srgbClr val="2B3A42"/>
              </a:solidFill>
              <a:effectLst/>
              <a:uLnTx/>
              <a:uFillTx/>
              <a:latin typeface="Noto Sans"/>
              <a:ea typeface="+mn-ea"/>
              <a:cs typeface="+mn-cs"/>
            </a:endParaRPr>
          </a:p>
        </p:txBody>
      </p:sp>
      <p:sp>
        <p:nvSpPr>
          <p:cNvPr id="16" name="Shape 8">
            <a:extLst>
              <a:ext uri="{FF2B5EF4-FFF2-40B4-BE49-F238E27FC236}">
                <a16:creationId xmlns:a16="http://schemas.microsoft.com/office/drawing/2014/main" id="{C24483A0-7077-9AB1-0DEF-67BA5925514A}"/>
              </a:ext>
            </a:extLst>
          </p:cNvPr>
          <p:cNvSpPr/>
          <p:nvPr/>
        </p:nvSpPr>
        <p:spPr>
          <a:xfrm>
            <a:off x="7599988" y="871864"/>
            <a:ext cx="658368" cy="658368"/>
          </a:xfrm>
          <a:prstGeom prst="ellipse">
            <a:avLst/>
          </a:prstGeom>
          <a:solidFill>
            <a:schemeClr val="accent1"/>
          </a:solidFill>
          <a:ln w="12700">
            <a:solidFill>
              <a:srgbClr val="00B5E2">
                <a:alpha val="0"/>
              </a:srgbClr>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400" b="0" i="0" u="none" strike="noStrike" kern="1200" cap="none" spc="0" normalizeH="0" baseline="0" noProof="0">
              <a:ln>
                <a:noFill/>
              </a:ln>
              <a:solidFill>
                <a:srgbClr val="2B3A42"/>
              </a:solidFill>
              <a:effectLst/>
              <a:uLnTx/>
              <a:uFillTx/>
              <a:latin typeface="Noto Sans"/>
              <a:ea typeface="+mn-ea"/>
              <a:cs typeface="+mn-cs"/>
            </a:endParaRPr>
          </a:p>
        </p:txBody>
      </p:sp>
      <p:sp>
        <p:nvSpPr>
          <p:cNvPr id="17" name="Text 9">
            <a:extLst>
              <a:ext uri="{FF2B5EF4-FFF2-40B4-BE49-F238E27FC236}">
                <a16:creationId xmlns:a16="http://schemas.microsoft.com/office/drawing/2014/main" id="{C590A4AC-AA91-6723-43E8-6ECC86BD28D4}"/>
              </a:ext>
            </a:extLst>
          </p:cNvPr>
          <p:cNvSpPr/>
          <p:nvPr/>
        </p:nvSpPr>
        <p:spPr>
          <a:xfrm>
            <a:off x="7417108" y="1621672"/>
            <a:ext cx="1024128" cy="182880"/>
          </a:xfrm>
          <a:prstGeom prst="rect">
            <a:avLst/>
          </a:prstGeom>
          <a:noFill/>
          <a:ln/>
        </p:spPr>
        <p:txBody>
          <a:bodyPr wrap="square" lIns="0" tIns="0" rIns="0" bIns="0"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3746"/>
                </a:solidFill>
                <a:effectLst/>
                <a:uLnTx/>
                <a:uFillTx/>
                <a:latin typeface="Noto Sans"/>
                <a:ea typeface="+mn-ea"/>
                <a:cs typeface="+mn-cs"/>
              </a:rPr>
              <a:t>Allergy</a:t>
            </a:r>
            <a:endParaRPr kumimoji="0" lang="en-US" sz="1400" b="0" i="0" u="none" strike="noStrike" kern="1200" cap="none" spc="0" normalizeH="0" baseline="0" noProof="0">
              <a:ln>
                <a:noFill/>
              </a:ln>
              <a:solidFill>
                <a:srgbClr val="2B3A42"/>
              </a:solidFill>
              <a:effectLst/>
              <a:uLnTx/>
              <a:uFillTx/>
              <a:latin typeface="Noto Sans"/>
              <a:ea typeface="+mn-ea"/>
              <a:cs typeface="+mn-cs"/>
            </a:endParaRPr>
          </a:p>
        </p:txBody>
      </p:sp>
      <p:sp>
        <p:nvSpPr>
          <p:cNvPr id="18" name="Shape 10">
            <a:extLst>
              <a:ext uri="{FF2B5EF4-FFF2-40B4-BE49-F238E27FC236}">
                <a16:creationId xmlns:a16="http://schemas.microsoft.com/office/drawing/2014/main" id="{5BF899DA-5C0C-481E-EC26-65DF6C2367A8}"/>
              </a:ext>
            </a:extLst>
          </p:cNvPr>
          <p:cNvSpPr/>
          <p:nvPr/>
        </p:nvSpPr>
        <p:spPr>
          <a:xfrm>
            <a:off x="9264184" y="871864"/>
            <a:ext cx="658368" cy="658368"/>
          </a:xfrm>
          <a:prstGeom prst="ellipse">
            <a:avLst/>
          </a:prstGeom>
          <a:solidFill>
            <a:schemeClr val="accent2"/>
          </a:solidFill>
          <a:ln w="12700">
            <a:solidFill>
              <a:srgbClr val="1DBAB4">
                <a:alpha val="0"/>
              </a:srgbClr>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400" b="0" i="0" u="none" strike="noStrike" kern="1200" cap="none" spc="0" normalizeH="0" baseline="0" noProof="0">
              <a:ln>
                <a:noFill/>
              </a:ln>
              <a:solidFill>
                <a:srgbClr val="2B3A42"/>
              </a:solidFill>
              <a:effectLst/>
              <a:uLnTx/>
              <a:uFillTx/>
              <a:latin typeface="Noto Sans"/>
              <a:ea typeface="+mn-ea"/>
              <a:cs typeface="+mn-cs"/>
            </a:endParaRPr>
          </a:p>
        </p:txBody>
      </p:sp>
      <p:sp>
        <p:nvSpPr>
          <p:cNvPr id="20" name="Text 11">
            <a:extLst>
              <a:ext uri="{FF2B5EF4-FFF2-40B4-BE49-F238E27FC236}">
                <a16:creationId xmlns:a16="http://schemas.microsoft.com/office/drawing/2014/main" id="{34AF88D5-D00A-B159-9790-2019A672359D}"/>
              </a:ext>
            </a:extLst>
          </p:cNvPr>
          <p:cNvSpPr/>
          <p:nvPr/>
        </p:nvSpPr>
        <p:spPr>
          <a:xfrm>
            <a:off x="9081304" y="1621672"/>
            <a:ext cx="1024128" cy="182880"/>
          </a:xfrm>
          <a:prstGeom prst="rect">
            <a:avLst/>
          </a:prstGeom>
          <a:noFill/>
          <a:ln/>
        </p:spPr>
        <p:txBody>
          <a:bodyPr wrap="square" lIns="0" tIns="0" rIns="0" bIns="0"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3746"/>
                </a:solidFill>
                <a:effectLst/>
                <a:uLnTx/>
                <a:uFillTx/>
                <a:latin typeface="Noto Sans"/>
                <a:ea typeface="+mn-ea"/>
                <a:cs typeface="+mn-cs"/>
              </a:rPr>
              <a:t>Sleep</a:t>
            </a:r>
            <a:endParaRPr kumimoji="0" lang="en-US" sz="1400" b="0" i="0" u="none" strike="noStrike" kern="1200" cap="none" spc="0" normalizeH="0" baseline="0" noProof="0">
              <a:ln>
                <a:noFill/>
              </a:ln>
              <a:solidFill>
                <a:srgbClr val="2B3A42"/>
              </a:solidFill>
              <a:effectLst/>
              <a:uLnTx/>
              <a:uFillTx/>
              <a:latin typeface="Noto Sans"/>
              <a:ea typeface="+mn-ea"/>
              <a:cs typeface="+mn-cs"/>
            </a:endParaRPr>
          </a:p>
        </p:txBody>
      </p:sp>
      <p:pic>
        <p:nvPicPr>
          <p:cNvPr id="21" name="Image 4">
            <a:extLst>
              <a:ext uri="{FF2B5EF4-FFF2-40B4-BE49-F238E27FC236}">
                <a16:creationId xmlns:a16="http://schemas.microsoft.com/office/drawing/2014/main" id="{49B97E38-E77B-28A2-4164-2B51B9D9404E}"/>
              </a:ext>
            </a:extLst>
          </p:cNvPr>
          <p:cNvPicPr>
            <a:picLocks noChangeAspect="1"/>
          </p:cNvPicPr>
          <p:nvPr/>
        </p:nvPicPr>
        <p:blipFill>
          <a:blip r:embed="rId10"/>
          <a:stretch>
            <a:fillRect/>
          </a:stretch>
        </p:blipFill>
        <p:spPr>
          <a:xfrm>
            <a:off x="7711544" y="981592"/>
            <a:ext cx="438912" cy="438912"/>
          </a:xfrm>
          <a:prstGeom prst="rect">
            <a:avLst/>
          </a:prstGeom>
        </p:spPr>
      </p:pic>
      <p:pic>
        <p:nvPicPr>
          <p:cNvPr id="29" name="Graphic 70">
            <a:extLst>
              <a:ext uri="{FF2B5EF4-FFF2-40B4-BE49-F238E27FC236}">
                <a16:creationId xmlns:a16="http://schemas.microsoft.com/office/drawing/2014/main" id="{E9CD9F2E-3E40-CDFD-E878-D6B96491AF8E}"/>
              </a:ext>
            </a:extLst>
          </p:cNvPr>
          <p:cNvPicPr>
            <a:picLocks noChangeAspect="1"/>
          </p:cNvPicPr>
          <p:nvPr/>
        </p:nvPicPr>
        <p:blipFill>
          <a:blip>
            <a:extLst>
              <a:ext uri="{96DAC541-7B7A-43D3-8B79-37D633B846F1}">
                <asvg:svgBlip xmlns:asvg="http://schemas.microsoft.com/office/drawing/2016/SVG/main" r:embed="rId11"/>
              </a:ext>
            </a:extLst>
          </a:blip>
          <a:srcRect/>
          <a:stretch/>
        </p:blipFill>
        <p:spPr>
          <a:xfrm>
            <a:off x="9377569" y="977658"/>
            <a:ext cx="434340" cy="446780"/>
          </a:xfrm>
          <a:prstGeom prst="rect">
            <a:avLst/>
          </a:prstGeom>
          <a:ln>
            <a:noFill/>
          </a:ln>
        </p:spPr>
      </p:pic>
      <p:sp>
        <p:nvSpPr>
          <p:cNvPr id="30" name="Shape 12">
            <a:extLst>
              <a:ext uri="{FF2B5EF4-FFF2-40B4-BE49-F238E27FC236}">
                <a16:creationId xmlns:a16="http://schemas.microsoft.com/office/drawing/2014/main" id="{2A2E68A5-94E1-80B5-0858-E71C00804403}"/>
              </a:ext>
            </a:extLst>
          </p:cNvPr>
          <p:cNvSpPr/>
          <p:nvPr/>
        </p:nvSpPr>
        <p:spPr>
          <a:xfrm>
            <a:off x="6767890" y="871864"/>
            <a:ext cx="658368" cy="658368"/>
          </a:xfrm>
          <a:prstGeom prst="ellipse">
            <a:avLst/>
          </a:prstGeom>
          <a:solidFill>
            <a:schemeClr val="accent3"/>
          </a:solidFill>
          <a:ln w="12700">
            <a:solidFill>
              <a:srgbClr val="43B02A">
                <a:alpha val="0"/>
              </a:srgbClr>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400" b="0" i="0" u="none" strike="noStrike" kern="1200" cap="none" spc="0" normalizeH="0" baseline="0" noProof="0">
              <a:ln>
                <a:noFill/>
              </a:ln>
              <a:solidFill>
                <a:srgbClr val="2B3A42"/>
              </a:solidFill>
              <a:effectLst/>
              <a:uLnTx/>
              <a:uFillTx/>
              <a:latin typeface="Noto Sans"/>
              <a:ea typeface="+mn-ea"/>
              <a:cs typeface="+mn-cs"/>
            </a:endParaRPr>
          </a:p>
        </p:txBody>
      </p:sp>
      <p:pic>
        <p:nvPicPr>
          <p:cNvPr id="31" name="Image 3">
            <a:extLst>
              <a:ext uri="{FF2B5EF4-FFF2-40B4-BE49-F238E27FC236}">
                <a16:creationId xmlns:a16="http://schemas.microsoft.com/office/drawing/2014/main" id="{17AE110B-FFAF-57E7-E90E-BB64BA73FF88}"/>
              </a:ext>
            </a:extLst>
          </p:cNvPr>
          <p:cNvPicPr>
            <a:picLocks noChangeAspect="1"/>
          </p:cNvPicPr>
          <p:nvPr/>
        </p:nvPicPr>
        <p:blipFill>
          <a:blip r:embed="rId12"/>
          <a:stretch>
            <a:fillRect/>
          </a:stretch>
        </p:blipFill>
        <p:spPr>
          <a:xfrm>
            <a:off x="6878532" y="981592"/>
            <a:ext cx="438912" cy="438912"/>
          </a:xfrm>
          <a:prstGeom prst="rect">
            <a:avLst/>
          </a:prstGeom>
        </p:spPr>
      </p:pic>
      <p:sp>
        <p:nvSpPr>
          <p:cNvPr id="32" name="Text 13">
            <a:extLst>
              <a:ext uri="{FF2B5EF4-FFF2-40B4-BE49-F238E27FC236}">
                <a16:creationId xmlns:a16="http://schemas.microsoft.com/office/drawing/2014/main" id="{06705D64-2E62-D1DB-4BEC-FA3678F246F7}"/>
              </a:ext>
            </a:extLst>
          </p:cNvPr>
          <p:cNvSpPr/>
          <p:nvPr/>
        </p:nvSpPr>
        <p:spPr>
          <a:xfrm>
            <a:off x="6585010" y="1621672"/>
            <a:ext cx="1024128" cy="182880"/>
          </a:xfrm>
          <a:prstGeom prst="rect">
            <a:avLst/>
          </a:prstGeom>
          <a:noFill/>
          <a:ln/>
        </p:spPr>
        <p:txBody>
          <a:bodyPr wrap="square" lIns="0" tIns="0" rIns="0" bIns="0"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3746"/>
                </a:solidFill>
                <a:effectLst/>
                <a:uLnTx/>
                <a:uFillTx/>
                <a:latin typeface="Noto Sans"/>
                <a:ea typeface="+mn-ea"/>
                <a:cs typeface="+mn-cs"/>
              </a:rPr>
              <a:t>Skin</a:t>
            </a:r>
            <a:endParaRPr kumimoji="0" lang="en-US" sz="1400" b="0" i="0" u="none" strike="noStrike" kern="1200" cap="none" spc="0" normalizeH="0" baseline="0" noProof="0">
              <a:ln>
                <a:noFill/>
              </a:ln>
              <a:solidFill>
                <a:srgbClr val="2B3A42"/>
              </a:solidFill>
              <a:effectLst/>
              <a:uLnTx/>
              <a:uFillTx/>
              <a:latin typeface="Noto Sans"/>
              <a:ea typeface="+mn-ea"/>
              <a:cs typeface="+mn-cs"/>
            </a:endParaRPr>
          </a:p>
        </p:txBody>
      </p:sp>
      <p:sp>
        <p:nvSpPr>
          <p:cNvPr id="34" name="Shape 14">
            <a:extLst>
              <a:ext uri="{FF2B5EF4-FFF2-40B4-BE49-F238E27FC236}">
                <a16:creationId xmlns:a16="http://schemas.microsoft.com/office/drawing/2014/main" id="{94119A63-6DAE-FB9B-721B-4249C509BD22}"/>
              </a:ext>
            </a:extLst>
          </p:cNvPr>
          <p:cNvSpPr/>
          <p:nvPr/>
        </p:nvSpPr>
        <p:spPr>
          <a:xfrm>
            <a:off x="8432086" y="871864"/>
            <a:ext cx="658368" cy="658368"/>
          </a:xfrm>
          <a:prstGeom prst="ellipse">
            <a:avLst/>
          </a:prstGeom>
          <a:solidFill>
            <a:schemeClr val="accent4"/>
          </a:solidFill>
          <a:ln w="12700">
            <a:solidFill>
              <a:srgbClr val="7D69FF">
                <a:alpha val="0"/>
              </a:srgbClr>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400" b="0" i="0" u="none" strike="noStrike" kern="1200" cap="none" spc="0" normalizeH="0" baseline="0" noProof="0">
              <a:ln>
                <a:noFill/>
              </a:ln>
              <a:solidFill>
                <a:srgbClr val="2B3A42"/>
              </a:solidFill>
              <a:effectLst/>
              <a:uLnTx/>
              <a:uFillTx/>
              <a:latin typeface="Noto Sans"/>
              <a:ea typeface="+mn-ea"/>
              <a:cs typeface="+mn-cs"/>
            </a:endParaRPr>
          </a:p>
        </p:txBody>
      </p:sp>
      <p:sp>
        <p:nvSpPr>
          <p:cNvPr id="35" name="Text 15">
            <a:extLst>
              <a:ext uri="{FF2B5EF4-FFF2-40B4-BE49-F238E27FC236}">
                <a16:creationId xmlns:a16="http://schemas.microsoft.com/office/drawing/2014/main" id="{DB7DFE35-E80B-5CFA-2C73-94232E0C8BA5}"/>
              </a:ext>
            </a:extLst>
          </p:cNvPr>
          <p:cNvSpPr/>
          <p:nvPr/>
        </p:nvSpPr>
        <p:spPr>
          <a:xfrm>
            <a:off x="8249206" y="1688720"/>
            <a:ext cx="1024128" cy="182880"/>
          </a:xfrm>
          <a:prstGeom prst="rect">
            <a:avLst/>
          </a:prstGeom>
          <a:noFill/>
          <a:ln/>
        </p:spPr>
        <p:txBody>
          <a:bodyPr wrap="square" lIns="0" tIns="0" rIns="0" bIns="0"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3746"/>
                </a:solidFill>
                <a:effectLst/>
                <a:uLnTx/>
                <a:uFillTx/>
                <a:latin typeface="Noto Sans"/>
                <a:ea typeface="+mn-ea"/>
                <a:cs typeface="+mn-cs"/>
              </a:rPr>
              <a:t>Women's health</a:t>
            </a:r>
            <a:endParaRPr kumimoji="0" lang="en-US" sz="1400" b="0" i="0" u="none" strike="noStrike" kern="1200" cap="none" spc="0" normalizeH="0" baseline="0" noProof="0">
              <a:ln>
                <a:noFill/>
              </a:ln>
              <a:solidFill>
                <a:srgbClr val="2B3A42"/>
              </a:solidFill>
              <a:effectLst/>
              <a:uLnTx/>
              <a:uFillTx/>
              <a:latin typeface="Noto Sans"/>
              <a:ea typeface="+mn-ea"/>
              <a:cs typeface="+mn-cs"/>
            </a:endParaRPr>
          </a:p>
        </p:txBody>
      </p:sp>
      <p:sp>
        <p:nvSpPr>
          <p:cNvPr id="36" name="Shape 16">
            <a:extLst>
              <a:ext uri="{FF2B5EF4-FFF2-40B4-BE49-F238E27FC236}">
                <a16:creationId xmlns:a16="http://schemas.microsoft.com/office/drawing/2014/main" id="{2C26AA4A-536F-A017-292D-C56FD2EE277E}"/>
              </a:ext>
            </a:extLst>
          </p:cNvPr>
          <p:cNvSpPr/>
          <p:nvPr/>
        </p:nvSpPr>
        <p:spPr>
          <a:xfrm>
            <a:off x="10096280" y="871864"/>
            <a:ext cx="658368" cy="658368"/>
          </a:xfrm>
          <a:prstGeom prst="ellipse">
            <a:avLst/>
          </a:prstGeom>
          <a:solidFill>
            <a:schemeClr val="accent5"/>
          </a:solidFill>
          <a:ln w="12700">
            <a:solidFill>
              <a:srgbClr val="F08B32">
                <a:alpha val="0"/>
              </a:srgbClr>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400" b="0" i="0" u="none" strike="noStrike" kern="1200" cap="none" spc="0" normalizeH="0" baseline="0" noProof="0">
              <a:ln>
                <a:noFill/>
              </a:ln>
              <a:solidFill>
                <a:srgbClr val="2B3A42"/>
              </a:solidFill>
              <a:effectLst/>
              <a:uLnTx/>
              <a:uFillTx/>
              <a:latin typeface="Noto Sans"/>
              <a:ea typeface="+mn-ea"/>
              <a:cs typeface="+mn-cs"/>
            </a:endParaRPr>
          </a:p>
        </p:txBody>
      </p:sp>
      <p:pic>
        <p:nvPicPr>
          <p:cNvPr id="37" name="Image 6">
            <a:extLst>
              <a:ext uri="{FF2B5EF4-FFF2-40B4-BE49-F238E27FC236}">
                <a16:creationId xmlns:a16="http://schemas.microsoft.com/office/drawing/2014/main" id="{B299B97B-E9DE-6F1E-97E9-6BA80067FF69}"/>
              </a:ext>
            </a:extLst>
          </p:cNvPr>
          <p:cNvPicPr>
            <a:picLocks noChangeAspect="1"/>
          </p:cNvPicPr>
          <p:nvPr/>
        </p:nvPicPr>
        <p:blipFill>
          <a:blip r:embed="rId13"/>
          <a:stretch>
            <a:fillRect/>
          </a:stretch>
        </p:blipFill>
        <p:spPr>
          <a:xfrm>
            <a:off x="10206008" y="981592"/>
            <a:ext cx="438912" cy="438912"/>
          </a:xfrm>
          <a:prstGeom prst="rect">
            <a:avLst/>
          </a:prstGeom>
        </p:spPr>
      </p:pic>
      <p:sp>
        <p:nvSpPr>
          <p:cNvPr id="38" name="Text 17">
            <a:extLst>
              <a:ext uri="{FF2B5EF4-FFF2-40B4-BE49-F238E27FC236}">
                <a16:creationId xmlns:a16="http://schemas.microsoft.com/office/drawing/2014/main" id="{90214949-0D75-1B0D-7A12-F1FD40FBB3CB}"/>
              </a:ext>
            </a:extLst>
          </p:cNvPr>
          <p:cNvSpPr/>
          <p:nvPr/>
        </p:nvSpPr>
        <p:spPr>
          <a:xfrm>
            <a:off x="9913400" y="1621672"/>
            <a:ext cx="1024128" cy="182880"/>
          </a:xfrm>
          <a:prstGeom prst="rect">
            <a:avLst/>
          </a:prstGeom>
          <a:noFill/>
          <a:ln/>
        </p:spPr>
        <p:txBody>
          <a:bodyPr wrap="square" lIns="0" tIns="0" rIns="0" bIns="0"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3746"/>
                </a:solidFill>
                <a:effectLst/>
                <a:uLnTx/>
                <a:uFillTx/>
                <a:latin typeface="Noto Sans"/>
                <a:ea typeface="+mn-ea"/>
                <a:cs typeface="+mn-cs"/>
              </a:rPr>
              <a:t>Oral health</a:t>
            </a:r>
            <a:endParaRPr kumimoji="0" lang="en-US" sz="1400" b="0" i="0" u="none" strike="noStrike" kern="1200" cap="none" spc="0" normalizeH="0" baseline="0" noProof="0">
              <a:ln>
                <a:noFill/>
              </a:ln>
              <a:solidFill>
                <a:srgbClr val="2B3A42"/>
              </a:solidFill>
              <a:effectLst/>
              <a:uLnTx/>
              <a:uFillTx/>
              <a:latin typeface="Noto Sans"/>
              <a:ea typeface="+mn-ea"/>
              <a:cs typeface="+mn-cs"/>
            </a:endParaRPr>
          </a:p>
        </p:txBody>
      </p:sp>
      <p:pic>
        <p:nvPicPr>
          <p:cNvPr id="40" name="Graphic 39">
            <a:extLst>
              <a:ext uri="{FF2B5EF4-FFF2-40B4-BE49-F238E27FC236}">
                <a16:creationId xmlns:a16="http://schemas.microsoft.com/office/drawing/2014/main" id="{C2E3224B-7757-AA8B-37BB-1924F348F37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544556" y="981592"/>
            <a:ext cx="438913" cy="438913"/>
          </a:xfrm>
          <a:prstGeom prst="rect">
            <a:avLst/>
          </a:prstGeom>
        </p:spPr>
      </p:pic>
      <p:pic>
        <p:nvPicPr>
          <p:cNvPr id="7" name="Graphic 6">
            <a:extLst>
              <a:ext uri="{FF2B5EF4-FFF2-40B4-BE49-F238E27FC236}">
                <a16:creationId xmlns:a16="http://schemas.microsoft.com/office/drawing/2014/main" id="{1BF9F84C-9566-41A0-366C-125541C5B059}"/>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5302981" y="2455448"/>
            <a:ext cx="640080" cy="640080"/>
          </a:xfrm>
          <a:prstGeom prst="rect">
            <a:avLst/>
          </a:prstGeom>
        </p:spPr>
      </p:pic>
    </p:spTree>
    <p:extLst>
      <p:ext uri="{BB962C8B-B14F-4D97-AF65-F5344CB8AC3E}">
        <p14:creationId xmlns:p14="http://schemas.microsoft.com/office/powerpoint/2010/main" val="3720132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BCC9A-1782-E650-7A69-958775614B5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701406-DC3D-4D52-C438-ADF3BEBA29D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5" name="think-cell data - do not delete" hidden="1">
                        <a:extLst>
                          <a:ext uri="{FF2B5EF4-FFF2-40B4-BE49-F238E27FC236}">
                            <a16:creationId xmlns:a16="http://schemas.microsoft.com/office/drawing/2014/main" id="{AC701406-DC3D-4D52-C438-ADF3BEBA29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76DBE56-D814-D39F-9C2D-4579AAD4DB1F}"/>
              </a:ext>
            </a:extLst>
          </p:cNvPr>
          <p:cNvSpPr>
            <a:spLocks noGrp="1"/>
          </p:cNvSpPr>
          <p:nvPr>
            <p:ph type="title"/>
          </p:nvPr>
        </p:nvSpPr>
        <p:spPr>
          <a:xfrm>
            <a:off x="384694" y="294468"/>
            <a:ext cx="11338560" cy="768263"/>
          </a:xfrm>
        </p:spPr>
        <p:txBody>
          <a:bodyPr vert="horz" rIns="91440"/>
          <a:lstStyle/>
          <a:p>
            <a:r>
              <a:rPr lang="pt-BR"/>
              <a:t>Prescribing in Community Pharmacy will evolve</a:t>
            </a:r>
            <a:endParaRPr lang="en-US"/>
          </a:p>
        </p:txBody>
      </p:sp>
      <p:sp>
        <p:nvSpPr>
          <p:cNvPr id="8" name="Rectangle: Rounded Corners 7">
            <a:extLst>
              <a:ext uri="{FF2B5EF4-FFF2-40B4-BE49-F238E27FC236}">
                <a16:creationId xmlns:a16="http://schemas.microsoft.com/office/drawing/2014/main" id="{8D8C6F7C-C78A-8AFF-3B7E-5DC1D1269F3C}"/>
              </a:ext>
            </a:extLst>
          </p:cNvPr>
          <p:cNvSpPr>
            <a:spLocks/>
          </p:cNvSpPr>
          <p:nvPr/>
        </p:nvSpPr>
        <p:spPr>
          <a:xfrm>
            <a:off x="388730" y="1469164"/>
            <a:ext cx="3721380" cy="2434757"/>
          </a:xfrm>
          <a:prstGeom prst="roundRect">
            <a:avLst>
              <a:gd name="adj" fmla="val 6004"/>
            </a:avLst>
          </a:prstGeom>
          <a:solidFill>
            <a:schemeClr val="tx2"/>
          </a:solidFill>
          <a:ln>
            <a:noFill/>
          </a:ln>
        </p:spPr>
        <p:txBody>
          <a:bodyPr wrap="square" lIns="45720" tIns="45720" rIns="45720" bIns="4572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808080"/>
              </a:solidFill>
              <a:effectLst/>
              <a:uLnTx/>
              <a:uFillTx/>
              <a:latin typeface="Noto Sans"/>
              <a:ea typeface="+mn-ea"/>
              <a:cs typeface="+mn-cs"/>
            </a:endParaRPr>
          </a:p>
        </p:txBody>
      </p:sp>
      <p:sp>
        <p:nvSpPr>
          <p:cNvPr id="9" name="Rectangle: Rounded Corners 8">
            <a:extLst>
              <a:ext uri="{FF2B5EF4-FFF2-40B4-BE49-F238E27FC236}">
                <a16:creationId xmlns:a16="http://schemas.microsoft.com/office/drawing/2014/main" id="{614FC4AA-7F39-30EA-7D59-20E3DA737F2B}"/>
              </a:ext>
            </a:extLst>
          </p:cNvPr>
          <p:cNvSpPr>
            <a:spLocks/>
          </p:cNvSpPr>
          <p:nvPr/>
        </p:nvSpPr>
        <p:spPr>
          <a:xfrm>
            <a:off x="4185329" y="1482724"/>
            <a:ext cx="3737291" cy="2434757"/>
          </a:xfrm>
          <a:prstGeom prst="roundRect">
            <a:avLst>
              <a:gd name="adj" fmla="val 6004"/>
            </a:avLst>
          </a:prstGeom>
          <a:solidFill>
            <a:schemeClr val="accent2"/>
          </a:solidFill>
          <a:ln>
            <a:noFill/>
          </a:ln>
        </p:spPr>
        <p:txBody>
          <a:bodyPr wrap="square" lIns="45720" tIns="45720" rIns="45720" bIns="4572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808080"/>
              </a:solidFill>
              <a:effectLst/>
              <a:uLnTx/>
              <a:uFillTx/>
              <a:latin typeface="Noto Sans"/>
              <a:ea typeface="+mn-ea"/>
              <a:cs typeface="+mn-cs"/>
            </a:endParaRPr>
          </a:p>
        </p:txBody>
      </p:sp>
      <p:sp>
        <p:nvSpPr>
          <p:cNvPr id="10" name="Rectangle: Rounded Corners 9">
            <a:extLst>
              <a:ext uri="{FF2B5EF4-FFF2-40B4-BE49-F238E27FC236}">
                <a16:creationId xmlns:a16="http://schemas.microsoft.com/office/drawing/2014/main" id="{0200836E-287D-58BE-CD09-FCFCD94C9D17}"/>
              </a:ext>
            </a:extLst>
          </p:cNvPr>
          <p:cNvSpPr>
            <a:spLocks/>
          </p:cNvSpPr>
          <p:nvPr/>
        </p:nvSpPr>
        <p:spPr>
          <a:xfrm>
            <a:off x="7985963" y="1482724"/>
            <a:ext cx="3737291" cy="2434757"/>
          </a:xfrm>
          <a:prstGeom prst="roundRect">
            <a:avLst>
              <a:gd name="adj" fmla="val 6004"/>
            </a:avLst>
          </a:prstGeom>
          <a:solidFill>
            <a:schemeClr val="accent4"/>
          </a:solidFill>
          <a:ln>
            <a:noFill/>
          </a:ln>
        </p:spPr>
        <p:txBody>
          <a:bodyPr wrap="square" lIns="45720" tIns="45720" rIns="45720" bIns="4572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808080"/>
              </a:solidFill>
              <a:effectLst/>
              <a:uLnTx/>
              <a:uFillTx/>
              <a:latin typeface="Noto Sans"/>
              <a:ea typeface="+mn-ea"/>
              <a:cs typeface="+mn-cs"/>
            </a:endParaRPr>
          </a:p>
        </p:txBody>
      </p:sp>
      <p:sp>
        <p:nvSpPr>
          <p:cNvPr id="12" name="Rectangle: Rounded Corners 11">
            <a:extLst>
              <a:ext uri="{FF2B5EF4-FFF2-40B4-BE49-F238E27FC236}">
                <a16:creationId xmlns:a16="http://schemas.microsoft.com/office/drawing/2014/main" id="{AB7A17AA-FFDE-FDE1-427F-58E783122C33}"/>
              </a:ext>
            </a:extLst>
          </p:cNvPr>
          <p:cNvSpPr>
            <a:spLocks/>
          </p:cNvSpPr>
          <p:nvPr/>
        </p:nvSpPr>
        <p:spPr>
          <a:xfrm>
            <a:off x="372819" y="2987530"/>
            <a:ext cx="3737291" cy="3261043"/>
          </a:xfrm>
          <a:prstGeom prst="roundRect">
            <a:avLst>
              <a:gd name="adj" fmla="val 500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13" name="Rectangle: Rounded Corners 12">
            <a:extLst>
              <a:ext uri="{FF2B5EF4-FFF2-40B4-BE49-F238E27FC236}">
                <a16:creationId xmlns:a16="http://schemas.microsoft.com/office/drawing/2014/main" id="{E2F7A0AC-44BB-F61A-7EDB-ED3B442E7FC9}"/>
              </a:ext>
            </a:extLst>
          </p:cNvPr>
          <p:cNvSpPr/>
          <p:nvPr/>
        </p:nvSpPr>
        <p:spPr>
          <a:xfrm>
            <a:off x="4183478" y="3017520"/>
            <a:ext cx="3757052" cy="3261043"/>
          </a:xfrm>
          <a:prstGeom prst="roundRect">
            <a:avLst>
              <a:gd name="adj" fmla="val 500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14" name="Rectangle: Rounded Corners 13">
            <a:extLst>
              <a:ext uri="{FF2B5EF4-FFF2-40B4-BE49-F238E27FC236}">
                <a16:creationId xmlns:a16="http://schemas.microsoft.com/office/drawing/2014/main" id="{E01F2020-78B3-078D-1E27-92D2D7BFCEF3}"/>
              </a:ext>
            </a:extLst>
          </p:cNvPr>
          <p:cNvSpPr/>
          <p:nvPr/>
        </p:nvSpPr>
        <p:spPr>
          <a:xfrm>
            <a:off x="7984208" y="2993823"/>
            <a:ext cx="3737291" cy="3261043"/>
          </a:xfrm>
          <a:prstGeom prst="roundRect">
            <a:avLst>
              <a:gd name="adj" fmla="val 500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23" name="Pentagon 22">
            <a:extLst>
              <a:ext uri="{FF2B5EF4-FFF2-40B4-BE49-F238E27FC236}">
                <a16:creationId xmlns:a16="http://schemas.microsoft.com/office/drawing/2014/main" id="{F4E8B2D7-3991-1F3E-71CA-28DCA5D06948}"/>
              </a:ext>
            </a:extLst>
          </p:cNvPr>
          <p:cNvSpPr>
            <a:spLocks/>
          </p:cNvSpPr>
          <p:nvPr/>
        </p:nvSpPr>
        <p:spPr>
          <a:xfrm rot="5400000">
            <a:off x="769280" y="1262233"/>
            <a:ext cx="485487" cy="1278409"/>
          </a:xfrm>
          <a:prstGeom prst="round2SameRect">
            <a:avLst>
              <a:gd name="adj1" fmla="val 50000"/>
              <a:gd name="adj2" fmla="val 0"/>
            </a:avLst>
          </a:prstGeom>
          <a:solidFill>
            <a:schemeClr val="bg1"/>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a:ln>
                <a:noFill/>
              </a:ln>
              <a:solidFill>
                <a:srgbClr val="FFE600"/>
              </a:solidFill>
              <a:effectLst/>
              <a:uLnTx/>
              <a:uFillTx/>
              <a:latin typeface="Noto Sans"/>
              <a:ea typeface="+mn-ea"/>
              <a:cs typeface="+mn-cs"/>
            </a:endParaRPr>
          </a:p>
        </p:txBody>
      </p:sp>
      <p:sp>
        <p:nvSpPr>
          <p:cNvPr id="24" name="Pentagon 23">
            <a:extLst>
              <a:ext uri="{FF2B5EF4-FFF2-40B4-BE49-F238E27FC236}">
                <a16:creationId xmlns:a16="http://schemas.microsoft.com/office/drawing/2014/main" id="{3D15E507-1CF1-22E3-0D46-FD80161F725E}"/>
              </a:ext>
            </a:extLst>
          </p:cNvPr>
          <p:cNvSpPr>
            <a:spLocks/>
          </p:cNvSpPr>
          <p:nvPr/>
        </p:nvSpPr>
        <p:spPr>
          <a:xfrm rot="5400000">
            <a:off x="4580481" y="1262233"/>
            <a:ext cx="485487" cy="1278409"/>
          </a:xfrm>
          <a:prstGeom prst="round2SameRect">
            <a:avLst>
              <a:gd name="adj1" fmla="val 50000"/>
              <a:gd name="adj2" fmla="val 0"/>
            </a:avLst>
          </a:prstGeom>
          <a:solidFill>
            <a:schemeClr val="bg1"/>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FFE600"/>
                </a:solidFill>
                <a:effectLst/>
                <a:uLnTx/>
                <a:uFillTx/>
                <a:latin typeface="Noto Sans"/>
                <a:ea typeface="+mn-ea"/>
                <a:cs typeface="+mn-cs"/>
              </a:rPr>
              <a:t> </a:t>
            </a:r>
          </a:p>
        </p:txBody>
      </p:sp>
      <p:sp>
        <p:nvSpPr>
          <p:cNvPr id="25" name="Pentagon 24">
            <a:extLst>
              <a:ext uri="{FF2B5EF4-FFF2-40B4-BE49-F238E27FC236}">
                <a16:creationId xmlns:a16="http://schemas.microsoft.com/office/drawing/2014/main" id="{542315FB-50CA-3FCB-B061-F8BDD4DF5061}"/>
              </a:ext>
            </a:extLst>
          </p:cNvPr>
          <p:cNvSpPr>
            <a:spLocks/>
          </p:cNvSpPr>
          <p:nvPr/>
        </p:nvSpPr>
        <p:spPr>
          <a:xfrm rot="5400000">
            <a:off x="8382425" y="1262231"/>
            <a:ext cx="485486" cy="1278409"/>
          </a:xfrm>
          <a:prstGeom prst="round2SameRect">
            <a:avLst>
              <a:gd name="adj1" fmla="val 50000"/>
              <a:gd name="adj2" fmla="val 0"/>
            </a:avLst>
          </a:prstGeom>
          <a:solidFill>
            <a:schemeClr val="bg1"/>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FFE600"/>
                </a:solidFill>
                <a:effectLst/>
                <a:uLnTx/>
                <a:uFillTx/>
                <a:latin typeface="Noto Sans"/>
                <a:ea typeface="+mn-ea"/>
                <a:cs typeface="+mn-cs"/>
              </a:rPr>
              <a:t> </a:t>
            </a:r>
          </a:p>
        </p:txBody>
      </p:sp>
      <p:sp>
        <p:nvSpPr>
          <p:cNvPr id="44" name="TextBox 43">
            <a:extLst>
              <a:ext uri="{FF2B5EF4-FFF2-40B4-BE49-F238E27FC236}">
                <a16:creationId xmlns:a16="http://schemas.microsoft.com/office/drawing/2014/main" id="{79D1A14E-EEE4-3C11-BA4E-F626C30F2299}"/>
              </a:ext>
            </a:extLst>
          </p:cNvPr>
          <p:cNvSpPr txBox="1"/>
          <p:nvPr/>
        </p:nvSpPr>
        <p:spPr>
          <a:xfrm>
            <a:off x="1807029" y="1716575"/>
            <a:ext cx="1621971" cy="369724"/>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Noto Sans"/>
                <a:ea typeface="+mn-ea"/>
                <a:cs typeface="+mn-cs"/>
              </a:rPr>
              <a:t>2025/2026</a:t>
            </a:r>
            <a:endParaRPr kumimoji="0" lang="en-IN" sz="1800" b="0" i="0" u="none" strike="noStrike" kern="1200" cap="none" spc="0" normalizeH="0" baseline="0" noProof="0" dirty="0">
              <a:ln>
                <a:noFill/>
              </a:ln>
              <a:solidFill>
                <a:srgbClr val="FFFFFF"/>
              </a:solidFill>
              <a:effectLst/>
              <a:uLnTx/>
              <a:uFillTx/>
              <a:latin typeface="Noto Sans"/>
              <a:ea typeface="+mn-ea"/>
              <a:cs typeface="+mn-cs"/>
            </a:endParaRPr>
          </a:p>
        </p:txBody>
      </p:sp>
      <p:sp>
        <p:nvSpPr>
          <p:cNvPr id="45" name="TextBox 44">
            <a:extLst>
              <a:ext uri="{FF2B5EF4-FFF2-40B4-BE49-F238E27FC236}">
                <a16:creationId xmlns:a16="http://schemas.microsoft.com/office/drawing/2014/main" id="{40369EE5-D506-F562-2FF2-482B397683BA}"/>
              </a:ext>
            </a:extLst>
          </p:cNvPr>
          <p:cNvSpPr txBox="1"/>
          <p:nvPr/>
        </p:nvSpPr>
        <p:spPr>
          <a:xfrm>
            <a:off x="5540829" y="1716575"/>
            <a:ext cx="1621971" cy="369724"/>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Noto Sans"/>
                <a:ea typeface="+mn-ea"/>
                <a:cs typeface="+mn-cs"/>
              </a:rPr>
              <a:t>2027/2028</a:t>
            </a:r>
            <a:endParaRPr kumimoji="0" lang="en-IN" sz="1800" b="0" i="0" u="none" strike="noStrike" kern="1200" cap="none" spc="0" normalizeH="0" baseline="0" noProof="0" dirty="0">
              <a:ln>
                <a:noFill/>
              </a:ln>
              <a:solidFill>
                <a:srgbClr val="FFFFFF"/>
              </a:solidFill>
              <a:effectLst/>
              <a:uLnTx/>
              <a:uFillTx/>
              <a:latin typeface="Noto Sans"/>
              <a:ea typeface="+mn-ea"/>
              <a:cs typeface="+mn-cs"/>
            </a:endParaRPr>
          </a:p>
        </p:txBody>
      </p:sp>
      <p:sp>
        <p:nvSpPr>
          <p:cNvPr id="46" name="TextBox 45">
            <a:extLst>
              <a:ext uri="{FF2B5EF4-FFF2-40B4-BE49-F238E27FC236}">
                <a16:creationId xmlns:a16="http://schemas.microsoft.com/office/drawing/2014/main" id="{8427DE0D-E0DC-660A-1B01-2906CB85764B}"/>
              </a:ext>
            </a:extLst>
          </p:cNvPr>
          <p:cNvSpPr txBox="1"/>
          <p:nvPr/>
        </p:nvSpPr>
        <p:spPr>
          <a:xfrm>
            <a:off x="9361715" y="1716575"/>
            <a:ext cx="1621971" cy="369724"/>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Noto Sans"/>
                <a:ea typeface="+mn-ea"/>
                <a:cs typeface="+mn-cs"/>
              </a:rPr>
              <a:t>2029</a:t>
            </a:r>
            <a:endParaRPr kumimoji="0" lang="en-IN" sz="1800" b="0" i="0" u="none" strike="noStrike" kern="1200" cap="none" spc="0" normalizeH="0" baseline="0" noProof="0">
              <a:ln>
                <a:noFill/>
              </a:ln>
              <a:solidFill>
                <a:srgbClr val="FFFFFF"/>
              </a:solidFill>
              <a:effectLst/>
              <a:uLnTx/>
              <a:uFillTx/>
              <a:latin typeface="Noto Sans"/>
              <a:ea typeface="+mn-ea"/>
              <a:cs typeface="+mn-cs"/>
            </a:endParaRPr>
          </a:p>
        </p:txBody>
      </p:sp>
      <p:sp>
        <p:nvSpPr>
          <p:cNvPr id="47" name="Rectangle: Rounded Corners 46">
            <a:extLst>
              <a:ext uri="{FF2B5EF4-FFF2-40B4-BE49-F238E27FC236}">
                <a16:creationId xmlns:a16="http://schemas.microsoft.com/office/drawing/2014/main" id="{23B13661-D4A5-4328-4541-C2F1ED74198B}"/>
              </a:ext>
            </a:extLst>
          </p:cNvPr>
          <p:cNvSpPr/>
          <p:nvPr/>
        </p:nvSpPr>
        <p:spPr>
          <a:xfrm flipH="1">
            <a:off x="380992" y="3907991"/>
            <a:ext cx="3699961" cy="2141562"/>
          </a:xfrm>
          <a:prstGeom prst="roundRect">
            <a:avLst>
              <a:gd name="adj" fmla="val 0"/>
            </a:avLst>
          </a:prstGeom>
          <a:noFill/>
          <a:ln w="1905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lIns="91440" rIns="91440" bIns="45720" rtlCol="0" anchor="t" anchorCtr="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a:ln>
                  <a:noFill/>
                </a:ln>
                <a:solidFill>
                  <a:srgbClr val="2B3A42"/>
                </a:solidFill>
                <a:effectLst/>
                <a:uLnTx/>
                <a:uFillTx/>
                <a:latin typeface="Noto Sans"/>
                <a:ea typeface="+mn-ea"/>
                <a:cs typeface="+mn-cs"/>
              </a:rPr>
              <a:t>Current services</a:t>
            </a: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Noto Sans"/>
                <a:ea typeface="+mn-ea"/>
                <a:cs typeface="Arial" panose="020B0604020202020204" pitchFamily="34" charset="0"/>
              </a:rPr>
              <a:t>National Services (Smoking, Contraception), Pharmacy First</a:t>
            </a: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Noto Sans"/>
                <a:ea typeface="+mn-ea"/>
                <a:cs typeface="Arial" panose="020B0604020202020204" pitchFamily="34" charset="0"/>
              </a:rPr>
              <a:t>56,000 Pathfinder site consultations:</a:t>
            </a:r>
          </a:p>
          <a:p>
            <a:pPr marL="640080" marR="0" lvl="1"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Noto Sans"/>
                <a:ea typeface="+mn-ea"/>
                <a:cs typeface="Arial" panose="020B0604020202020204" pitchFamily="34" charset="0"/>
              </a:rPr>
              <a:t>Fostered collaboration</a:t>
            </a:r>
          </a:p>
          <a:p>
            <a:pPr marL="640080" marR="0" lvl="1"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Noto Sans"/>
                <a:ea typeface="+mn-ea"/>
                <a:cs typeface="Arial" panose="020B0604020202020204" pitchFamily="34" charset="0"/>
              </a:rPr>
              <a:t>94% of patients would recommend</a:t>
            </a:r>
          </a:p>
          <a:p>
            <a:pPr marL="640080" marR="0" lvl="1"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B3A42"/>
                </a:solidFill>
                <a:effectLst/>
                <a:uLnTx/>
                <a:uFillTx/>
                <a:latin typeface="Noto Sans"/>
                <a:ea typeface="+mn-ea"/>
                <a:cs typeface="Arial" panose="020B0604020202020204" pitchFamily="34" charset="0"/>
              </a:rPr>
              <a:t>Minimal low value medicines prescribing (&lt;0.5%)</a:t>
            </a:r>
          </a:p>
        </p:txBody>
      </p:sp>
      <p:sp>
        <p:nvSpPr>
          <p:cNvPr id="48" name="Rectangle: Rounded Corners 47">
            <a:extLst>
              <a:ext uri="{FF2B5EF4-FFF2-40B4-BE49-F238E27FC236}">
                <a16:creationId xmlns:a16="http://schemas.microsoft.com/office/drawing/2014/main" id="{571CD62F-B0BA-348C-8F26-64CADA53CE88}"/>
              </a:ext>
            </a:extLst>
          </p:cNvPr>
          <p:cNvSpPr/>
          <p:nvPr/>
        </p:nvSpPr>
        <p:spPr>
          <a:xfrm flipH="1">
            <a:off x="4200846" y="3907991"/>
            <a:ext cx="3652878" cy="2141562"/>
          </a:xfrm>
          <a:prstGeom prst="roundRect">
            <a:avLst>
              <a:gd name="adj" fmla="val 0"/>
            </a:avLst>
          </a:prstGeom>
          <a:noFill/>
          <a:ln w="1905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lIns="91440" rIns="91440" bIns="45720" rtlCol="0" anchor="t" anchorCtr="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srgbClr val="2B3A42"/>
                </a:solidFill>
                <a:effectLst/>
                <a:uLnTx/>
                <a:uFillTx/>
                <a:latin typeface="Noto Sans"/>
                <a:ea typeface="+mn-ea"/>
                <a:cs typeface="+mn-cs"/>
              </a:rPr>
              <a:t>Safe access to medicines and advice</a:t>
            </a:r>
            <a:endParaRPr kumimoji="0" lang="en-US" sz="1400" b="1" i="0" u="none" strike="noStrike" kern="1200" cap="none" spc="0" normalizeH="0" baseline="0" noProof="0" dirty="0">
              <a:ln>
                <a:noFill/>
              </a:ln>
              <a:solidFill>
                <a:srgbClr val="2B3A42"/>
              </a:solidFill>
              <a:effectLst/>
              <a:uLnTx/>
              <a:uFillTx/>
              <a:latin typeface="Noto Sans"/>
              <a:ea typeface="+mn-ea"/>
              <a:cs typeface="+mn-cs"/>
            </a:endParaRP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B3A42"/>
                </a:solidFill>
                <a:effectLst/>
                <a:uLnTx/>
                <a:uFillTx/>
                <a:latin typeface="Noto Sans"/>
                <a:ea typeface="+mn-ea"/>
                <a:cs typeface="Arial" panose="020B0604020202020204" pitchFamily="34" charset="0"/>
              </a:rPr>
              <a:t>Autumn 2026 – Prescribing within Pharmacy First and Contraception Service and up to 5 new pathways</a:t>
            </a: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B3A42"/>
                </a:solidFill>
                <a:effectLst/>
                <a:uLnTx/>
                <a:uFillTx/>
                <a:latin typeface="Noto Sans"/>
                <a:ea typeface="+mn-ea"/>
                <a:cs typeface="Arial" panose="020B0604020202020204" pitchFamily="34" charset="0"/>
              </a:rPr>
              <a:t>Sept 2026 - registration of first c.2,800 graduates with IP</a:t>
            </a: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B3A42"/>
                </a:solidFill>
                <a:effectLst/>
                <a:uLnTx/>
                <a:uFillTx/>
                <a:latin typeface="Noto Sans"/>
                <a:ea typeface="+mn-ea"/>
                <a:cs typeface="Arial" panose="020B0604020202020204" pitchFamily="34" charset="0"/>
              </a:rPr>
              <a:t>Single National Formulary expected to be completed by 2027</a:t>
            </a: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B3A42"/>
              </a:solidFill>
              <a:effectLst/>
              <a:uLnTx/>
              <a:uFillTx/>
              <a:latin typeface="Noto Sans"/>
              <a:ea typeface="+mn-ea"/>
              <a:cs typeface="Arial" panose="020B0604020202020204" pitchFamily="34" charset="0"/>
            </a:endParaRPr>
          </a:p>
        </p:txBody>
      </p:sp>
      <p:sp>
        <p:nvSpPr>
          <p:cNvPr id="49" name="Rectangle: Rounded Corners 48">
            <a:extLst>
              <a:ext uri="{FF2B5EF4-FFF2-40B4-BE49-F238E27FC236}">
                <a16:creationId xmlns:a16="http://schemas.microsoft.com/office/drawing/2014/main" id="{330EB260-BE9D-F365-F5A6-D4C00691CB94}"/>
              </a:ext>
            </a:extLst>
          </p:cNvPr>
          <p:cNvSpPr/>
          <p:nvPr/>
        </p:nvSpPr>
        <p:spPr>
          <a:xfrm flipH="1">
            <a:off x="8005182" y="3907991"/>
            <a:ext cx="3651027" cy="2141562"/>
          </a:xfrm>
          <a:prstGeom prst="roundRect">
            <a:avLst>
              <a:gd name="adj" fmla="val 0"/>
            </a:avLst>
          </a:prstGeom>
          <a:noFill/>
          <a:ln w="1905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lIns="91440" rIns="91440" bIns="45720" rtlCol="0" anchor="t" anchorCtr="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srgbClr val="2B3A42"/>
                </a:solidFill>
                <a:effectLst/>
                <a:uLnTx/>
                <a:uFillTx/>
                <a:latin typeface="Noto Sans"/>
                <a:ea typeface="+mn-ea"/>
                <a:cs typeface="+mn-cs"/>
              </a:rPr>
              <a:t>Future Opportunities</a:t>
            </a:r>
            <a:endParaRPr kumimoji="0" lang="en-US" sz="1400" b="1" i="0" u="none" strike="noStrike" kern="1200" cap="none" spc="0" normalizeH="0" baseline="0" noProof="0" dirty="0">
              <a:ln>
                <a:noFill/>
              </a:ln>
              <a:solidFill>
                <a:srgbClr val="2B3A42"/>
              </a:solidFill>
              <a:effectLst/>
              <a:uLnTx/>
              <a:uFillTx/>
              <a:latin typeface="Noto Sans"/>
              <a:ea typeface="+mn-ea"/>
              <a:cs typeface="+mn-cs"/>
            </a:endParaRP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2B3A42"/>
                </a:solidFill>
                <a:effectLst/>
                <a:uLnTx/>
                <a:uFillTx/>
                <a:latin typeface="Noto Sans"/>
                <a:ea typeface="+mn-ea"/>
                <a:cs typeface="Arial" panose="020B0604020202020204" pitchFamily="34" charset="0"/>
              </a:rPr>
              <a:t>Neighbourhood</a:t>
            </a:r>
            <a:r>
              <a:rPr kumimoji="0" lang="en-US" sz="1400" b="0" i="0" u="none" strike="noStrike" kern="1200" cap="none" spc="0" normalizeH="0" baseline="0" noProof="0" dirty="0">
                <a:ln>
                  <a:noFill/>
                </a:ln>
                <a:solidFill>
                  <a:srgbClr val="2B3A42"/>
                </a:solidFill>
                <a:effectLst/>
                <a:uLnTx/>
                <a:uFillTx/>
                <a:latin typeface="Noto Sans"/>
                <a:ea typeface="+mn-ea"/>
                <a:cs typeface="Arial" panose="020B0604020202020204" pitchFamily="34" charset="0"/>
              </a:rPr>
              <a:t> integration to support Long Term Condition (CVD, Respiratory) </a:t>
            </a:r>
            <a:r>
              <a:rPr kumimoji="0" lang="en-US" sz="1400" b="0" i="0" u="none" strike="noStrike" kern="1200" cap="none" spc="0" normalizeH="0" baseline="0" noProof="0" dirty="0" err="1">
                <a:ln>
                  <a:noFill/>
                </a:ln>
                <a:solidFill>
                  <a:srgbClr val="2B3A42"/>
                </a:solidFill>
                <a:effectLst/>
                <a:uLnTx/>
                <a:uFillTx/>
                <a:latin typeface="Noto Sans"/>
                <a:ea typeface="+mn-ea"/>
                <a:cs typeface="Arial" panose="020B0604020202020204" pitchFamily="34" charset="0"/>
              </a:rPr>
              <a:t>e.g</a:t>
            </a:r>
            <a:r>
              <a:rPr kumimoji="0" lang="en-US" sz="1400" b="0" i="0" u="none" strike="noStrike" kern="1200" cap="none" spc="0" normalizeH="0" baseline="0" noProof="0" dirty="0">
                <a:ln>
                  <a:noFill/>
                </a:ln>
                <a:solidFill>
                  <a:srgbClr val="2B3A42"/>
                </a:solidFill>
                <a:effectLst/>
                <a:uLnTx/>
                <a:uFillTx/>
                <a:latin typeface="Noto Sans"/>
                <a:ea typeface="+mn-ea"/>
                <a:cs typeface="Arial" panose="020B0604020202020204" pitchFamily="34" charset="0"/>
              </a:rPr>
              <a:t> add first line treatment to BP check service</a:t>
            </a: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B3A42"/>
                </a:solidFill>
                <a:effectLst/>
                <a:uLnTx/>
                <a:uFillTx/>
                <a:latin typeface="Noto Sans"/>
                <a:ea typeface="+mn-ea"/>
                <a:cs typeface="Arial" panose="020B0604020202020204" pitchFamily="34" charset="0"/>
              </a:rPr>
              <a:t>Transition from local commissions</a:t>
            </a:r>
          </a:p>
          <a:p>
            <a:pPr marL="182880" marR="0" lvl="0" indent="-18288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B3A42"/>
                </a:solidFill>
                <a:effectLst/>
                <a:uLnTx/>
                <a:uFillTx/>
                <a:latin typeface="Noto Sans"/>
                <a:ea typeface="+mn-ea"/>
                <a:cs typeface="Arial" panose="020B0604020202020204" pitchFamily="34" charset="0"/>
              </a:rPr>
              <a:t>Underpinned by clinical governance and supervision, skill mix, digital infrastructure and funding</a:t>
            </a:r>
          </a:p>
        </p:txBody>
      </p:sp>
      <p:sp>
        <p:nvSpPr>
          <p:cNvPr id="51" name="Rectangle 50">
            <a:extLst>
              <a:ext uri="{FF2B5EF4-FFF2-40B4-BE49-F238E27FC236}">
                <a16:creationId xmlns:a16="http://schemas.microsoft.com/office/drawing/2014/main" id="{D622F202-5B6F-621D-11CD-AF9F09118698}"/>
              </a:ext>
            </a:extLst>
          </p:cNvPr>
          <p:cNvSpPr>
            <a:spLocks/>
          </p:cNvSpPr>
          <p:nvPr/>
        </p:nvSpPr>
        <p:spPr>
          <a:xfrm>
            <a:off x="380993" y="2993823"/>
            <a:ext cx="3729117" cy="244587"/>
          </a:xfrm>
          <a:prstGeom prst="rect">
            <a:avLst/>
          </a:prstGeom>
          <a:solidFill>
            <a:srgbClr val="3F81A6"/>
          </a:solidFill>
          <a:ln>
            <a:noFill/>
          </a:ln>
        </p:spPr>
        <p:txBody>
          <a:bodyPr wrap="square" lIns="45720" tIns="45720" rIns="45720" bIns="4572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808080"/>
              </a:solidFill>
              <a:effectLst/>
              <a:uLnTx/>
              <a:uFillTx/>
              <a:latin typeface="Noto Sans"/>
              <a:ea typeface="+mn-ea"/>
              <a:cs typeface="+mn-cs"/>
            </a:endParaRPr>
          </a:p>
        </p:txBody>
      </p:sp>
      <p:sp>
        <p:nvSpPr>
          <p:cNvPr id="52" name="Rectangle 51">
            <a:extLst>
              <a:ext uri="{FF2B5EF4-FFF2-40B4-BE49-F238E27FC236}">
                <a16:creationId xmlns:a16="http://schemas.microsoft.com/office/drawing/2014/main" id="{48EDDD88-06E8-09C4-3338-B89097BD904A}"/>
              </a:ext>
            </a:extLst>
          </p:cNvPr>
          <p:cNvSpPr>
            <a:spLocks/>
          </p:cNvSpPr>
          <p:nvPr/>
        </p:nvSpPr>
        <p:spPr>
          <a:xfrm>
            <a:off x="4184020" y="2993823"/>
            <a:ext cx="3737291" cy="244587"/>
          </a:xfrm>
          <a:prstGeom prst="rect">
            <a:avLst/>
          </a:prstGeom>
          <a:solidFill>
            <a:srgbClr val="7FAAC3"/>
          </a:solidFill>
          <a:ln>
            <a:noFill/>
          </a:ln>
        </p:spPr>
        <p:txBody>
          <a:bodyPr wrap="square" lIns="45720" tIns="45720" rIns="45720" bIns="4572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808080"/>
              </a:solidFill>
              <a:effectLst/>
              <a:uLnTx/>
              <a:uFillTx/>
              <a:latin typeface="Noto Sans"/>
              <a:ea typeface="+mn-ea"/>
              <a:cs typeface="+mn-cs"/>
            </a:endParaRPr>
          </a:p>
        </p:txBody>
      </p:sp>
      <p:sp>
        <p:nvSpPr>
          <p:cNvPr id="53" name="Rectangle 52">
            <a:extLst>
              <a:ext uri="{FF2B5EF4-FFF2-40B4-BE49-F238E27FC236}">
                <a16:creationId xmlns:a16="http://schemas.microsoft.com/office/drawing/2014/main" id="{713FFFFB-2BB8-0971-2FF6-6AD993E0A616}"/>
              </a:ext>
            </a:extLst>
          </p:cNvPr>
          <p:cNvSpPr>
            <a:spLocks/>
          </p:cNvSpPr>
          <p:nvPr/>
        </p:nvSpPr>
        <p:spPr>
          <a:xfrm>
            <a:off x="7985963" y="2993823"/>
            <a:ext cx="3737291" cy="244587"/>
          </a:xfrm>
          <a:prstGeom prst="rect">
            <a:avLst/>
          </a:prstGeom>
          <a:solidFill>
            <a:srgbClr val="CDE9E8"/>
          </a:solidFill>
          <a:ln>
            <a:noFill/>
          </a:ln>
        </p:spPr>
        <p:txBody>
          <a:bodyPr wrap="square" lIns="45720" tIns="45720" rIns="45720" bIns="4572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808080"/>
              </a:solidFill>
              <a:effectLst/>
              <a:uLnTx/>
              <a:uFillTx/>
              <a:latin typeface="Noto Sans"/>
              <a:ea typeface="+mn-ea"/>
              <a:cs typeface="+mn-cs"/>
            </a:endParaRPr>
          </a:p>
        </p:txBody>
      </p:sp>
      <p:sp>
        <p:nvSpPr>
          <p:cNvPr id="54" name="Oval 53">
            <a:extLst>
              <a:ext uri="{FF2B5EF4-FFF2-40B4-BE49-F238E27FC236}">
                <a16:creationId xmlns:a16="http://schemas.microsoft.com/office/drawing/2014/main" id="{D7E6CB17-2523-CAE8-6A7C-9E88F69D7C04}"/>
              </a:ext>
            </a:extLst>
          </p:cNvPr>
          <p:cNvSpPr/>
          <p:nvPr/>
        </p:nvSpPr>
        <p:spPr>
          <a:xfrm>
            <a:off x="1608280" y="2471057"/>
            <a:ext cx="1290118" cy="1290118"/>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Noto Sans"/>
              <a:ea typeface="+mn-ea"/>
              <a:cs typeface="+mn-cs"/>
            </a:endParaRPr>
          </a:p>
        </p:txBody>
      </p:sp>
      <p:sp>
        <p:nvSpPr>
          <p:cNvPr id="55" name="Oval 54">
            <a:extLst>
              <a:ext uri="{FF2B5EF4-FFF2-40B4-BE49-F238E27FC236}">
                <a16:creationId xmlns:a16="http://schemas.microsoft.com/office/drawing/2014/main" id="{0E711BE0-FDEB-87B5-69F4-79F5C2A7A5CD}"/>
              </a:ext>
            </a:extLst>
          </p:cNvPr>
          <p:cNvSpPr/>
          <p:nvPr/>
        </p:nvSpPr>
        <p:spPr>
          <a:xfrm>
            <a:off x="5408915" y="2471057"/>
            <a:ext cx="1290118" cy="1290118"/>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Noto Sans"/>
              <a:ea typeface="+mn-ea"/>
              <a:cs typeface="+mn-cs"/>
            </a:endParaRPr>
          </a:p>
        </p:txBody>
      </p:sp>
      <p:sp>
        <p:nvSpPr>
          <p:cNvPr id="56" name="Oval 55">
            <a:extLst>
              <a:ext uri="{FF2B5EF4-FFF2-40B4-BE49-F238E27FC236}">
                <a16:creationId xmlns:a16="http://schemas.microsoft.com/office/drawing/2014/main" id="{F14B5F43-F6FB-8CE7-53D5-C8E00036DEF9}"/>
              </a:ext>
            </a:extLst>
          </p:cNvPr>
          <p:cNvSpPr/>
          <p:nvPr/>
        </p:nvSpPr>
        <p:spPr>
          <a:xfrm>
            <a:off x="9209549" y="2471057"/>
            <a:ext cx="1290118" cy="1290118"/>
          </a:xfrm>
          <a:prstGeom prst="ellipse">
            <a:avLst/>
          </a:prstGeom>
          <a:solidFill>
            <a:schemeClr val="bg1"/>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Noto Sans"/>
              <a:ea typeface="+mn-ea"/>
              <a:cs typeface="+mn-cs"/>
            </a:endParaRPr>
          </a:p>
        </p:txBody>
      </p:sp>
      <p:pic>
        <p:nvPicPr>
          <p:cNvPr id="57" name="Graphic 56">
            <a:extLst>
              <a:ext uri="{FF2B5EF4-FFF2-40B4-BE49-F238E27FC236}">
                <a16:creationId xmlns:a16="http://schemas.microsoft.com/office/drawing/2014/main" id="{E63115CB-06DE-0A8D-E887-25FCFF3E42C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933204" y="2747498"/>
            <a:ext cx="709880" cy="709878"/>
          </a:xfrm>
          <a:prstGeom prst="rect">
            <a:avLst/>
          </a:prstGeom>
        </p:spPr>
      </p:pic>
      <p:pic>
        <p:nvPicPr>
          <p:cNvPr id="58" name="Graphic 57">
            <a:extLst>
              <a:ext uri="{FF2B5EF4-FFF2-40B4-BE49-F238E27FC236}">
                <a16:creationId xmlns:a16="http://schemas.microsoft.com/office/drawing/2014/main" id="{9FAFCDFA-FBEE-7AB1-144D-E6A1BF76407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531406" y="2792915"/>
            <a:ext cx="646404" cy="646402"/>
          </a:xfrm>
          <a:prstGeom prst="rect">
            <a:avLst/>
          </a:prstGeom>
        </p:spPr>
      </p:pic>
      <p:sp>
        <p:nvSpPr>
          <p:cNvPr id="2" name="Footer Placeholder 5">
            <a:extLst>
              <a:ext uri="{FF2B5EF4-FFF2-40B4-BE49-F238E27FC236}">
                <a16:creationId xmlns:a16="http://schemas.microsoft.com/office/drawing/2014/main" id="{0D467402-F9EE-1DE0-D8A3-EBC1D5B273D3}"/>
              </a:ext>
            </a:extLst>
          </p:cNvPr>
          <p:cNvSpPr>
            <a:spLocks noGrp="1"/>
          </p:cNvSpPr>
          <p:nvPr>
            <p:ph type="ftr" sz="quarter" idx="3"/>
          </p:nvPr>
        </p:nvSpPr>
        <p:spPr>
          <a:xfrm>
            <a:off x="384694" y="6387858"/>
            <a:ext cx="8314689" cy="33808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2B3A42"/>
              </a:solidFill>
              <a:effectLst/>
              <a:uLnTx/>
              <a:uFillTx/>
              <a:latin typeface="Noto Sans (Heading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B3A42"/>
                </a:solidFill>
                <a:effectLst/>
                <a:uLnTx/>
                <a:uFillTx/>
                <a:latin typeface="Noto Sans (Headings)"/>
                <a:ea typeface="+mn-ea"/>
                <a:cs typeface="+mn-cs"/>
              </a:rPr>
              <a:t>Source: NHS England speakers and announcements</a:t>
            </a:r>
          </a:p>
        </p:txBody>
      </p:sp>
      <p:pic>
        <p:nvPicPr>
          <p:cNvPr id="11" name="Graphic 10">
            <a:extLst>
              <a:ext uri="{FF2B5EF4-FFF2-40B4-BE49-F238E27FC236}">
                <a16:creationId xmlns:a16="http://schemas.microsoft.com/office/drawing/2014/main" id="{7394631F-E021-9977-3048-EA56EABC593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719504" y="2798914"/>
            <a:ext cx="634404" cy="634404"/>
          </a:xfrm>
          <a:prstGeom prst="rect">
            <a:avLst/>
          </a:prstGeom>
        </p:spPr>
      </p:pic>
    </p:spTree>
    <p:extLst>
      <p:ext uri="{BB962C8B-B14F-4D97-AF65-F5344CB8AC3E}">
        <p14:creationId xmlns:p14="http://schemas.microsoft.com/office/powerpoint/2010/main" val="3635954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44C1C4F-B269-2BB6-EE06-6C0C83E2AEF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8" name="think-cell data - do not delete" hidden="1">
                        <a:extLst>
                          <a:ext uri="{FF2B5EF4-FFF2-40B4-BE49-F238E27FC236}">
                            <a16:creationId xmlns:a16="http://schemas.microsoft.com/office/drawing/2014/main" id="{C44C1C4F-B269-2BB6-EE06-6C0C83E2AE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1" name="Content Placeholder 10">
            <a:extLst>
              <a:ext uri="{FF2B5EF4-FFF2-40B4-BE49-F238E27FC236}">
                <a16:creationId xmlns:a16="http://schemas.microsoft.com/office/drawing/2014/main" id="{DAD1E703-1B1C-0801-4F99-9F00709521F6}"/>
              </a:ext>
            </a:extLst>
          </p:cNvPr>
          <p:cNvGraphicFramePr>
            <a:graphicFrameLocks noGrp="1"/>
          </p:cNvGraphicFramePr>
          <p:nvPr>
            <p:ph idx="18"/>
          </p:nvPr>
        </p:nvGraphicFramePr>
        <p:xfrm>
          <a:off x="521536" y="1735292"/>
          <a:ext cx="5532438" cy="4576762"/>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4">
            <a:extLst>
              <a:ext uri="{FF2B5EF4-FFF2-40B4-BE49-F238E27FC236}">
                <a16:creationId xmlns:a16="http://schemas.microsoft.com/office/drawing/2014/main" id="{B7D60F4B-F47B-D619-E9ED-BADF4F3ACB9B}"/>
              </a:ext>
            </a:extLst>
          </p:cNvPr>
          <p:cNvSpPr>
            <a:spLocks noGrp="1"/>
          </p:cNvSpPr>
          <p:nvPr>
            <p:ph type="body" sz="quarter" idx="16"/>
          </p:nvPr>
        </p:nvSpPr>
        <p:spPr>
          <a:xfrm>
            <a:off x="384694" y="1081826"/>
            <a:ext cx="11338560" cy="402336"/>
          </a:xfrm>
        </p:spPr>
        <p:txBody>
          <a:bodyPr/>
          <a:lstStyle/>
          <a:p>
            <a:r>
              <a:rPr lang="en-GB"/>
              <a:t>Over half of IP qualified pharmacists are prescribing and increased numbers of technicians and accuracy checkers will enable the shift in role responsibilities</a:t>
            </a:r>
          </a:p>
        </p:txBody>
      </p:sp>
      <p:sp>
        <p:nvSpPr>
          <p:cNvPr id="4" name="Title 3">
            <a:extLst>
              <a:ext uri="{FF2B5EF4-FFF2-40B4-BE49-F238E27FC236}">
                <a16:creationId xmlns:a16="http://schemas.microsoft.com/office/drawing/2014/main" id="{59173B99-3730-E2BF-894E-904A740BD104}"/>
              </a:ext>
            </a:extLst>
          </p:cNvPr>
          <p:cNvSpPr>
            <a:spLocks noGrp="1"/>
          </p:cNvSpPr>
          <p:nvPr>
            <p:ph type="title"/>
          </p:nvPr>
        </p:nvSpPr>
        <p:spPr/>
        <p:txBody>
          <a:bodyPr vert="horz" rIns="91440"/>
          <a:lstStyle/>
          <a:p>
            <a:r>
              <a:rPr lang="en-GB"/>
              <a:t>The workforce is starting to change in response to the future needs of community pharmacy</a:t>
            </a:r>
          </a:p>
        </p:txBody>
      </p:sp>
      <p:sp>
        <p:nvSpPr>
          <p:cNvPr id="3" name="Footer Placeholder 2">
            <a:extLst>
              <a:ext uri="{FF2B5EF4-FFF2-40B4-BE49-F238E27FC236}">
                <a16:creationId xmlns:a16="http://schemas.microsoft.com/office/drawing/2014/main" id="{A642B5C7-B807-96F3-634C-9820434AD9FC}"/>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Noto Sans"/>
                <a:ea typeface="+mn-ea"/>
                <a:cs typeface="+mn-cs"/>
              </a:rPr>
              <a:t>NHSE Community Pharmacy Workforce survey 2022-2025, excluding delivery drivers :</a:t>
            </a:r>
            <a:r>
              <a:rPr kumimoji="0" lang="en-GB" sz="800" b="0" i="0" u="none" strike="noStrike" kern="1200" cap="none" spc="0" normalizeH="0" baseline="0" noProof="0">
                <a:ln>
                  <a:noFill/>
                </a:ln>
                <a:solidFill>
                  <a:srgbClr val="2B3A42"/>
                </a:solidFill>
                <a:effectLst/>
                <a:uLnTx/>
                <a:uFillTx/>
                <a:latin typeface="Noto Sans"/>
                <a:ea typeface="+mn-ea"/>
                <a:cs typeface="+mn-cs"/>
                <a:hlinkClick r:id="rId7"/>
              </a:rPr>
              <a:t>Community Pharmacy Workforce Survey - data.gov.uk</a:t>
            </a: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graphicFrame>
        <p:nvGraphicFramePr>
          <p:cNvPr id="12" name="Content Placeholder 10">
            <a:extLst>
              <a:ext uri="{FF2B5EF4-FFF2-40B4-BE49-F238E27FC236}">
                <a16:creationId xmlns:a16="http://schemas.microsoft.com/office/drawing/2014/main" id="{B8688D9C-683D-B751-D86B-3D61C2C4599C}"/>
              </a:ext>
            </a:extLst>
          </p:cNvPr>
          <p:cNvGraphicFramePr>
            <a:graphicFrameLocks/>
          </p:cNvGraphicFramePr>
          <p:nvPr/>
        </p:nvGraphicFramePr>
        <p:xfrm>
          <a:off x="6403941" y="1811096"/>
          <a:ext cx="6049245" cy="457676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354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08F838-C0C5-4CA2-8FC7-B66F1BE28CF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5A08F838-C0C5-4CA2-8FC7-B66F1BE28C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Freeform: Shape 19">
            <a:extLst>
              <a:ext uri="{FF2B5EF4-FFF2-40B4-BE49-F238E27FC236}">
                <a16:creationId xmlns:a16="http://schemas.microsoft.com/office/drawing/2014/main" id="{57F05A22-83A2-4BFA-98D6-590A65CE0494}"/>
              </a:ext>
            </a:extLst>
          </p:cNvPr>
          <p:cNvSpPr/>
          <p:nvPr/>
        </p:nvSpPr>
        <p:spPr>
          <a:xfrm rot="16200000">
            <a:off x="2857876" y="3517391"/>
            <a:ext cx="3208222" cy="513220"/>
          </a:xfrm>
          <a:custGeom>
            <a:avLst/>
            <a:gdLst>
              <a:gd name="connsiteX0" fmla="*/ 10814969 w 10812509"/>
              <a:gd name="connsiteY0" fmla="*/ 0 h 2337174"/>
              <a:gd name="connsiteX1" fmla="*/ 10814969 w 10812509"/>
              <a:gd name="connsiteY1" fmla="*/ 1926324 h 2337174"/>
              <a:gd name="connsiteX2" fmla="*/ 10396738 w 10812509"/>
              <a:gd name="connsiteY2" fmla="*/ 2338405 h 2337174"/>
              <a:gd name="connsiteX3" fmla="*/ 418231 w 10812509"/>
              <a:gd name="connsiteY3" fmla="*/ 2338405 h 2337174"/>
              <a:gd name="connsiteX4" fmla="*/ 0 w 10812509"/>
              <a:gd name="connsiteY4" fmla="*/ 1926324 h 2337174"/>
              <a:gd name="connsiteX5" fmla="*/ 0 w 10812509"/>
              <a:gd name="connsiteY5" fmla="*/ 0 h 233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12509" h="2337174">
                <a:moveTo>
                  <a:pt x="10814969" y="0"/>
                </a:moveTo>
                <a:lnTo>
                  <a:pt x="10814969" y="1926324"/>
                </a:lnTo>
                <a:cubicBezTo>
                  <a:pt x="10814969" y="2152661"/>
                  <a:pt x="10626765" y="2338405"/>
                  <a:pt x="10396738" y="2338405"/>
                </a:cubicBezTo>
                <a:lnTo>
                  <a:pt x="418231" y="2338405"/>
                </a:lnTo>
                <a:cubicBezTo>
                  <a:pt x="188204" y="2338405"/>
                  <a:pt x="0" y="2152661"/>
                  <a:pt x="0" y="1926324"/>
                </a:cubicBezTo>
                <a:lnTo>
                  <a:pt x="0" y="0"/>
                </a:lnTo>
              </a:path>
            </a:pathLst>
          </a:custGeom>
          <a:noFill/>
          <a:ln w="38100" cap="flat">
            <a:solidFill>
              <a:srgbClr val="CACED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cxnSp>
        <p:nvCxnSpPr>
          <p:cNvPr id="40" name="Straight Connector 39">
            <a:extLst>
              <a:ext uri="{FF2B5EF4-FFF2-40B4-BE49-F238E27FC236}">
                <a16:creationId xmlns:a16="http://schemas.microsoft.com/office/drawing/2014/main" id="{E8C8EE57-8C34-4BF8-A53F-BB4388797E5C}"/>
              </a:ext>
            </a:extLst>
          </p:cNvPr>
          <p:cNvCxnSpPr>
            <a:cxnSpLocks/>
          </p:cNvCxnSpPr>
          <p:nvPr/>
        </p:nvCxnSpPr>
        <p:spPr>
          <a:xfrm flipH="1">
            <a:off x="4243227" y="3774000"/>
            <a:ext cx="697192" cy="0"/>
          </a:xfrm>
          <a:prstGeom prst="line">
            <a:avLst/>
          </a:prstGeom>
          <a:ln w="38100" cap="rnd">
            <a:solidFill>
              <a:srgbClr val="CACED0"/>
            </a:solidFill>
            <a:round/>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C05BF3ED-DBC9-4DA6-BB82-0A36EF1CF2E0}"/>
              </a:ext>
            </a:extLst>
          </p:cNvPr>
          <p:cNvSpPr>
            <a:spLocks/>
          </p:cNvSpPr>
          <p:nvPr/>
        </p:nvSpPr>
        <p:spPr>
          <a:xfrm>
            <a:off x="384694" y="1493114"/>
            <a:ext cx="3820683" cy="1353553"/>
          </a:xfrm>
          <a:prstGeom prst="roundRect">
            <a:avLst>
              <a:gd name="adj" fmla="val 1229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Noto Sans"/>
                <a:ea typeface="+mn-ea"/>
                <a:cs typeface="+mn-cs"/>
              </a:rPr>
              <a:t>NHS Capacity</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Ageing population</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mn-cs"/>
              </a:rPr>
              <a:t>Hospital waiting lists </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mn-cs"/>
              </a:rPr>
              <a:t>Access to GP appointments</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Noto Sans"/>
              <a:ea typeface="+mn-ea"/>
              <a:cs typeface="+mn-cs"/>
            </a:endParaRPr>
          </a:p>
        </p:txBody>
      </p:sp>
      <p:sp>
        <p:nvSpPr>
          <p:cNvPr id="43" name="Rectangle: Rounded Corners 42">
            <a:extLst>
              <a:ext uri="{FF2B5EF4-FFF2-40B4-BE49-F238E27FC236}">
                <a16:creationId xmlns:a16="http://schemas.microsoft.com/office/drawing/2014/main" id="{A2C0E042-E62C-489F-AAE8-818B2E4ACC69}"/>
              </a:ext>
            </a:extLst>
          </p:cNvPr>
          <p:cNvSpPr>
            <a:spLocks/>
          </p:cNvSpPr>
          <p:nvPr/>
        </p:nvSpPr>
        <p:spPr>
          <a:xfrm>
            <a:off x="384694" y="3102338"/>
            <a:ext cx="3820683" cy="1353553"/>
          </a:xfrm>
          <a:prstGeom prst="roundRect">
            <a:avLst>
              <a:gd name="adj" fmla="val 1229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Noto Sans"/>
                <a:ea typeface="+mn-ea"/>
                <a:cs typeface="+mn-cs"/>
              </a:rPr>
              <a:t>Financial</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Competition for NHSE budget </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Pharmacy contract</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Medicines margin</a:t>
            </a: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44" name="Rectangle: Rounded Corners 43">
            <a:extLst>
              <a:ext uri="{FF2B5EF4-FFF2-40B4-BE49-F238E27FC236}">
                <a16:creationId xmlns:a16="http://schemas.microsoft.com/office/drawing/2014/main" id="{69B61C0B-61B3-4178-BB61-70224214E9F5}"/>
              </a:ext>
            </a:extLst>
          </p:cNvPr>
          <p:cNvSpPr>
            <a:spLocks/>
          </p:cNvSpPr>
          <p:nvPr/>
        </p:nvSpPr>
        <p:spPr>
          <a:xfrm>
            <a:off x="384694" y="4711561"/>
            <a:ext cx="3820683" cy="1353553"/>
          </a:xfrm>
          <a:prstGeom prst="roundRect">
            <a:avLst>
              <a:gd name="adj" fmla="val 1229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Noto Sans"/>
                <a:ea typeface="+mn-ea"/>
                <a:cs typeface="+mn-cs"/>
              </a:rPr>
              <a:t>Operational</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Dispensing workload</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Medicines purchasing</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Supply chain disruption and short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Noto Sans"/>
              <a:ea typeface="+mn-ea"/>
              <a:cs typeface="+mn-cs"/>
            </a:endParaRPr>
          </a:p>
        </p:txBody>
      </p:sp>
      <p:sp>
        <p:nvSpPr>
          <p:cNvPr id="45" name="Rectangle: Rounded Corners 44">
            <a:extLst>
              <a:ext uri="{FF2B5EF4-FFF2-40B4-BE49-F238E27FC236}">
                <a16:creationId xmlns:a16="http://schemas.microsoft.com/office/drawing/2014/main" id="{EAF6A2F7-0DA9-4741-A247-F6374C330861}"/>
              </a:ext>
            </a:extLst>
          </p:cNvPr>
          <p:cNvSpPr/>
          <p:nvPr/>
        </p:nvSpPr>
        <p:spPr>
          <a:xfrm>
            <a:off x="466629" y="1583351"/>
            <a:ext cx="1173079" cy="1173079"/>
          </a:xfrm>
          <a:prstGeom prst="roundRect">
            <a:avLst>
              <a:gd name="adj" fmla="val 122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6" name="Rectangle: Rounded Corners 45">
            <a:extLst>
              <a:ext uri="{FF2B5EF4-FFF2-40B4-BE49-F238E27FC236}">
                <a16:creationId xmlns:a16="http://schemas.microsoft.com/office/drawing/2014/main" id="{FF231DC8-5026-4CA0-824B-442EC10BD339}"/>
              </a:ext>
            </a:extLst>
          </p:cNvPr>
          <p:cNvSpPr/>
          <p:nvPr/>
        </p:nvSpPr>
        <p:spPr>
          <a:xfrm>
            <a:off x="466629" y="3192575"/>
            <a:ext cx="1173079" cy="1173079"/>
          </a:xfrm>
          <a:prstGeom prst="roundRect">
            <a:avLst>
              <a:gd name="adj" fmla="val 122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7" name="Rectangle: Rounded Corners 46">
            <a:extLst>
              <a:ext uri="{FF2B5EF4-FFF2-40B4-BE49-F238E27FC236}">
                <a16:creationId xmlns:a16="http://schemas.microsoft.com/office/drawing/2014/main" id="{A7F101F7-1153-45D1-B540-3DE917340294}"/>
              </a:ext>
            </a:extLst>
          </p:cNvPr>
          <p:cNvSpPr/>
          <p:nvPr/>
        </p:nvSpPr>
        <p:spPr>
          <a:xfrm>
            <a:off x="466629" y="4801798"/>
            <a:ext cx="1173079" cy="1173079"/>
          </a:xfrm>
          <a:prstGeom prst="roundRect">
            <a:avLst>
              <a:gd name="adj" fmla="val 122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8" name="Oval 47">
            <a:extLst>
              <a:ext uri="{FF2B5EF4-FFF2-40B4-BE49-F238E27FC236}">
                <a16:creationId xmlns:a16="http://schemas.microsoft.com/office/drawing/2014/main" id="{56088628-99C4-403A-97DF-9599E7E7B2B6}"/>
              </a:ext>
            </a:extLst>
          </p:cNvPr>
          <p:cNvSpPr/>
          <p:nvPr/>
        </p:nvSpPr>
        <p:spPr>
          <a:xfrm>
            <a:off x="4136589" y="2104181"/>
            <a:ext cx="146304" cy="146304"/>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9" name="Oval 48">
            <a:extLst>
              <a:ext uri="{FF2B5EF4-FFF2-40B4-BE49-F238E27FC236}">
                <a16:creationId xmlns:a16="http://schemas.microsoft.com/office/drawing/2014/main" id="{4FA97DC2-3693-4DC8-9F2F-6DAF0BC6E4D9}"/>
              </a:ext>
            </a:extLst>
          </p:cNvPr>
          <p:cNvSpPr/>
          <p:nvPr/>
        </p:nvSpPr>
        <p:spPr>
          <a:xfrm>
            <a:off x="4136589" y="5297516"/>
            <a:ext cx="146304" cy="146304"/>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50" name="Oval 49">
            <a:extLst>
              <a:ext uri="{FF2B5EF4-FFF2-40B4-BE49-F238E27FC236}">
                <a16:creationId xmlns:a16="http://schemas.microsoft.com/office/drawing/2014/main" id="{C5234178-E832-495F-B906-34FE51BC0445}"/>
              </a:ext>
            </a:extLst>
          </p:cNvPr>
          <p:cNvSpPr/>
          <p:nvPr/>
        </p:nvSpPr>
        <p:spPr>
          <a:xfrm>
            <a:off x="4136589" y="3706950"/>
            <a:ext cx="146304" cy="146304"/>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56" name="Freeform: Shape 19">
            <a:extLst>
              <a:ext uri="{FF2B5EF4-FFF2-40B4-BE49-F238E27FC236}">
                <a16:creationId xmlns:a16="http://schemas.microsoft.com/office/drawing/2014/main" id="{E6B32861-EBEF-41D4-96D9-99F557FFA35E}"/>
              </a:ext>
            </a:extLst>
          </p:cNvPr>
          <p:cNvSpPr/>
          <p:nvPr/>
        </p:nvSpPr>
        <p:spPr>
          <a:xfrm rot="5400000" flipH="1">
            <a:off x="6041850" y="3517391"/>
            <a:ext cx="3208222" cy="513220"/>
          </a:xfrm>
          <a:custGeom>
            <a:avLst/>
            <a:gdLst>
              <a:gd name="connsiteX0" fmla="*/ 10814969 w 10812509"/>
              <a:gd name="connsiteY0" fmla="*/ 0 h 2337174"/>
              <a:gd name="connsiteX1" fmla="*/ 10814969 w 10812509"/>
              <a:gd name="connsiteY1" fmla="*/ 1926324 h 2337174"/>
              <a:gd name="connsiteX2" fmla="*/ 10396738 w 10812509"/>
              <a:gd name="connsiteY2" fmla="*/ 2338405 h 2337174"/>
              <a:gd name="connsiteX3" fmla="*/ 418231 w 10812509"/>
              <a:gd name="connsiteY3" fmla="*/ 2338405 h 2337174"/>
              <a:gd name="connsiteX4" fmla="*/ 0 w 10812509"/>
              <a:gd name="connsiteY4" fmla="*/ 1926324 h 2337174"/>
              <a:gd name="connsiteX5" fmla="*/ 0 w 10812509"/>
              <a:gd name="connsiteY5" fmla="*/ 0 h 233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12509" h="2337174">
                <a:moveTo>
                  <a:pt x="10814969" y="0"/>
                </a:moveTo>
                <a:lnTo>
                  <a:pt x="10814969" y="1926324"/>
                </a:lnTo>
                <a:cubicBezTo>
                  <a:pt x="10814969" y="2152661"/>
                  <a:pt x="10626765" y="2338405"/>
                  <a:pt x="10396738" y="2338405"/>
                </a:cubicBezTo>
                <a:lnTo>
                  <a:pt x="418231" y="2338405"/>
                </a:lnTo>
                <a:cubicBezTo>
                  <a:pt x="188204" y="2338405"/>
                  <a:pt x="0" y="2152661"/>
                  <a:pt x="0" y="1926324"/>
                </a:cubicBezTo>
                <a:lnTo>
                  <a:pt x="0" y="0"/>
                </a:lnTo>
              </a:path>
            </a:pathLst>
          </a:custGeom>
          <a:noFill/>
          <a:ln w="38100" cap="flat">
            <a:solidFill>
              <a:srgbClr val="CACED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cxnSp>
        <p:nvCxnSpPr>
          <p:cNvPr id="57" name="Straight Connector 56">
            <a:extLst>
              <a:ext uri="{FF2B5EF4-FFF2-40B4-BE49-F238E27FC236}">
                <a16:creationId xmlns:a16="http://schemas.microsoft.com/office/drawing/2014/main" id="{42268BF7-0D4C-4D45-807A-6B35A2BDF215}"/>
              </a:ext>
            </a:extLst>
          </p:cNvPr>
          <p:cNvCxnSpPr>
            <a:cxnSpLocks/>
          </p:cNvCxnSpPr>
          <p:nvPr/>
        </p:nvCxnSpPr>
        <p:spPr>
          <a:xfrm>
            <a:off x="7167529" y="3774000"/>
            <a:ext cx="697192" cy="0"/>
          </a:xfrm>
          <a:prstGeom prst="line">
            <a:avLst/>
          </a:prstGeom>
          <a:ln w="38100" cap="rnd">
            <a:solidFill>
              <a:srgbClr val="CACED0"/>
            </a:solidFill>
            <a:round/>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0C78CE4-6D4A-4744-B1F6-19038526E38F}"/>
              </a:ext>
            </a:extLst>
          </p:cNvPr>
          <p:cNvSpPr>
            <a:spLocks/>
          </p:cNvSpPr>
          <p:nvPr/>
        </p:nvSpPr>
        <p:spPr>
          <a:xfrm flipH="1">
            <a:off x="7902571" y="1493114"/>
            <a:ext cx="3820683" cy="1353553"/>
          </a:xfrm>
          <a:prstGeom prst="roundRect">
            <a:avLst>
              <a:gd name="adj" fmla="val 12295"/>
            </a:avLst>
          </a:prstGeom>
          <a:solidFill>
            <a:srgbClr val="10545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13716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Noto Sans"/>
                <a:ea typeface="+mn-ea"/>
                <a:cs typeface="+mn-cs"/>
              </a:rPr>
              <a:t>Operational</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Automated and Hub &amp; Spoke dispensing</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Supervision changes</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Noto Sans"/>
                <a:ea typeface="+mn-ea"/>
                <a:cs typeface="Arial" panose="020B0604020202020204" pitchFamily="34" charset="0"/>
              </a:rPr>
              <a:t>Neighbourhood</a:t>
            </a: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 care</a:t>
            </a: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59" name="Rectangle: Rounded Corners 58">
            <a:extLst>
              <a:ext uri="{FF2B5EF4-FFF2-40B4-BE49-F238E27FC236}">
                <a16:creationId xmlns:a16="http://schemas.microsoft.com/office/drawing/2014/main" id="{E617E00F-94AF-41BE-BF6F-4A08364879A2}"/>
              </a:ext>
            </a:extLst>
          </p:cNvPr>
          <p:cNvSpPr>
            <a:spLocks/>
          </p:cNvSpPr>
          <p:nvPr/>
        </p:nvSpPr>
        <p:spPr>
          <a:xfrm flipH="1">
            <a:off x="7902571" y="3102338"/>
            <a:ext cx="3820683" cy="1353553"/>
          </a:xfrm>
          <a:prstGeom prst="roundRect">
            <a:avLst>
              <a:gd name="adj" fmla="val 1229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13716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Noto Sans"/>
                <a:ea typeface="+mn-ea"/>
                <a:cs typeface="+mn-cs"/>
              </a:rPr>
              <a:t>NHS Services</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Pharmacy First</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Patient advice and halo spend</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Independent prescribing</a:t>
            </a:r>
            <a:endParaRPr kumimoji="0" lang="en-US" sz="1600" b="1" i="0" u="none" strike="noStrike" kern="1200" cap="none" spc="0" normalizeH="0" baseline="0" noProof="0">
              <a:ln>
                <a:noFill/>
              </a:ln>
              <a:solidFill>
                <a:srgbClr val="FFFFFF"/>
              </a:solidFill>
              <a:effectLst/>
              <a:uLnTx/>
              <a:uFillTx/>
              <a:latin typeface="Noto Sans"/>
              <a:ea typeface="+mn-ea"/>
              <a:cs typeface="+mn-cs"/>
            </a:endParaRPr>
          </a:p>
        </p:txBody>
      </p:sp>
      <p:sp>
        <p:nvSpPr>
          <p:cNvPr id="60" name="Rectangle: Rounded Corners 59">
            <a:extLst>
              <a:ext uri="{FF2B5EF4-FFF2-40B4-BE49-F238E27FC236}">
                <a16:creationId xmlns:a16="http://schemas.microsoft.com/office/drawing/2014/main" id="{7C401B20-DB62-49F2-A36F-EF3B86206623}"/>
              </a:ext>
            </a:extLst>
          </p:cNvPr>
          <p:cNvSpPr>
            <a:spLocks/>
          </p:cNvSpPr>
          <p:nvPr/>
        </p:nvSpPr>
        <p:spPr>
          <a:xfrm flipH="1">
            <a:off x="7902571" y="4711561"/>
            <a:ext cx="3820683" cy="1353553"/>
          </a:xfrm>
          <a:prstGeom prst="roundRect">
            <a:avLst>
              <a:gd name="adj" fmla="val 1229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13716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Noto Sans"/>
                <a:ea typeface="+mn-ea"/>
                <a:cs typeface="+mn-cs"/>
              </a:rPr>
              <a:t>Patient needs</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Private services</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Rx to OTC classification</a:t>
            </a:r>
          </a:p>
          <a:p>
            <a:pPr marL="182880" marR="0" lvl="0" indent="-18288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Noto Sans"/>
                <a:ea typeface="+mn-ea"/>
                <a:cs typeface="Arial" panose="020B0604020202020204" pitchFamily="34" charset="0"/>
              </a:rPr>
              <a:t>Supporting novel treatments</a:t>
            </a:r>
            <a:endParaRPr kumimoji="0" lang="en-US" sz="1400" b="0" i="0" u="none" strike="noStrike" kern="1200" cap="none" spc="0" normalizeH="0" baseline="0" noProof="0">
              <a:ln>
                <a:noFill/>
              </a:ln>
              <a:solidFill>
                <a:srgbClr val="FFFFFF"/>
              </a:solidFill>
              <a:effectLst/>
              <a:uLnTx/>
              <a:uFillTx/>
              <a:latin typeface="Noto Sans"/>
              <a:ea typeface="+mn-ea"/>
              <a:cs typeface="+mn-cs"/>
            </a:endParaRPr>
          </a:p>
        </p:txBody>
      </p:sp>
      <p:sp>
        <p:nvSpPr>
          <p:cNvPr id="61" name="Rectangle: Rounded Corners 60">
            <a:extLst>
              <a:ext uri="{FF2B5EF4-FFF2-40B4-BE49-F238E27FC236}">
                <a16:creationId xmlns:a16="http://schemas.microsoft.com/office/drawing/2014/main" id="{51202BF2-AAF6-4ED7-96EB-E499E36886C4}"/>
              </a:ext>
            </a:extLst>
          </p:cNvPr>
          <p:cNvSpPr/>
          <p:nvPr/>
        </p:nvSpPr>
        <p:spPr>
          <a:xfrm flipH="1">
            <a:off x="10468240" y="1583351"/>
            <a:ext cx="1173079" cy="1173079"/>
          </a:xfrm>
          <a:prstGeom prst="roundRect">
            <a:avLst>
              <a:gd name="adj" fmla="val 122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62" name="Rectangle: Rounded Corners 61">
            <a:extLst>
              <a:ext uri="{FF2B5EF4-FFF2-40B4-BE49-F238E27FC236}">
                <a16:creationId xmlns:a16="http://schemas.microsoft.com/office/drawing/2014/main" id="{ABC329EF-3E48-4728-B56C-FB308D32267A}"/>
              </a:ext>
            </a:extLst>
          </p:cNvPr>
          <p:cNvSpPr/>
          <p:nvPr/>
        </p:nvSpPr>
        <p:spPr>
          <a:xfrm flipH="1">
            <a:off x="10468240" y="3192575"/>
            <a:ext cx="1173079" cy="1173079"/>
          </a:xfrm>
          <a:prstGeom prst="roundRect">
            <a:avLst>
              <a:gd name="adj" fmla="val 122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63" name="Rectangle: Rounded Corners 62">
            <a:extLst>
              <a:ext uri="{FF2B5EF4-FFF2-40B4-BE49-F238E27FC236}">
                <a16:creationId xmlns:a16="http://schemas.microsoft.com/office/drawing/2014/main" id="{DDA9449A-50F0-4846-ADE0-B054E5BB2533}"/>
              </a:ext>
            </a:extLst>
          </p:cNvPr>
          <p:cNvSpPr/>
          <p:nvPr/>
        </p:nvSpPr>
        <p:spPr>
          <a:xfrm flipH="1">
            <a:off x="10468240" y="4801798"/>
            <a:ext cx="1173079" cy="1173079"/>
          </a:xfrm>
          <a:prstGeom prst="roundRect">
            <a:avLst>
              <a:gd name="adj" fmla="val 122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64" name="Oval 63">
            <a:extLst>
              <a:ext uri="{FF2B5EF4-FFF2-40B4-BE49-F238E27FC236}">
                <a16:creationId xmlns:a16="http://schemas.microsoft.com/office/drawing/2014/main" id="{F3C6171A-6360-4550-9D24-7CA23DE962D7}"/>
              </a:ext>
            </a:extLst>
          </p:cNvPr>
          <p:cNvSpPr/>
          <p:nvPr/>
        </p:nvSpPr>
        <p:spPr>
          <a:xfrm flipH="1">
            <a:off x="7825055" y="2104181"/>
            <a:ext cx="146304" cy="146304"/>
          </a:xfrm>
          <a:prstGeom prst="ellipse">
            <a:avLst/>
          </a:prstGeom>
          <a:solidFill>
            <a:srgbClr val="10545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65" name="Oval 64">
            <a:extLst>
              <a:ext uri="{FF2B5EF4-FFF2-40B4-BE49-F238E27FC236}">
                <a16:creationId xmlns:a16="http://schemas.microsoft.com/office/drawing/2014/main" id="{FE92021A-FCCD-4CBF-BF3C-558DFDCDB372}"/>
              </a:ext>
            </a:extLst>
          </p:cNvPr>
          <p:cNvSpPr/>
          <p:nvPr/>
        </p:nvSpPr>
        <p:spPr>
          <a:xfrm flipH="1">
            <a:off x="7825055" y="5297516"/>
            <a:ext cx="146304" cy="146304"/>
          </a:xfrm>
          <a:prstGeom prst="ellipse">
            <a:avLst/>
          </a:prstGeom>
          <a:solidFill>
            <a:schemeClr val="accent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66" name="Oval 65">
            <a:extLst>
              <a:ext uri="{FF2B5EF4-FFF2-40B4-BE49-F238E27FC236}">
                <a16:creationId xmlns:a16="http://schemas.microsoft.com/office/drawing/2014/main" id="{5AE58C21-0D27-494E-8C13-4C942E8B8B7B}"/>
              </a:ext>
            </a:extLst>
          </p:cNvPr>
          <p:cNvSpPr/>
          <p:nvPr/>
        </p:nvSpPr>
        <p:spPr>
          <a:xfrm flipH="1">
            <a:off x="7825055" y="3706950"/>
            <a:ext cx="146304" cy="146304"/>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1" name="Oval 40">
            <a:extLst>
              <a:ext uri="{FF2B5EF4-FFF2-40B4-BE49-F238E27FC236}">
                <a16:creationId xmlns:a16="http://schemas.microsoft.com/office/drawing/2014/main" id="{70FFEA2F-325F-45D5-86FE-52F9F0464588}"/>
              </a:ext>
            </a:extLst>
          </p:cNvPr>
          <p:cNvSpPr/>
          <p:nvPr/>
        </p:nvSpPr>
        <p:spPr>
          <a:xfrm>
            <a:off x="4921000" y="2646140"/>
            <a:ext cx="2265948" cy="22659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B3A42"/>
                </a:solidFill>
                <a:effectLst/>
                <a:uLnTx/>
                <a:uFillTx/>
                <a:latin typeface="Noto Sans"/>
                <a:ea typeface="+mn-ea"/>
                <a:cs typeface="Arial" panose="020B0604020202020204" pitchFamily="34" charset="0"/>
              </a:rPr>
              <a:t>Community Pharmacy</a:t>
            </a:r>
            <a:endParaRPr kumimoji="0" lang="en-US" sz="1800" b="1" i="0" u="none" strike="noStrike" kern="1200" cap="none" spc="0" normalizeH="0" baseline="0" noProof="0">
              <a:ln>
                <a:noFill/>
              </a:ln>
              <a:solidFill>
                <a:srgbClr val="2B3A42"/>
              </a:solidFill>
              <a:effectLst/>
              <a:uLnTx/>
              <a:uFillTx/>
              <a:latin typeface="Noto Sans"/>
              <a:ea typeface="+mn-ea"/>
              <a:cs typeface="+mn-cs"/>
            </a:endParaRPr>
          </a:p>
        </p:txBody>
      </p:sp>
      <p:sp>
        <p:nvSpPr>
          <p:cNvPr id="3" name="Rectangle: Rounded Corners 2">
            <a:extLst>
              <a:ext uri="{FF2B5EF4-FFF2-40B4-BE49-F238E27FC236}">
                <a16:creationId xmlns:a16="http://schemas.microsoft.com/office/drawing/2014/main" id="{0EA94676-058F-049C-5057-007E02175E79}"/>
              </a:ext>
            </a:extLst>
          </p:cNvPr>
          <p:cNvSpPr>
            <a:spLocks/>
          </p:cNvSpPr>
          <p:nvPr/>
        </p:nvSpPr>
        <p:spPr>
          <a:xfrm>
            <a:off x="1053168" y="635323"/>
            <a:ext cx="2560320" cy="421966"/>
          </a:xfrm>
          <a:prstGeom prst="roundRect">
            <a:avLst>
              <a:gd name="adj" fmla="val 50000"/>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40B42"/>
                </a:solidFill>
                <a:effectLst/>
                <a:uLnTx/>
                <a:uFillTx/>
                <a:latin typeface="Noto Sans"/>
                <a:ea typeface="+mn-ea"/>
                <a:cs typeface="Arial" panose="020B0604020202020204" pitchFamily="34" charset="0"/>
              </a:rPr>
              <a:t>Pressures</a:t>
            </a:r>
          </a:p>
        </p:txBody>
      </p:sp>
      <p:sp>
        <p:nvSpPr>
          <p:cNvPr id="4" name="Rectangle: Rounded Corners 3">
            <a:extLst>
              <a:ext uri="{FF2B5EF4-FFF2-40B4-BE49-F238E27FC236}">
                <a16:creationId xmlns:a16="http://schemas.microsoft.com/office/drawing/2014/main" id="{D6C9502C-B97D-9686-E4FD-1160EFF9342D}"/>
              </a:ext>
            </a:extLst>
          </p:cNvPr>
          <p:cNvSpPr>
            <a:spLocks/>
          </p:cNvSpPr>
          <p:nvPr/>
        </p:nvSpPr>
        <p:spPr>
          <a:xfrm>
            <a:off x="8494459" y="640557"/>
            <a:ext cx="2560320" cy="421966"/>
          </a:xfrm>
          <a:prstGeom prst="roundRect">
            <a:avLst>
              <a:gd name="adj" fmla="val 50000"/>
            </a:avLst>
          </a:prstGeom>
          <a:solidFill>
            <a:schemeClr val="bg1"/>
          </a:solidFill>
          <a:ln w="19050">
            <a:solidFill>
              <a:srgbClr val="11545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15454"/>
                </a:solidFill>
                <a:effectLst/>
                <a:uLnTx/>
                <a:uFillTx/>
                <a:latin typeface="Noto Sans"/>
                <a:ea typeface="+mn-ea"/>
                <a:cs typeface="Arial" panose="020B0604020202020204" pitchFamily="34" charset="0"/>
              </a:rPr>
              <a:t>Opportunities</a:t>
            </a:r>
          </a:p>
        </p:txBody>
      </p:sp>
      <p:pic>
        <p:nvPicPr>
          <p:cNvPr id="8" name="Graphic 7">
            <a:extLst>
              <a:ext uri="{FF2B5EF4-FFF2-40B4-BE49-F238E27FC236}">
                <a16:creationId xmlns:a16="http://schemas.microsoft.com/office/drawing/2014/main" id="{7B5DF59B-514E-A8E0-7683-707A3D99738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33128" y="5081322"/>
            <a:ext cx="640080" cy="640080"/>
          </a:xfrm>
          <a:prstGeom prst="rect">
            <a:avLst/>
          </a:prstGeom>
        </p:spPr>
      </p:pic>
      <p:pic>
        <p:nvPicPr>
          <p:cNvPr id="9" name="Graphic 8">
            <a:extLst>
              <a:ext uri="{FF2B5EF4-FFF2-40B4-BE49-F238E27FC236}">
                <a16:creationId xmlns:a16="http://schemas.microsoft.com/office/drawing/2014/main" id="{488DC244-1C96-C12D-256B-C66B85FB4D9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757777" y="1847965"/>
            <a:ext cx="640080" cy="640080"/>
          </a:xfrm>
          <a:prstGeom prst="rect">
            <a:avLst/>
          </a:prstGeom>
        </p:spPr>
      </p:pic>
      <p:pic>
        <p:nvPicPr>
          <p:cNvPr id="10" name="Graphic 9">
            <a:extLst>
              <a:ext uri="{FF2B5EF4-FFF2-40B4-BE49-F238E27FC236}">
                <a16:creationId xmlns:a16="http://schemas.microsoft.com/office/drawing/2014/main" id="{00058046-32C1-0DA9-6C88-B2C61A4C6C1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710091" y="3453960"/>
            <a:ext cx="640080" cy="640080"/>
          </a:xfrm>
          <a:prstGeom prst="rect">
            <a:avLst/>
          </a:prstGeom>
        </p:spPr>
      </p:pic>
      <p:pic>
        <p:nvPicPr>
          <p:cNvPr id="11" name="Graphic 10">
            <a:extLst>
              <a:ext uri="{FF2B5EF4-FFF2-40B4-BE49-F238E27FC236}">
                <a16:creationId xmlns:a16="http://schemas.microsoft.com/office/drawing/2014/main" id="{D5BACF2C-A690-A2A8-3D02-946803343ED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10091" y="1841429"/>
            <a:ext cx="640080" cy="640080"/>
          </a:xfrm>
          <a:prstGeom prst="rect">
            <a:avLst/>
          </a:prstGeom>
        </p:spPr>
      </p:pic>
      <p:pic>
        <p:nvPicPr>
          <p:cNvPr id="12" name="Graphic 11">
            <a:extLst>
              <a:ext uri="{FF2B5EF4-FFF2-40B4-BE49-F238E27FC236}">
                <a16:creationId xmlns:a16="http://schemas.microsoft.com/office/drawing/2014/main" id="{5242D3B4-9044-F697-1180-14B50AC70347}"/>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0734739" y="3450653"/>
            <a:ext cx="640080" cy="640080"/>
          </a:xfrm>
          <a:prstGeom prst="rect">
            <a:avLst/>
          </a:prstGeom>
        </p:spPr>
      </p:pic>
      <p:pic>
        <p:nvPicPr>
          <p:cNvPr id="13" name="Graphic 12">
            <a:extLst>
              <a:ext uri="{FF2B5EF4-FFF2-40B4-BE49-F238E27FC236}">
                <a16:creationId xmlns:a16="http://schemas.microsoft.com/office/drawing/2014/main" id="{76AAC142-CE95-26CD-0A2C-58BDA7C1B6C0}"/>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757777" y="5050628"/>
            <a:ext cx="640080" cy="640080"/>
          </a:xfrm>
          <a:prstGeom prst="rect">
            <a:avLst/>
          </a:prstGeom>
        </p:spPr>
      </p:pic>
    </p:spTree>
    <p:extLst>
      <p:ext uri="{BB962C8B-B14F-4D97-AF65-F5344CB8AC3E}">
        <p14:creationId xmlns:p14="http://schemas.microsoft.com/office/powerpoint/2010/main" val="2068108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EE88CFF-52EC-8E3B-7A49-684C62D6BB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 name="think-cell data - do not delete" hidden="1">
                        <a:extLst>
                          <a:ext uri="{FF2B5EF4-FFF2-40B4-BE49-F238E27FC236}">
                            <a16:creationId xmlns:a16="http://schemas.microsoft.com/office/drawing/2014/main" id="{5EE88CFF-52EC-8E3B-7A49-684C62D6BB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TextBox 23">
            <a:extLst>
              <a:ext uri="{FF2B5EF4-FFF2-40B4-BE49-F238E27FC236}">
                <a16:creationId xmlns:a16="http://schemas.microsoft.com/office/drawing/2014/main" id="{71654053-7CF0-8008-8476-AAC00D8A7C96}"/>
              </a:ext>
            </a:extLst>
          </p:cNvPr>
          <p:cNvSpPr txBox="1"/>
          <p:nvPr/>
        </p:nvSpPr>
        <p:spPr>
          <a:xfrm>
            <a:off x="2027819" y="171417"/>
            <a:ext cx="599117"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srgbClr val="FFFFFF"/>
                </a:solidFill>
                <a:effectLst/>
                <a:uLnTx/>
                <a:uFillTx/>
                <a:latin typeface="Noto Sans"/>
                <a:ea typeface="+mn-ea"/>
                <a:cs typeface="+mn-cs"/>
              </a:rPr>
              <a:t>Convenience</a:t>
            </a:r>
          </a:p>
        </p:txBody>
      </p:sp>
      <p:sp>
        <p:nvSpPr>
          <p:cNvPr id="22" name="TextBox 21">
            <a:extLst>
              <a:ext uri="{FF2B5EF4-FFF2-40B4-BE49-F238E27FC236}">
                <a16:creationId xmlns:a16="http://schemas.microsoft.com/office/drawing/2014/main" id="{76DF8B53-06BE-7255-C15E-9B187F1A4E14}"/>
              </a:ext>
            </a:extLst>
          </p:cNvPr>
          <p:cNvSpPr txBox="1"/>
          <p:nvPr/>
        </p:nvSpPr>
        <p:spPr>
          <a:xfrm>
            <a:off x="1400413" y="171417"/>
            <a:ext cx="670271"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srgbClr val="FFFFFF"/>
                </a:solidFill>
                <a:effectLst/>
                <a:uLnTx/>
                <a:uFillTx/>
                <a:latin typeface="Noto Sans"/>
                <a:ea typeface="+mn-ea"/>
                <a:cs typeface="+mn-cs"/>
              </a:rPr>
              <a:t>Care &amp; services</a:t>
            </a:r>
          </a:p>
        </p:txBody>
      </p:sp>
      <p:sp>
        <p:nvSpPr>
          <p:cNvPr id="25" name="TextBox 24">
            <a:extLst>
              <a:ext uri="{FF2B5EF4-FFF2-40B4-BE49-F238E27FC236}">
                <a16:creationId xmlns:a16="http://schemas.microsoft.com/office/drawing/2014/main" id="{CBFAEFB3-FC9A-D945-BF13-B7BB0913924E}"/>
              </a:ext>
            </a:extLst>
          </p:cNvPr>
          <p:cNvSpPr txBox="1"/>
          <p:nvPr/>
        </p:nvSpPr>
        <p:spPr>
          <a:xfrm>
            <a:off x="2539824" y="171417"/>
            <a:ext cx="580552"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srgbClr val="FFFFFF"/>
                </a:solidFill>
                <a:effectLst/>
                <a:uLnTx/>
                <a:uFillTx/>
                <a:latin typeface="Noto Sans"/>
                <a:ea typeface="+mn-ea"/>
                <a:cs typeface="+mn-cs"/>
              </a:rPr>
              <a:t>Technology</a:t>
            </a:r>
          </a:p>
        </p:txBody>
      </p:sp>
      <p:pic>
        <p:nvPicPr>
          <p:cNvPr id="9" name="Picture 8">
            <a:extLst>
              <a:ext uri="{FF2B5EF4-FFF2-40B4-BE49-F238E27FC236}">
                <a16:creationId xmlns:a16="http://schemas.microsoft.com/office/drawing/2014/main" id="{C77A94E5-7ADE-1879-6722-88B408579F4A}"/>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414097" y="1611902"/>
            <a:ext cx="3620665" cy="4575600"/>
          </a:xfrm>
          <a:prstGeom prst="rect">
            <a:avLst/>
          </a:prstGeom>
        </p:spPr>
      </p:pic>
      <p:pic>
        <p:nvPicPr>
          <p:cNvPr id="7" name="Picture 6">
            <a:extLst>
              <a:ext uri="{FF2B5EF4-FFF2-40B4-BE49-F238E27FC236}">
                <a16:creationId xmlns:a16="http://schemas.microsoft.com/office/drawing/2014/main" id="{B15D57F1-3EF2-E6AC-FE13-F4C84F51E85A}"/>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4238640" y="1615431"/>
            <a:ext cx="3620664" cy="4576681"/>
          </a:xfrm>
          <a:prstGeom prst="rect">
            <a:avLst/>
          </a:prstGeom>
        </p:spPr>
      </p:pic>
      <p:pic>
        <p:nvPicPr>
          <p:cNvPr id="5" name="Picture 4">
            <a:extLst>
              <a:ext uri="{FF2B5EF4-FFF2-40B4-BE49-F238E27FC236}">
                <a16:creationId xmlns:a16="http://schemas.microsoft.com/office/drawing/2014/main" id="{F342B841-0547-6978-56C2-C6906B949C1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8081938" y="1618958"/>
            <a:ext cx="3620664" cy="4576681"/>
          </a:xfrm>
          <a:prstGeom prst="rect">
            <a:avLst/>
          </a:prstGeom>
        </p:spPr>
      </p:pic>
      <p:sp>
        <p:nvSpPr>
          <p:cNvPr id="3" name="Rectangle 2">
            <a:extLst>
              <a:ext uri="{FF2B5EF4-FFF2-40B4-BE49-F238E27FC236}">
                <a16:creationId xmlns:a16="http://schemas.microsoft.com/office/drawing/2014/main" id="{E0BF78FA-6A9D-49B7-9AFB-92E5BCD6F00B}"/>
              </a:ext>
            </a:extLst>
          </p:cNvPr>
          <p:cNvSpPr/>
          <p:nvPr/>
        </p:nvSpPr>
        <p:spPr>
          <a:xfrm>
            <a:off x="414097" y="5328736"/>
            <a:ext cx="3621600" cy="768264"/>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linically Focused</a:t>
            </a:r>
          </a:p>
        </p:txBody>
      </p:sp>
      <p:sp>
        <p:nvSpPr>
          <p:cNvPr id="8" name="Text Placeholder 7">
            <a:extLst>
              <a:ext uri="{FF2B5EF4-FFF2-40B4-BE49-F238E27FC236}">
                <a16:creationId xmlns:a16="http://schemas.microsoft.com/office/drawing/2014/main" id="{1DAA16CF-51BD-F20F-3E6E-ADE256A3CD13}"/>
              </a:ext>
            </a:extLst>
          </p:cNvPr>
          <p:cNvSpPr>
            <a:spLocks noGrp="1"/>
          </p:cNvSpPr>
          <p:nvPr>
            <p:ph type="body" sz="quarter" idx="16"/>
          </p:nvPr>
        </p:nvSpPr>
        <p:spPr/>
        <p:txBody>
          <a:bodyPr/>
          <a:lstStyle/>
          <a:p>
            <a:r>
              <a:rPr lang="nl-BE"/>
              <a:t>From dispensing led to clinically led neighbourhood care</a:t>
            </a:r>
            <a:endParaRPr lang="en-US"/>
          </a:p>
        </p:txBody>
      </p:sp>
      <p:sp>
        <p:nvSpPr>
          <p:cNvPr id="45" name="Title 44">
            <a:extLst>
              <a:ext uri="{FF2B5EF4-FFF2-40B4-BE49-F238E27FC236}">
                <a16:creationId xmlns:a16="http://schemas.microsoft.com/office/drawing/2014/main" id="{D32E8773-B99E-42FA-91CC-DE83994B6A79}"/>
              </a:ext>
            </a:extLst>
          </p:cNvPr>
          <p:cNvSpPr>
            <a:spLocks noGrp="1"/>
          </p:cNvSpPr>
          <p:nvPr>
            <p:ph type="title"/>
          </p:nvPr>
        </p:nvSpPr>
        <p:spPr/>
        <p:txBody>
          <a:bodyPr vert="horz"/>
          <a:lstStyle/>
          <a:p>
            <a:r>
              <a:rPr lang="en-US"/>
              <a:t>The Pharmacy of the future will be central to patient care</a:t>
            </a:r>
          </a:p>
        </p:txBody>
      </p:sp>
      <p:sp>
        <p:nvSpPr>
          <p:cNvPr id="35" name="Rectangle 34">
            <a:extLst>
              <a:ext uri="{FF2B5EF4-FFF2-40B4-BE49-F238E27FC236}">
                <a16:creationId xmlns:a16="http://schemas.microsoft.com/office/drawing/2014/main" id="{EC3AAED5-2E66-437E-B7C5-8BE43FC99CB7}"/>
              </a:ext>
            </a:extLst>
          </p:cNvPr>
          <p:cNvSpPr/>
          <p:nvPr/>
        </p:nvSpPr>
        <p:spPr>
          <a:xfrm>
            <a:off x="4237515" y="5328735"/>
            <a:ext cx="3621600" cy="768264"/>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tient Centric</a:t>
            </a:r>
          </a:p>
        </p:txBody>
      </p:sp>
      <p:sp>
        <p:nvSpPr>
          <p:cNvPr id="40" name="Rectangle 39">
            <a:extLst>
              <a:ext uri="{FF2B5EF4-FFF2-40B4-BE49-F238E27FC236}">
                <a16:creationId xmlns:a16="http://schemas.microsoft.com/office/drawing/2014/main" id="{D20A8E89-0612-4182-B890-522B853CEE4D}"/>
              </a:ext>
            </a:extLst>
          </p:cNvPr>
          <p:cNvSpPr/>
          <p:nvPr/>
        </p:nvSpPr>
        <p:spPr>
          <a:xfrm>
            <a:off x="8081002" y="5328733"/>
            <a:ext cx="3621600" cy="768263"/>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gitally Connected</a:t>
            </a:r>
          </a:p>
        </p:txBody>
      </p:sp>
    </p:spTree>
    <p:extLst>
      <p:ext uri="{BB962C8B-B14F-4D97-AF65-F5344CB8AC3E}">
        <p14:creationId xmlns:p14="http://schemas.microsoft.com/office/powerpoint/2010/main" val="3782206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6B4B4C3-FA05-BA53-486B-383529BBDEE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3" name="think-cell data - do not delete" hidden="1">
                        <a:extLst>
                          <a:ext uri="{FF2B5EF4-FFF2-40B4-BE49-F238E27FC236}">
                            <a16:creationId xmlns:a16="http://schemas.microsoft.com/office/drawing/2014/main" id="{C6B4B4C3-FA05-BA53-486B-383529BBDE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5A27C7-9C85-4D5B-8262-61B30D772ACC}"/>
              </a:ext>
            </a:extLst>
          </p:cNvPr>
          <p:cNvSpPr>
            <a:spLocks noGrp="1"/>
          </p:cNvSpPr>
          <p:nvPr>
            <p:ph type="title"/>
          </p:nvPr>
        </p:nvSpPr>
        <p:spPr/>
        <p:txBody>
          <a:bodyPr vert="horz"/>
          <a:lstStyle/>
          <a:p>
            <a:r>
              <a:rPr lang="en-US"/>
              <a:t>Community Pharmacy evolution</a:t>
            </a:r>
          </a:p>
        </p:txBody>
      </p:sp>
      <p:sp>
        <p:nvSpPr>
          <p:cNvPr id="4" name="TextBox 3">
            <a:extLst>
              <a:ext uri="{FF2B5EF4-FFF2-40B4-BE49-F238E27FC236}">
                <a16:creationId xmlns:a16="http://schemas.microsoft.com/office/drawing/2014/main" id="{B45526DE-33C4-4D17-8A54-8E49D619F749}"/>
              </a:ext>
            </a:extLst>
          </p:cNvPr>
          <p:cNvSpPr txBox="1"/>
          <p:nvPr/>
        </p:nvSpPr>
        <p:spPr>
          <a:xfrm>
            <a:off x="6529935" y="1831252"/>
            <a:ext cx="5193792" cy="83099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2B3A42"/>
                </a:solidFill>
                <a:effectLst/>
                <a:uLnTx/>
                <a:uFillTx/>
                <a:latin typeface="Noto Sans"/>
                <a:ea typeface="+mn-ea"/>
                <a:cs typeface="+mn-cs"/>
              </a:rPr>
              <a:t>Pressures on dispensing income and supply chains, means pharmacies need to </a:t>
            </a:r>
            <a:r>
              <a:rPr kumimoji="0" lang="en-US" sz="1600" b="0" i="0" u="none" strike="noStrike" kern="1200" cap="none" spc="0" normalizeH="0" baseline="0" noProof="0" err="1">
                <a:ln>
                  <a:noFill/>
                </a:ln>
                <a:solidFill>
                  <a:srgbClr val="2B3A42"/>
                </a:solidFill>
                <a:effectLst/>
                <a:uLnTx/>
                <a:uFillTx/>
                <a:latin typeface="Noto Sans"/>
                <a:ea typeface="+mn-ea"/>
                <a:cs typeface="+mn-cs"/>
              </a:rPr>
              <a:t>optimise</a:t>
            </a:r>
            <a:r>
              <a:rPr kumimoji="0" lang="en-US" sz="1600" b="0" i="0" u="none" strike="noStrike" kern="1200" cap="none" spc="0" normalizeH="0" baseline="0" noProof="0">
                <a:ln>
                  <a:noFill/>
                </a:ln>
                <a:solidFill>
                  <a:srgbClr val="2B3A42"/>
                </a:solidFill>
                <a:effectLst/>
                <a:uLnTx/>
                <a:uFillTx/>
                <a:latin typeface="Noto Sans"/>
                <a:ea typeface="+mn-ea"/>
                <a:cs typeface="+mn-cs"/>
              </a:rPr>
              <a:t> operations and/or diversify.</a:t>
            </a:r>
          </a:p>
        </p:txBody>
      </p:sp>
      <p:sp>
        <p:nvSpPr>
          <p:cNvPr id="5" name="TextBox 4">
            <a:extLst>
              <a:ext uri="{FF2B5EF4-FFF2-40B4-BE49-F238E27FC236}">
                <a16:creationId xmlns:a16="http://schemas.microsoft.com/office/drawing/2014/main" id="{5D6CF746-AB47-4864-959E-D458AC822981}"/>
              </a:ext>
            </a:extLst>
          </p:cNvPr>
          <p:cNvSpPr txBox="1"/>
          <p:nvPr/>
        </p:nvSpPr>
        <p:spPr>
          <a:xfrm>
            <a:off x="6529935" y="2851493"/>
            <a:ext cx="5193318" cy="83099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2B3A42"/>
                </a:solidFill>
                <a:effectLst/>
                <a:uLnTx/>
                <a:uFillTx/>
                <a:latin typeface="Noto Sans"/>
                <a:ea typeface="+mn-ea"/>
                <a:cs typeface="+mn-cs"/>
              </a:rPr>
              <a:t>NHS services will expand further to drive the 3 shifts in the 10-year plan whilst patients will drive the need for private services and advice.  </a:t>
            </a:r>
          </a:p>
        </p:txBody>
      </p:sp>
      <p:sp>
        <p:nvSpPr>
          <p:cNvPr id="6" name="TextBox 5">
            <a:extLst>
              <a:ext uri="{FF2B5EF4-FFF2-40B4-BE49-F238E27FC236}">
                <a16:creationId xmlns:a16="http://schemas.microsoft.com/office/drawing/2014/main" id="{6B1F40A0-C91A-4CDF-8ECB-6E33060B3D44}"/>
              </a:ext>
            </a:extLst>
          </p:cNvPr>
          <p:cNvSpPr txBox="1"/>
          <p:nvPr/>
        </p:nvSpPr>
        <p:spPr>
          <a:xfrm>
            <a:off x="6529935" y="3871733"/>
            <a:ext cx="5193319" cy="83099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2B3A42"/>
                </a:solidFill>
                <a:effectLst/>
                <a:uLnTx/>
                <a:uFillTx/>
                <a:latin typeface="Noto Sans"/>
                <a:ea typeface="+mn-ea"/>
                <a:cs typeface="+mn-cs"/>
              </a:rPr>
              <a:t>Community Pharmacy will be involved in more treatment areas through new P-medicines and independent prescribing</a:t>
            </a:r>
          </a:p>
        </p:txBody>
      </p:sp>
      <p:sp>
        <p:nvSpPr>
          <p:cNvPr id="7" name="Rectangle: Rounded Corners 6">
            <a:extLst>
              <a:ext uri="{FF2B5EF4-FFF2-40B4-BE49-F238E27FC236}">
                <a16:creationId xmlns:a16="http://schemas.microsoft.com/office/drawing/2014/main" id="{6175218D-4E35-430E-ACE3-783F54BD121F}"/>
              </a:ext>
            </a:extLst>
          </p:cNvPr>
          <p:cNvSpPr/>
          <p:nvPr/>
        </p:nvSpPr>
        <p:spPr>
          <a:xfrm>
            <a:off x="384695" y="3830032"/>
            <a:ext cx="5711305" cy="91440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Noto Sans"/>
                <a:ea typeface="+mn-ea"/>
                <a:cs typeface="+mn-cs"/>
              </a:rPr>
              <a:t>Future opportunities</a:t>
            </a:r>
          </a:p>
        </p:txBody>
      </p:sp>
      <p:sp>
        <p:nvSpPr>
          <p:cNvPr id="8" name="Oval 7">
            <a:extLst>
              <a:ext uri="{FF2B5EF4-FFF2-40B4-BE49-F238E27FC236}">
                <a16:creationId xmlns:a16="http://schemas.microsoft.com/office/drawing/2014/main" id="{A3D961F5-5946-4AEE-812D-83C5347EDC2C}"/>
              </a:ext>
            </a:extLst>
          </p:cNvPr>
          <p:cNvSpPr/>
          <p:nvPr/>
        </p:nvSpPr>
        <p:spPr>
          <a:xfrm>
            <a:off x="444172" y="3875752"/>
            <a:ext cx="822960" cy="822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8F86"/>
                </a:solidFill>
                <a:effectLst/>
                <a:uLnTx/>
                <a:uFillTx/>
                <a:latin typeface="Noto Sans"/>
                <a:ea typeface="+mn-ea"/>
                <a:cs typeface="+mn-cs"/>
              </a:rPr>
              <a:t>3</a:t>
            </a:r>
          </a:p>
        </p:txBody>
      </p:sp>
      <p:sp>
        <p:nvSpPr>
          <p:cNvPr id="9" name="Rectangle: Rounded Corners 8">
            <a:extLst>
              <a:ext uri="{FF2B5EF4-FFF2-40B4-BE49-F238E27FC236}">
                <a16:creationId xmlns:a16="http://schemas.microsoft.com/office/drawing/2014/main" id="{C5B7CC2F-C2CD-46C5-96A2-5406102D47CE}"/>
              </a:ext>
            </a:extLst>
          </p:cNvPr>
          <p:cNvSpPr/>
          <p:nvPr/>
        </p:nvSpPr>
        <p:spPr>
          <a:xfrm>
            <a:off x="384694" y="1789550"/>
            <a:ext cx="5711306" cy="9144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Noto Sans"/>
                <a:ea typeface="+mn-ea"/>
                <a:cs typeface="+mn-cs"/>
              </a:rPr>
              <a:t>Core Dispensing</a:t>
            </a:r>
          </a:p>
        </p:txBody>
      </p:sp>
      <p:sp>
        <p:nvSpPr>
          <p:cNvPr id="10" name="Oval 9">
            <a:extLst>
              <a:ext uri="{FF2B5EF4-FFF2-40B4-BE49-F238E27FC236}">
                <a16:creationId xmlns:a16="http://schemas.microsoft.com/office/drawing/2014/main" id="{A780726F-18C6-4084-9A21-593961BFD8B5}"/>
              </a:ext>
            </a:extLst>
          </p:cNvPr>
          <p:cNvSpPr/>
          <p:nvPr/>
        </p:nvSpPr>
        <p:spPr>
          <a:xfrm>
            <a:off x="444172" y="1835270"/>
            <a:ext cx="822960" cy="822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140B42"/>
                </a:solidFill>
                <a:effectLst/>
                <a:uLnTx/>
                <a:uFillTx/>
                <a:latin typeface="Noto Sans"/>
                <a:ea typeface="+mn-ea"/>
                <a:cs typeface="+mn-cs"/>
              </a:rPr>
              <a:t>1</a:t>
            </a:r>
          </a:p>
        </p:txBody>
      </p:sp>
      <p:sp>
        <p:nvSpPr>
          <p:cNvPr id="11" name="Rectangle: Rounded Corners 10">
            <a:extLst>
              <a:ext uri="{FF2B5EF4-FFF2-40B4-BE49-F238E27FC236}">
                <a16:creationId xmlns:a16="http://schemas.microsoft.com/office/drawing/2014/main" id="{12E85A3C-3503-4400-AD8D-A39E012D2532}"/>
              </a:ext>
            </a:extLst>
          </p:cNvPr>
          <p:cNvSpPr/>
          <p:nvPr/>
        </p:nvSpPr>
        <p:spPr>
          <a:xfrm>
            <a:off x="384694" y="2809791"/>
            <a:ext cx="5711306" cy="91440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Noto Sans"/>
                <a:ea typeface="+mn-ea"/>
                <a:cs typeface="+mn-cs"/>
              </a:rPr>
              <a:t>NHS &amp; Private Services</a:t>
            </a:r>
          </a:p>
        </p:txBody>
      </p:sp>
      <p:sp>
        <p:nvSpPr>
          <p:cNvPr id="12" name="Oval 11">
            <a:extLst>
              <a:ext uri="{FF2B5EF4-FFF2-40B4-BE49-F238E27FC236}">
                <a16:creationId xmlns:a16="http://schemas.microsoft.com/office/drawing/2014/main" id="{92521A70-3E81-430C-BA91-95961F0E2B4F}"/>
              </a:ext>
            </a:extLst>
          </p:cNvPr>
          <p:cNvSpPr/>
          <p:nvPr/>
        </p:nvSpPr>
        <p:spPr>
          <a:xfrm>
            <a:off x="444172" y="2855511"/>
            <a:ext cx="822960" cy="822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5587"/>
                </a:solidFill>
                <a:effectLst/>
                <a:uLnTx/>
                <a:uFillTx/>
                <a:latin typeface="Noto Sans"/>
                <a:ea typeface="+mn-ea"/>
                <a:cs typeface="+mn-cs"/>
              </a:rPr>
              <a:t>2</a:t>
            </a:r>
          </a:p>
        </p:txBody>
      </p:sp>
      <p:sp>
        <p:nvSpPr>
          <p:cNvPr id="14" name="Flowchart: Merge 13">
            <a:extLst>
              <a:ext uri="{FF2B5EF4-FFF2-40B4-BE49-F238E27FC236}">
                <a16:creationId xmlns:a16="http://schemas.microsoft.com/office/drawing/2014/main" id="{FCD5B04B-C027-4075-93FE-0549BABA7110}"/>
              </a:ext>
            </a:extLst>
          </p:cNvPr>
          <p:cNvSpPr/>
          <p:nvPr/>
        </p:nvSpPr>
        <p:spPr>
          <a:xfrm rot="5400000" flipV="1">
            <a:off x="5641110" y="3165775"/>
            <a:ext cx="302454" cy="202433"/>
          </a:xfrm>
          <a:prstGeom prst="flowChartMerg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15" name="Flowchart: Merge 14">
            <a:extLst>
              <a:ext uri="{FF2B5EF4-FFF2-40B4-BE49-F238E27FC236}">
                <a16:creationId xmlns:a16="http://schemas.microsoft.com/office/drawing/2014/main" id="{F752E007-0F51-4832-AB34-76E4A22C50E3}"/>
              </a:ext>
            </a:extLst>
          </p:cNvPr>
          <p:cNvSpPr/>
          <p:nvPr/>
        </p:nvSpPr>
        <p:spPr>
          <a:xfrm rot="5400000" flipV="1">
            <a:off x="5641111" y="4186015"/>
            <a:ext cx="302454" cy="202433"/>
          </a:xfrm>
          <a:prstGeom prst="flowChartMerg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16" name="TextBox 15">
            <a:extLst>
              <a:ext uri="{FF2B5EF4-FFF2-40B4-BE49-F238E27FC236}">
                <a16:creationId xmlns:a16="http://schemas.microsoft.com/office/drawing/2014/main" id="{49C9EFD4-5EB7-4E28-BB63-C457E08F5CF6}"/>
              </a:ext>
            </a:extLst>
          </p:cNvPr>
          <p:cNvSpPr txBox="1"/>
          <p:nvPr/>
        </p:nvSpPr>
        <p:spPr>
          <a:xfrm>
            <a:off x="6529935" y="4891974"/>
            <a:ext cx="5193319" cy="83099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2B3A42"/>
                </a:solidFill>
                <a:effectLst/>
                <a:uLnTx/>
                <a:uFillTx/>
                <a:latin typeface="Noto Sans"/>
                <a:ea typeface="+mn-ea"/>
                <a:cs typeface="+mn-cs"/>
              </a:rPr>
              <a:t>Pharmacies will need to evolve to meet the needs of their communities. </a:t>
            </a:r>
            <a:r>
              <a:rPr kumimoji="0" lang="en-US" sz="1600" b="0" i="0" u="none" strike="noStrike" kern="1200" cap="none" spc="0" normalizeH="0" baseline="0" noProof="0" dirty="0">
                <a:ln>
                  <a:noFill/>
                </a:ln>
                <a:solidFill>
                  <a:srgbClr val="2B3A42"/>
                </a:solidFill>
                <a:effectLst/>
                <a:uLnTx/>
                <a:uFillTx/>
                <a:latin typeface="Noto Sans"/>
                <a:ea typeface="+mn-ea"/>
                <a:cs typeface="+mn-cs"/>
              </a:rPr>
              <a:t>Service models, staffing mix and technology are key enablers.</a:t>
            </a:r>
          </a:p>
        </p:txBody>
      </p:sp>
      <p:sp>
        <p:nvSpPr>
          <p:cNvPr id="17" name="Rectangle: Rounded Corners 16">
            <a:extLst>
              <a:ext uri="{FF2B5EF4-FFF2-40B4-BE49-F238E27FC236}">
                <a16:creationId xmlns:a16="http://schemas.microsoft.com/office/drawing/2014/main" id="{AC48D5FD-7456-4C42-9781-86B5EA745AFA}"/>
              </a:ext>
            </a:extLst>
          </p:cNvPr>
          <p:cNvSpPr/>
          <p:nvPr/>
        </p:nvSpPr>
        <p:spPr>
          <a:xfrm>
            <a:off x="384695" y="4850274"/>
            <a:ext cx="5711305" cy="914400"/>
          </a:xfrm>
          <a:prstGeom prst="roundRect">
            <a:avLst>
              <a:gd name="adj" fmla="val 50000"/>
            </a:avLst>
          </a:prstGeom>
          <a:solidFill>
            <a:srgbClr val="10545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Noto Sans"/>
                <a:ea typeface="+mn-ea"/>
                <a:cs typeface="+mn-cs"/>
              </a:rPr>
              <a:t>Implications</a:t>
            </a:r>
          </a:p>
        </p:txBody>
      </p:sp>
      <p:sp>
        <p:nvSpPr>
          <p:cNvPr id="18" name="Oval 17">
            <a:extLst>
              <a:ext uri="{FF2B5EF4-FFF2-40B4-BE49-F238E27FC236}">
                <a16:creationId xmlns:a16="http://schemas.microsoft.com/office/drawing/2014/main" id="{BAA54E92-50B1-43A8-A034-862C890427B3}"/>
              </a:ext>
            </a:extLst>
          </p:cNvPr>
          <p:cNvSpPr/>
          <p:nvPr/>
        </p:nvSpPr>
        <p:spPr>
          <a:xfrm>
            <a:off x="444172" y="4895994"/>
            <a:ext cx="822960" cy="822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105453"/>
                </a:solidFill>
                <a:effectLst/>
                <a:uLnTx/>
                <a:uFillTx/>
                <a:latin typeface="Noto Sans"/>
                <a:ea typeface="+mn-ea"/>
                <a:cs typeface="+mn-cs"/>
              </a:rPr>
              <a:t>4</a:t>
            </a:r>
          </a:p>
        </p:txBody>
      </p:sp>
      <p:sp>
        <p:nvSpPr>
          <p:cNvPr id="19" name="Flowchart: Merge 18">
            <a:extLst>
              <a:ext uri="{FF2B5EF4-FFF2-40B4-BE49-F238E27FC236}">
                <a16:creationId xmlns:a16="http://schemas.microsoft.com/office/drawing/2014/main" id="{A6CB3402-0772-4B35-AA67-D107B93EC6C1}"/>
              </a:ext>
            </a:extLst>
          </p:cNvPr>
          <p:cNvSpPr/>
          <p:nvPr/>
        </p:nvSpPr>
        <p:spPr>
          <a:xfrm rot="5400000" flipV="1">
            <a:off x="5641111" y="5206257"/>
            <a:ext cx="302454" cy="202433"/>
          </a:xfrm>
          <a:prstGeom prst="flowChartMerg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
        <p:nvSpPr>
          <p:cNvPr id="3" name="Flowchart: Merge 2">
            <a:extLst>
              <a:ext uri="{FF2B5EF4-FFF2-40B4-BE49-F238E27FC236}">
                <a16:creationId xmlns:a16="http://schemas.microsoft.com/office/drawing/2014/main" id="{CF4DABF3-1203-BA95-06CB-E78836BCF52B}"/>
              </a:ext>
            </a:extLst>
          </p:cNvPr>
          <p:cNvSpPr/>
          <p:nvPr/>
        </p:nvSpPr>
        <p:spPr>
          <a:xfrm rot="5400000" flipV="1">
            <a:off x="5641109" y="2145534"/>
            <a:ext cx="302454" cy="202433"/>
          </a:xfrm>
          <a:prstGeom prst="flowChartMerg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Noto Sans"/>
              <a:ea typeface="+mn-ea"/>
              <a:cs typeface="+mn-cs"/>
            </a:endParaRPr>
          </a:p>
        </p:txBody>
      </p:sp>
    </p:spTree>
    <p:extLst>
      <p:ext uri="{BB962C8B-B14F-4D97-AF65-F5344CB8AC3E}">
        <p14:creationId xmlns:p14="http://schemas.microsoft.com/office/powerpoint/2010/main" val="3423514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5EEB6D-58B2-4147-A36E-7A2F060D235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5" name="Object 4" hidden="1">
                        <a:extLst>
                          <a:ext uri="{FF2B5EF4-FFF2-40B4-BE49-F238E27FC236}">
                            <a16:creationId xmlns:a16="http://schemas.microsoft.com/office/drawing/2014/main" id="{335EEB6D-58B2-4147-A36E-7A2F060D23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199E04-7949-4DAD-95A5-FB3D6D4FFB02}"/>
              </a:ext>
            </a:extLst>
          </p:cNvPr>
          <p:cNvSpPr>
            <a:spLocks noGrp="1"/>
          </p:cNvSpPr>
          <p:nvPr>
            <p:ph type="title"/>
          </p:nvPr>
        </p:nvSpPr>
        <p:spPr>
          <a:xfrm>
            <a:off x="5952308" y="1394652"/>
            <a:ext cx="5889171" cy="3285811"/>
          </a:xfrm>
        </p:spPr>
        <p:txBody>
          <a:bodyPr vert="horz"/>
          <a:lstStyle/>
          <a:p>
            <a:r>
              <a:rPr lang="en-GB"/>
              <a:t>For further questions, please contact:</a:t>
            </a:r>
          </a:p>
        </p:txBody>
      </p:sp>
      <p:sp>
        <p:nvSpPr>
          <p:cNvPr id="2" name="TextBox 1">
            <a:extLst>
              <a:ext uri="{FF2B5EF4-FFF2-40B4-BE49-F238E27FC236}">
                <a16:creationId xmlns:a16="http://schemas.microsoft.com/office/drawing/2014/main" id="{4B5A587F-A4B2-1CA4-E154-DF797D8EE2BC}"/>
              </a:ext>
            </a:extLst>
          </p:cNvPr>
          <p:cNvSpPr txBox="1"/>
          <p:nvPr/>
        </p:nvSpPr>
        <p:spPr>
          <a:xfrm>
            <a:off x="5952308" y="3820160"/>
            <a:ext cx="52033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5587"/>
                </a:solidFill>
                <a:effectLst/>
                <a:uLnTx/>
                <a:uFillTx/>
                <a:latin typeface="Arial" panose="020B0604020202020204"/>
                <a:ea typeface="+mn-ea"/>
                <a:cs typeface="+mn-cs"/>
              </a:rPr>
              <a:t>Joanne Redding </a:t>
            </a: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a:t>
            </a:r>
            <a:r>
              <a:rPr kumimoji="0" lang="en-GB" sz="1600" b="0" i="1" u="sng" strike="noStrike" kern="1200" cap="none" spc="0" normalizeH="0" baseline="0" noProof="0">
                <a:ln>
                  <a:noFill/>
                </a:ln>
                <a:solidFill>
                  <a:srgbClr val="00A3E0"/>
                </a:solidFill>
                <a:effectLst/>
                <a:uLnTx/>
                <a:uFillTx/>
                <a:latin typeface="Arial" panose="020B0604020202020204"/>
                <a:ea typeface="+mn-ea"/>
                <a:cs typeface="+mn-cs"/>
              </a:rPr>
              <a:t>Joanne.Redding</a:t>
            </a:r>
            <a:r>
              <a:rPr kumimoji="0" lang="en-GB" sz="1600" b="0" i="1" u="sng" strike="noStrike" kern="1200" cap="none" spc="0" normalizeH="0" baseline="0" noProof="0">
                <a:ln>
                  <a:noFill/>
                </a:ln>
                <a:solidFill>
                  <a:srgbClr val="00A3E0"/>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iqvia.com</a:t>
            </a: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606B7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590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0FDE7-00C3-2814-5750-3667AB997F9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390A50D-23C6-A899-A60D-1E4E80CC382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6390A50D-23C6-A899-A60D-1E4E80CC38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A9A342-B6BC-EEED-6AF6-0A374157F838}"/>
              </a:ext>
            </a:extLst>
          </p:cNvPr>
          <p:cNvSpPr>
            <a:spLocks noGrp="1"/>
          </p:cNvSpPr>
          <p:nvPr>
            <p:ph type="title"/>
          </p:nvPr>
        </p:nvSpPr>
        <p:spPr/>
        <p:txBody>
          <a:bodyPr vert="horz"/>
          <a:lstStyle/>
          <a:p>
            <a:r>
              <a:rPr lang="en-US"/>
              <a:t>Pressures on Community Pharmacy</a:t>
            </a:r>
          </a:p>
        </p:txBody>
      </p:sp>
    </p:spTree>
    <p:extLst>
      <p:ext uri="{BB962C8B-B14F-4D97-AF65-F5344CB8AC3E}">
        <p14:creationId xmlns:p14="http://schemas.microsoft.com/office/powerpoint/2010/main" val="4025720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CAC15-1C55-CF73-FD25-46AA9A109E39}"/>
            </a:ext>
          </a:extLst>
        </p:cNvPr>
        <p:cNvGrpSpPr/>
        <p:nvPr/>
      </p:nvGrpSpPr>
      <p:grpSpPr>
        <a:xfrm>
          <a:off x="0" y="0"/>
          <a:ext cx="0" cy="0"/>
          <a:chOff x="0" y="0"/>
          <a:chExt cx="0" cy="0"/>
        </a:xfrm>
      </p:grpSpPr>
      <p:graphicFrame>
        <p:nvGraphicFramePr>
          <p:cNvPr id="12" name="Content Placeholder 11">
            <a:extLst>
              <a:ext uri="{FF2B5EF4-FFF2-40B4-BE49-F238E27FC236}">
                <a16:creationId xmlns:a16="http://schemas.microsoft.com/office/drawing/2014/main" id="{9BED95C2-90D1-D55A-2410-09469B6ABEE8}"/>
              </a:ext>
            </a:extLst>
          </p:cNvPr>
          <p:cNvGraphicFramePr>
            <a:graphicFrameLocks noGrp="1"/>
          </p:cNvGraphicFramePr>
          <p:nvPr>
            <p:ph idx="19"/>
          </p:nvPr>
        </p:nvGraphicFramePr>
        <p:xfrm>
          <a:off x="384175" y="1703388"/>
          <a:ext cx="3621088" cy="45767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ontent Placeholder 11">
            <a:extLst>
              <a:ext uri="{FF2B5EF4-FFF2-40B4-BE49-F238E27FC236}">
                <a16:creationId xmlns:a16="http://schemas.microsoft.com/office/drawing/2014/main" id="{BBA7349B-F1E0-CF19-637F-939A8C3A1BCB}"/>
              </a:ext>
            </a:extLst>
          </p:cNvPr>
          <p:cNvGraphicFramePr>
            <a:graphicFrameLocks noGrp="1"/>
          </p:cNvGraphicFramePr>
          <p:nvPr>
            <p:ph idx="20"/>
          </p:nvPr>
        </p:nvGraphicFramePr>
        <p:xfrm>
          <a:off x="8102600" y="1703388"/>
          <a:ext cx="3621088" cy="45767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ontent Placeholder 11">
            <a:extLst>
              <a:ext uri="{FF2B5EF4-FFF2-40B4-BE49-F238E27FC236}">
                <a16:creationId xmlns:a16="http://schemas.microsoft.com/office/drawing/2014/main" id="{5FBF5089-0714-EDBD-C2AA-3D08CAF398BA}"/>
              </a:ext>
            </a:extLst>
          </p:cNvPr>
          <p:cNvGraphicFramePr>
            <a:graphicFrameLocks noGrp="1"/>
          </p:cNvGraphicFramePr>
          <p:nvPr>
            <p:ph idx="21"/>
          </p:nvPr>
        </p:nvGraphicFramePr>
        <p:xfrm>
          <a:off x="4243388" y="1703388"/>
          <a:ext cx="3621087" cy="4576762"/>
        </p:xfrm>
        <a:graphic>
          <a:graphicData uri="http://schemas.openxmlformats.org/drawingml/2006/chart">
            <c:chart xmlns:c="http://schemas.openxmlformats.org/drawingml/2006/chart" xmlns:r="http://schemas.openxmlformats.org/officeDocument/2006/relationships" r:id="rId6"/>
          </a:graphicData>
        </a:graphic>
      </p:graphicFrame>
      <p:sp>
        <p:nvSpPr>
          <p:cNvPr id="6" name="Text Placeholder 5">
            <a:extLst>
              <a:ext uri="{FF2B5EF4-FFF2-40B4-BE49-F238E27FC236}">
                <a16:creationId xmlns:a16="http://schemas.microsoft.com/office/drawing/2014/main" id="{1C7AF1B5-53DE-45BE-66EB-1774A7A1504C}"/>
              </a:ext>
            </a:extLst>
          </p:cNvPr>
          <p:cNvSpPr>
            <a:spLocks noGrp="1"/>
          </p:cNvSpPr>
          <p:nvPr>
            <p:ph type="body" sz="quarter" idx="16"/>
          </p:nvPr>
        </p:nvSpPr>
        <p:spPr/>
        <p:txBody>
          <a:bodyPr/>
          <a:lstStyle/>
          <a:p>
            <a:r>
              <a:rPr lang="en-GB" dirty="0"/>
              <a:t>Each active pharmacy is now dispensing 1.6k (+22.0%) more items compared to 2022</a:t>
            </a:r>
          </a:p>
        </p:txBody>
      </p:sp>
      <p:sp>
        <p:nvSpPr>
          <p:cNvPr id="5" name="Title 4">
            <a:extLst>
              <a:ext uri="{FF2B5EF4-FFF2-40B4-BE49-F238E27FC236}">
                <a16:creationId xmlns:a16="http://schemas.microsoft.com/office/drawing/2014/main" id="{2FC3ADC2-172E-EDD0-6ADD-5C9C4B9F0EA5}"/>
              </a:ext>
            </a:extLst>
          </p:cNvPr>
          <p:cNvSpPr>
            <a:spLocks noGrp="1"/>
          </p:cNvSpPr>
          <p:nvPr>
            <p:ph type="title"/>
          </p:nvPr>
        </p:nvSpPr>
        <p:spPr/>
        <p:txBody>
          <a:bodyPr vert="horz"/>
          <a:lstStyle/>
          <a:p>
            <a:r>
              <a:rPr lang="en-GB" dirty="0"/>
              <a:t>There are fewer pharmacy contractors in England but each is dispensing more items</a:t>
            </a:r>
          </a:p>
        </p:txBody>
      </p:sp>
      <p:sp>
        <p:nvSpPr>
          <p:cNvPr id="9" name="Footer Placeholder 2">
            <a:extLst>
              <a:ext uri="{FF2B5EF4-FFF2-40B4-BE49-F238E27FC236}">
                <a16:creationId xmlns:a16="http://schemas.microsoft.com/office/drawing/2014/main" id="{6AF3E224-996F-A2A0-024B-2F2119361528}"/>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Noto Sans"/>
                <a:ea typeface="+mn-ea"/>
                <a:cs typeface="+mn-cs"/>
              </a:rPr>
              <a:t>Source: NHS TRUD Organisation data</a:t>
            </a:r>
          </a:p>
        </p:txBody>
      </p:sp>
      <p:cxnSp>
        <p:nvCxnSpPr>
          <p:cNvPr id="28" name="Connector: Elbow 27">
            <a:extLst>
              <a:ext uri="{FF2B5EF4-FFF2-40B4-BE49-F238E27FC236}">
                <a16:creationId xmlns:a16="http://schemas.microsoft.com/office/drawing/2014/main" id="{A3DE7F08-03C4-406D-F997-E28C4C6ABAC1}"/>
              </a:ext>
            </a:extLst>
          </p:cNvPr>
          <p:cNvCxnSpPr>
            <a:cxnSpLocks/>
          </p:cNvCxnSpPr>
          <p:nvPr/>
        </p:nvCxnSpPr>
        <p:spPr>
          <a:xfrm flipV="1">
            <a:off x="8396884" y="3368868"/>
            <a:ext cx="2768973" cy="828000"/>
          </a:xfrm>
          <a:prstGeom prst="bentConnector3">
            <a:avLst>
              <a:gd name="adj1" fmla="val 578"/>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1B6B649B-FC30-622C-D354-C48D289856F9}"/>
              </a:ext>
            </a:extLst>
          </p:cNvPr>
          <p:cNvCxnSpPr>
            <a:cxnSpLocks/>
          </p:cNvCxnSpPr>
          <p:nvPr/>
        </p:nvCxnSpPr>
        <p:spPr>
          <a:xfrm flipV="1">
            <a:off x="4537494" y="3308788"/>
            <a:ext cx="2838091" cy="756000"/>
          </a:xfrm>
          <a:prstGeom prst="bentConnector3">
            <a:avLst>
              <a:gd name="adj1" fmla="val 152"/>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think-cell data - do not delete" hidden="1">
            <a:extLst>
              <a:ext uri="{FF2B5EF4-FFF2-40B4-BE49-F238E27FC236}">
                <a16:creationId xmlns:a16="http://schemas.microsoft.com/office/drawing/2014/main" id="{D8255780-0121-428D-6BBE-5FDB4384D4C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8" name="think-cell data - do not delete" hidden="1">
                        <a:extLst>
                          <a:ext uri="{FF2B5EF4-FFF2-40B4-BE49-F238E27FC236}">
                            <a16:creationId xmlns:a16="http://schemas.microsoft.com/office/drawing/2014/main" id="{D8255780-0121-428D-6BBE-5FDB4384D4C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6" name="Connector: Elbow 15">
            <a:extLst>
              <a:ext uri="{FF2B5EF4-FFF2-40B4-BE49-F238E27FC236}">
                <a16:creationId xmlns:a16="http://schemas.microsoft.com/office/drawing/2014/main" id="{BB579195-34BF-0D7C-3CCE-D2E74547D3AD}"/>
              </a:ext>
            </a:extLst>
          </p:cNvPr>
          <p:cNvCxnSpPr>
            <a:cxnSpLocks/>
          </p:cNvCxnSpPr>
          <p:nvPr/>
        </p:nvCxnSpPr>
        <p:spPr>
          <a:xfrm>
            <a:off x="971774" y="3052542"/>
            <a:ext cx="2782645" cy="1260000"/>
          </a:xfrm>
          <a:prstGeom prst="bentConnector3">
            <a:avLst>
              <a:gd name="adj1" fmla="val 9987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68E69CC8-5603-E40E-9B78-41595935E23C}"/>
              </a:ext>
            </a:extLst>
          </p:cNvPr>
          <p:cNvSpPr/>
          <p:nvPr/>
        </p:nvSpPr>
        <p:spPr>
          <a:xfrm>
            <a:off x="8631247" y="3200897"/>
            <a:ext cx="756000" cy="32272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22.0%</a:t>
            </a:r>
          </a:p>
        </p:txBody>
      </p:sp>
      <p:sp>
        <p:nvSpPr>
          <p:cNvPr id="36" name="Rectangle: Rounded Corners 35">
            <a:extLst>
              <a:ext uri="{FF2B5EF4-FFF2-40B4-BE49-F238E27FC236}">
                <a16:creationId xmlns:a16="http://schemas.microsoft.com/office/drawing/2014/main" id="{2E7506D3-A9AD-4A44-5931-56D70965E2E2}"/>
              </a:ext>
            </a:extLst>
          </p:cNvPr>
          <p:cNvSpPr/>
          <p:nvPr/>
        </p:nvSpPr>
        <p:spPr>
          <a:xfrm>
            <a:off x="4652496" y="3139261"/>
            <a:ext cx="756000" cy="32272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14.3%</a:t>
            </a:r>
          </a:p>
        </p:txBody>
      </p:sp>
      <p:sp>
        <p:nvSpPr>
          <p:cNvPr id="37" name="Rectangle: Rounded Corners 36">
            <a:extLst>
              <a:ext uri="{FF2B5EF4-FFF2-40B4-BE49-F238E27FC236}">
                <a16:creationId xmlns:a16="http://schemas.microsoft.com/office/drawing/2014/main" id="{4B8F388A-F848-6937-C9CA-CB557EE03FB7}"/>
              </a:ext>
            </a:extLst>
          </p:cNvPr>
          <p:cNvSpPr/>
          <p:nvPr/>
        </p:nvSpPr>
        <p:spPr>
          <a:xfrm>
            <a:off x="2706352" y="2900903"/>
            <a:ext cx="756000" cy="322729"/>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6.3%</a:t>
            </a:r>
          </a:p>
        </p:txBody>
      </p:sp>
      <p:sp>
        <p:nvSpPr>
          <p:cNvPr id="7" name="TextBox 6">
            <a:extLst>
              <a:ext uri="{FF2B5EF4-FFF2-40B4-BE49-F238E27FC236}">
                <a16:creationId xmlns:a16="http://schemas.microsoft.com/office/drawing/2014/main" id="{6EE3EB64-DCC1-3BEE-4D9E-52D5B63DA313}"/>
              </a:ext>
            </a:extLst>
          </p:cNvPr>
          <p:cNvSpPr txBox="1"/>
          <p:nvPr/>
        </p:nvSpPr>
        <p:spPr>
          <a:xfrm>
            <a:off x="0" y="1831"/>
            <a:ext cx="48799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Noto Sans"/>
                <a:ea typeface="+mn-ea"/>
                <a:cs typeface="+mn-cs"/>
              </a:rPr>
              <a:t>NHS England – Pharmacy Contractors</a:t>
            </a:r>
            <a:endParaRPr kumimoji="0" lang="en-GB" sz="1000" b="1" i="1" u="none" strike="noStrike" kern="1200" cap="none" spc="0" normalizeH="0" baseline="0" noProof="0">
              <a:ln>
                <a:noFill/>
              </a:ln>
              <a:solidFill>
                <a:srgbClr val="000000"/>
              </a:solidFill>
              <a:effectLst/>
              <a:uLnTx/>
              <a:uFillTx/>
              <a:latin typeface="Noto Sans"/>
              <a:ea typeface="+mn-ea"/>
              <a:cs typeface="+mn-cs"/>
            </a:endParaRPr>
          </a:p>
        </p:txBody>
      </p:sp>
    </p:spTree>
    <p:extLst>
      <p:ext uri="{BB962C8B-B14F-4D97-AF65-F5344CB8AC3E}">
        <p14:creationId xmlns:p14="http://schemas.microsoft.com/office/powerpoint/2010/main" val="202502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43407-1508-77BC-40B8-C2A893F2225D}"/>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1204BB6-79C3-57E1-AC2D-00C07EA40BE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10" name="think-cell data - do not delete" hidden="1">
                        <a:extLst>
                          <a:ext uri="{FF2B5EF4-FFF2-40B4-BE49-F238E27FC236}">
                            <a16:creationId xmlns:a16="http://schemas.microsoft.com/office/drawing/2014/main" id="{81204BB6-79C3-57E1-AC2D-00C07EA40B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9" name="Content Placeholder 6">
            <a:extLst>
              <a:ext uri="{FF2B5EF4-FFF2-40B4-BE49-F238E27FC236}">
                <a16:creationId xmlns:a16="http://schemas.microsoft.com/office/drawing/2014/main" id="{C04CEBEA-405D-67A1-B2BF-8635B3FEA3E9}"/>
              </a:ext>
            </a:extLst>
          </p:cNvPr>
          <p:cNvGraphicFramePr>
            <a:graphicFrameLocks noGrp="1"/>
          </p:cNvGraphicFramePr>
          <p:nvPr>
            <p:ph idx="18"/>
          </p:nvPr>
        </p:nvGraphicFramePr>
        <p:xfrm>
          <a:off x="384175" y="1703388"/>
          <a:ext cx="5532438" cy="4576762"/>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 Placeholder 1">
            <a:extLst>
              <a:ext uri="{FF2B5EF4-FFF2-40B4-BE49-F238E27FC236}">
                <a16:creationId xmlns:a16="http://schemas.microsoft.com/office/drawing/2014/main" id="{3E283542-6DEC-DC03-A294-86F6F532C4DC}"/>
              </a:ext>
            </a:extLst>
          </p:cNvPr>
          <p:cNvSpPr>
            <a:spLocks noGrp="1"/>
          </p:cNvSpPr>
          <p:nvPr>
            <p:ph type="body" sz="quarter" idx="16"/>
          </p:nvPr>
        </p:nvSpPr>
        <p:spPr/>
        <p:txBody>
          <a:bodyPr/>
          <a:lstStyle/>
          <a:p>
            <a:r>
              <a:rPr lang="en-GB" dirty="0"/>
              <a:t>Pharmacies and Wholesalers face elevated margin volatility and inventory level risk</a:t>
            </a:r>
          </a:p>
        </p:txBody>
      </p:sp>
      <p:sp>
        <p:nvSpPr>
          <p:cNvPr id="6" name="Title 5">
            <a:extLst>
              <a:ext uri="{FF2B5EF4-FFF2-40B4-BE49-F238E27FC236}">
                <a16:creationId xmlns:a16="http://schemas.microsoft.com/office/drawing/2014/main" id="{51D27327-91AE-1461-D825-F2E9D2434270}"/>
              </a:ext>
            </a:extLst>
          </p:cNvPr>
          <p:cNvSpPr>
            <a:spLocks noGrp="1"/>
          </p:cNvSpPr>
          <p:nvPr>
            <p:ph type="title"/>
          </p:nvPr>
        </p:nvSpPr>
        <p:spPr/>
        <p:txBody>
          <a:bodyPr vert="horz"/>
          <a:lstStyle/>
          <a:p>
            <a:r>
              <a:rPr lang="en-GB"/>
              <a:t>Increase in the generic concessionary lines signals heightened reimbursement mismatch risk</a:t>
            </a:r>
          </a:p>
        </p:txBody>
      </p:sp>
      <p:sp>
        <p:nvSpPr>
          <p:cNvPr id="5" name="Footer Placeholder 4">
            <a:extLst>
              <a:ext uri="{FF2B5EF4-FFF2-40B4-BE49-F238E27FC236}">
                <a16:creationId xmlns:a16="http://schemas.microsoft.com/office/drawing/2014/main" id="{13E8992F-1715-0E8E-0EBF-588E2CFB853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Noto Sans"/>
                <a:ea typeface="+mn-ea"/>
                <a:cs typeface="+mn-cs"/>
              </a:rPr>
              <a:t>Source: CPE Generic Price Concessions; IQVIA Sell-in data</a:t>
            </a:r>
          </a:p>
        </p:txBody>
      </p:sp>
      <p:sp>
        <p:nvSpPr>
          <p:cNvPr id="12" name="Footer Placeholder 4">
            <a:extLst>
              <a:ext uri="{FF2B5EF4-FFF2-40B4-BE49-F238E27FC236}">
                <a16:creationId xmlns:a16="http://schemas.microsoft.com/office/drawing/2014/main" id="{FA1FF7AA-8CDE-9CB8-E340-CFEA155B62A0}"/>
              </a:ext>
            </a:extLst>
          </p:cNvPr>
          <p:cNvSpPr txBox="1">
            <a:spLocks/>
          </p:cNvSpPr>
          <p:nvPr/>
        </p:nvSpPr>
        <p:spPr bwMode="gray">
          <a:xfrm>
            <a:off x="-11548" y="10758"/>
            <a:ext cx="2232000" cy="186760"/>
          </a:xfrm>
          <a:prstGeom prst="rect">
            <a:avLst/>
          </a:prstGeom>
          <a:noFill/>
        </p:spPr>
        <p:txBody>
          <a:bodyPr vert="horz" lIns="91440" tIns="45720" rIns="91440" bIns="45720" rtlCol="0" anchor="ctr" anchorCtr="0"/>
          <a:lstStyle>
            <a:defPPr>
              <a:defRPr lang="en-US"/>
            </a:defPPr>
            <a:lvl1pPr marL="0" algn="l" defTabSz="914400" rtl="0" eaLnBrk="1" latinLnBrk="0" hangingPunct="1">
              <a:defRPr sz="8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2B3A42"/>
                </a:solidFill>
                <a:effectLst/>
                <a:uLnTx/>
                <a:uFillTx/>
                <a:latin typeface="Noto Sans"/>
                <a:ea typeface="+mn-ea"/>
                <a:cs typeface="+mn-cs"/>
              </a:rPr>
              <a:t>UK – Retail Pharmacy – Generics</a:t>
            </a:r>
          </a:p>
        </p:txBody>
      </p:sp>
      <p:graphicFrame>
        <p:nvGraphicFramePr>
          <p:cNvPr id="4" name="Content Placeholder 6">
            <a:extLst>
              <a:ext uri="{FF2B5EF4-FFF2-40B4-BE49-F238E27FC236}">
                <a16:creationId xmlns:a16="http://schemas.microsoft.com/office/drawing/2014/main" id="{E5C08DF8-36AC-B966-7C2D-2FB81E8A2CE9}"/>
              </a:ext>
            </a:extLst>
          </p:cNvPr>
          <p:cNvGraphicFramePr>
            <a:graphicFrameLocks noGrp="1"/>
          </p:cNvGraphicFramePr>
          <p:nvPr>
            <p:ph idx="19"/>
          </p:nvPr>
        </p:nvGraphicFramePr>
        <p:xfrm>
          <a:off x="6191250" y="1703388"/>
          <a:ext cx="5532438" cy="457993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016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8EB4C62B-0F16-595D-EF18-AD846572C951}"/>
              </a:ext>
            </a:extLst>
          </p:cNvPr>
          <p:cNvPicPr>
            <a:picLocks/>
          </p:cNvPicPr>
          <p:nvPr/>
        </p:nvPicPr>
        <p:blipFill>
          <a:blip r:embed="rId3"/>
          <a:srcRect l="14198" t="7890" r="20947" b="7899"/>
          <a:stretch>
            <a:fillRect/>
          </a:stretch>
        </p:blipFill>
        <p:spPr>
          <a:xfrm>
            <a:off x="10030965" y="2463352"/>
            <a:ext cx="1368000" cy="1512000"/>
          </a:xfrm>
          <a:prstGeom prst="rect">
            <a:avLst/>
          </a:prstGeom>
        </p:spPr>
      </p:pic>
      <p:pic>
        <p:nvPicPr>
          <p:cNvPr id="14" name="Picture 13">
            <a:extLst>
              <a:ext uri="{FF2B5EF4-FFF2-40B4-BE49-F238E27FC236}">
                <a16:creationId xmlns:a16="http://schemas.microsoft.com/office/drawing/2014/main" id="{926D0F06-55BF-6E46-575B-09FAEE36D8B0}"/>
              </a:ext>
            </a:extLst>
          </p:cNvPr>
          <p:cNvPicPr>
            <a:picLocks/>
          </p:cNvPicPr>
          <p:nvPr/>
        </p:nvPicPr>
        <p:blipFill>
          <a:blip r:embed="rId4"/>
          <a:srcRect l="7113" t="3763" r="20743" b="5102"/>
          <a:stretch>
            <a:fillRect/>
          </a:stretch>
        </p:blipFill>
        <p:spPr>
          <a:xfrm>
            <a:off x="8251863" y="5020174"/>
            <a:ext cx="1368000" cy="1512000"/>
          </a:xfrm>
          <a:prstGeom prst="rect">
            <a:avLst/>
          </a:prstGeom>
        </p:spPr>
      </p:pic>
      <p:graphicFrame>
        <p:nvGraphicFramePr>
          <p:cNvPr id="47" name="Object 46" hidden="1">
            <a:extLst>
              <a:ext uri="{FF2B5EF4-FFF2-40B4-BE49-F238E27FC236}">
                <a16:creationId xmlns:a16="http://schemas.microsoft.com/office/drawing/2014/main" id="{91A6D4C2-93FF-8110-26F7-C4926C84B9A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7" name="Object 46" hidden="1">
                        <a:extLst>
                          <a:ext uri="{FF2B5EF4-FFF2-40B4-BE49-F238E27FC236}">
                            <a16:creationId xmlns:a16="http://schemas.microsoft.com/office/drawing/2014/main" id="{91A6D4C2-93FF-8110-26F7-C4926C84B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C6CF336-A185-E4C5-68D4-5475DFE77085}"/>
              </a:ext>
            </a:extLst>
          </p:cNvPr>
          <p:cNvSpPr>
            <a:spLocks noGrp="1"/>
          </p:cNvSpPr>
          <p:nvPr>
            <p:ph type="body" sz="quarter" idx="16"/>
          </p:nvPr>
        </p:nvSpPr>
        <p:spPr/>
        <p:txBody>
          <a:bodyPr/>
          <a:lstStyle/>
          <a:p>
            <a:r>
              <a:rPr lang="en-GB"/>
              <a:t>Except Distance Selling (DSPs), remaining pharmacies can be classified as B&amp;M</a:t>
            </a:r>
          </a:p>
        </p:txBody>
      </p:sp>
      <p:sp>
        <p:nvSpPr>
          <p:cNvPr id="4" name="Title 3">
            <a:extLst>
              <a:ext uri="{FF2B5EF4-FFF2-40B4-BE49-F238E27FC236}">
                <a16:creationId xmlns:a16="http://schemas.microsoft.com/office/drawing/2014/main" id="{CC19775D-1755-DB08-E3A6-9754482F10C3}"/>
              </a:ext>
            </a:extLst>
          </p:cNvPr>
          <p:cNvSpPr>
            <a:spLocks noGrp="1"/>
          </p:cNvSpPr>
          <p:nvPr>
            <p:ph type="title"/>
          </p:nvPr>
        </p:nvSpPr>
        <p:spPr/>
        <p:txBody>
          <a:bodyPr vert="horz"/>
          <a:lstStyle/>
          <a:p>
            <a:r>
              <a:rPr lang="en-GB"/>
              <a:t>IQVIA groups retail pharmacy contractors into 5 channels based on their geographical distribution and store presence</a:t>
            </a:r>
          </a:p>
        </p:txBody>
      </p:sp>
      <p:sp>
        <p:nvSpPr>
          <p:cNvPr id="5" name="Footer Placeholder 4">
            <a:extLst>
              <a:ext uri="{FF2B5EF4-FFF2-40B4-BE49-F238E27FC236}">
                <a16:creationId xmlns:a16="http://schemas.microsoft.com/office/drawing/2014/main" id="{F5D65573-8A53-F333-E7B9-AC1CFE3E1D9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2B3A42"/>
              </a:solidFill>
              <a:effectLst/>
              <a:uLnTx/>
              <a:uFillTx/>
              <a:latin typeface="Noto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Noto Sans"/>
                <a:ea typeface="+mn-ea"/>
                <a:cs typeface="+mn-cs"/>
              </a:rPr>
              <a:t>Source: NHS TRUD Organisation data and IQVIA</a:t>
            </a:r>
          </a:p>
        </p:txBody>
      </p:sp>
      <p:graphicFrame>
        <p:nvGraphicFramePr>
          <p:cNvPr id="6" name="Table 6">
            <a:extLst>
              <a:ext uri="{FF2B5EF4-FFF2-40B4-BE49-F238E27FC236}">
                <a16:creationId xmlns:a16="http://schemas.microsoft.com/office/drawing/2014/main" id="{0C5A4118-EED4-DEB6-B50D-5E601E25140F}"/>
              </a:ext>
            </a:extLst>
          </p:cNvPr>
          <p:cNvGraphicFramePr>
            <a:graphicFrameLocks noGrp="1"/>
          </p:cNvGraphicFramePr>
          <p:nvPr/>
        </p:nvGraphicFramePr>
        <p:xfrm>
          <a:off x="766916" y="1654498"/>
          <a:ext cx="6678913" cy="4474304"/>
        </p:xfrm>
        <a:graphic>
          <a:graphicData uri="http://schemas.openxmlformats.org/drawingml/2006/table">
            <a:tbl>
              <a:tblPr firstRow="1" bandRow="1">
                <a:tableStyleId>{5940675A-B579-460E-94D1-54222C63F5DA}</a:tableStyleId>
              </a:tblPr>
              <a:tblGrid>
                <a:gridCol w="1882978">
                  <a:extLst>
                    <a:ext uri="{9D8B030D-6E8A-4147-A177-3AD203B41FA5}">
                      <a16:colId xmlns:a16="http://schemas.microsoft.com/office/drawing/2014/main" val="494512822"/>
                    </a:ext>
                  </a:extLst>
                </a:gridCol>
                <a:gridCol w="466530">
                  <a:extLst>
                    <a:ext uri="{9D8B030D-6E8A-4147-A177-3AD203B41FA5}">
                      <a16:colId xmlns:a16="http://schemas.microsoft.com/office/drawing/2014/main" val="2105272771"/>
                    </a:ext>
                  </a:extLst>
                </a:gridCol>
                <a:gridCol w="4329405">
                  <a:extLst>
                    <a:ext uri="{9D8B030D-6E8A-4147-A177-3AD203B41FA5}">
                      <a16:colId xmlns:a16="http://schemas.microsoft.com/office/drawing/2014/main" val="1990666722"/>
                    </a:ext>
                  </a:extLst>
                </a:gridCol>
              </a:tblGrid>
              <a:tr h="882356">
                <a:tc>
                  <a:txBody>
                    <a:bodyPr/>
                    <a:lstStyle/>
                    <a:p>
                      <a:r>
                        <a:rPr lang="en-GB" sz="1600" b="1" i="0" u="none" strike="noStrike" dirty="0">
                          <a:solidFill>
                            <a:schemeClr val="accent1"/>
                          </a:solidFill>
                          <a:effectLst/>
                          <a:latin typeface="+mj-lt"/>
                        </a:rPr>
                        <a:t>Independents</a:t>
                      </a:r>
                      <a:endParaRPr lang="en-GB" sz="1600" dirty="0">
                        <a:solidFill>
                          <a:schemeClr val="accent1"/>
                        </a:solidFill>
                        <a:latin typeface="+mj-lt"/>
                      </a:endParaRPr>
                    </a:p>
                  </a:txBody>
                  <a:tcPr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a:solidFill>
                          <a:schemeClr val="tx1"/>
                        </a:solidFill>
                        <a:latin typeface="+mj-lt"/>
                      </a:endParaRPr>
                    </a:p>
                  </a:txBody>
                  <a:tcPr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0" lang="en-US" sz="1400" i="0" u="none" strike="noStrike" kern="1200" cap="none" spc="0" normalizeH="0" baseline="0" noProof="0">
                          <a:ln>
                            <a:noFill/>
                          </a:ln>
                          <a:solidFill>
                            <a:srgbClr val="000000"/>
                          </a:solidFill>
                          <a:effectLst/>
                          <a:uLnTx/>
                          <a:uFillTx/>
                          <a:latin typeface="+mn-lt"/>
                          <a:ea typeface="+mn-ea"/>
                          <a:cs typeface="Arial" panose="020B0604020202020204" pitchFamily="34" charset="0"/>
                        </a:rPr>
                        <a:t>Single pharmacies / chains with 1-5 stores</a:t>
                      </a:r>
                      <a:endParaRPr lang="en-GB" sz="1400">
                        <a:solidFill>
                          <a:srgbClr val="000000"/>
                        </a:solidFill>
                        <a:latin typeface="+mn-lt"/>
                      </a:endParaRPr>
                    </a:p>
                  </a:txBody>
                  <a:tcPr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8912115"/>
                  </a:ext>
                </a:extLst>
              </a:tr>
              <a:tr h="882356">
                <a:tc>
                  <a:txBody>
                    <a:bodyPr/>
                    <a:lstStyle/>
                    <a:p>
                      <a:r>
                        <a:rPr lang="en-GB" sz="1600" b="1" i="0" u="none" strike="noStrike">
                          <a:solidFill>
                            <a:schemeClr val="accent2"/>
                          </a:solidFill>
                          <a:effectLst/>
                          <a:latin typeface="+mj-lt"/>
                        </a:rPr>
                        <a:t>Regional Chains</a:t>
                      </a:r>
                      <a:endParaRPr lang="en-GB" sz="1600">
                        <a:solidFill>
                          <a:schemeClr val="accent2"/>
                        </a:solidFill>
                        <a:latin typeface="+mj-lt"/>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a:solidFill>
                          <a:schemeClr val="tx1"/>
                        </a:solidFill>
                        <a:latin typeface="+mj-lt"/>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000000"/>
                          </a:solidFill>
                          <a:effectLst/>
                          <a:uLnTx/>
                          <a:uFillTx/>
                          <a:latin typeface="+mn-lt"/>
                          <a:ea typeface="+mn-ea"/>
                          <a:cs typeface="+mn-cs"/>
                        </a:rPr>
                        <a:t>Pharmacy chains with 6-200 stores</a:t>
                      </a:r>
                    </a:p>
                    <a:p>
                      <a:pPr marL="285750" marR="0" lvl="0" indent="-1920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a:ln>
                            <a:noFill/>
                          </a:ln>
                          <a:solidFill>
                            <a:srgbClr val="000000"/>
                          </a:solidFill>
                          <a:effectLst/>
                          <a:uLnTx/>
                          <a:uFillTx/>
                          <a:latin typeface="+mn-lt"/>
                          <a:ea typeface="+mn-ea"/>
                          <a:cs typeface="+mn-cs"/>
                        </a:rPr>
                        <a:t>Example Lincoln Co-op, Weldricks, etc.</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1310758"/>
                  </a:ext>
                </a:extLst>
              </a:tr>
              <a:tr h="882356">
                <a:tc>
                  <a:txBody>
                    <a:bodyPr/>
                    <a:lstStyle/>
                    <a:p>
                      <a:r>
                        <a:rPr lang="en-GB" sz="1600" b="1" i="0" u="none" strike="noStrike">
                          <a:solidFill>
                            <a:schemeClr val="accent6"/>
                          </a:solidFill>
                          <a:effectLst/>
                          <a:latin typeface="+mj-lt"/>
                        </a:rPr>
                        <a:t>National Chains</a:t>
                      </a:r>
                      <a:endParaRPr lang="en-GB" sz="1600">
                        <a:solidFill>
                          <a:schemeClr val="accent6"/>
                        </a:solidFill>
                        <a:latin typeface="+mj-lt"/>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a:solidFill>
                          <a:schemeClr val="tx1"/>
                        </a:solidFill>
                        <a:latin typeface="+mj-lt"/>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i="0" u="none" strike="noStrike" kern="1200" cap="none" spc="0" normalizeH="0" baseline="0" noProof="0">
                          <a:ln>
                            <a:noFill/>
                          </a:ln>
                          <a:solidFill>
                            <a:srgbClr val="000000"/>
                          </a:solidFill>
                          <a:effectLst/>
                          <a:uLnTx/>
                          <a:uFillTx/>
                          <a:latin typeface="+mn-lt"/>
                          <a:ea typeface="+mn-ea"/>
                          <a:cs typeface="Arial" panose="020B0604020202020204" pitchFamily="34" charset="0"/>
                        </a:rPr>
                        <a:t>Pharmacy chains with 200+ stores</a:t>
                      </a:r>
                    </a:p>
                    <a:p>
                      <a:pPr marL="285750" marR="0" lvl="0" indent="-1920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1" u="none" strike="noStrike" kern="1200" cap="none" spc="0" normalizeH="0" baseline="0" noProof="0">
                          <a:ln>
                            <a:noFill/>
                          </a:ln>
                          <a:solidFill>
                            <a:srgbClr val="000000"/>
                          </a:solidFill>
                          <a:effectLst/>
                          <a:uLnTx/>
                          <a:uFillTx/>
                          <a:latin typeface="+mn-lt"/>
                          <a:ea typeface="+mn-ea"/>
                          <a:cs typeface="Arial" panose="020B0604020202020204" pitchFamily="34" charset="0"/>
                        </a:rPr>
                        <a:t>Includes Boots, </a:t>
                      </a:r>
                      <a:r>
                        <a:rPr lang="en-GB" sz="1200" b="0" i="1" u="none" strike="noStrike">
                          <a:solidFill>
                            <a:srgbClr val="000000"/>
                          </a:solidFill>
                          <a:effectLst/>
                          <a:latin typeface="+mn-lt"/>
                        </a:rPr>
                        <a:t>Day Lewis, Cohens, Rowlands, Superdrug and Well</a:t>
                      </a:r>
                      <a:endParaRPr lang="en-GB" sz="1200" i="1" kern="1200">
                        <a:solidFill>
                          <a:srgbClr val="000000"/>
                        </a:solidFill>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1499556"/>
                  </a:ext>
                </a:extLst>
              </a:tr>
              <a:tr h="882356">
                <a:tc>
                  <a:txBody>
                    <a:bodyPr/>
                    <a:lstStyle/>
                    <a:p>
                      <a:pPr marL="0" algn="l" defTabSz="914400" rtl="0" eaLnBrk="1" latinLnBrk="0" hangingPunct="1"/>
                      <a:r>
                        <a:rPr lang="en-GB" sz="1600" b="1" i="0" u="none" strike="noStrike" kern="1200" dirty="0">
                          <a:solidFill>
                            <a:schemeClr val="accent3"/>
                          </a:solidFill>
                          <a:effectLst/>
                          <a:latin typeface="+mj-lt"/>
                          <a:ea typeface="+mn-ea"/>
                          <a:cs typeface="+mn-cs"/>
                        </a:rPr>
                        <a:t>Supermarkets</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a:solidFill>
                          <a:schemeClr val="tx1"/>
                        </a:solidFill>
                        <a:latin typeface="+mj-lt"/>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rgbClr val="000000"/>
                          </a:solidFill>
                          <a:latin typeface="+mn-lt"/>
                          <a:cs typeface="Arial" panose="020B0604020202020204" pitchFamily="34" charset="0"/>
                        </a:rPr>
                        <a:t>Inhouse own-brand pharmacies in supermarkets</a:t>
                      </a:r>
                    </a:p>
                    <a:p>
                      <a:pPr marL="285750" indent="-192088">
                        <a:buFont typeface="Arial" panose="020B0604020202020204" pitchFamily="34" charset="0"/>
                        <a:buChar char="•"/>
                      </a:pPr>
                      <a:r>
                        <a:rPr lang="en-US" sz="1200" i="1" dirty="0">
                          <a:solidFill>
                            <a:srgbClr val="000000"/>
                          </a:solidFill>
                          <a:latin typeface="+mn-lt"/>
                          <a:cs typeface="Arial" panose="020B0604020202020204" pitchFamily="34" charset="0"/>
                        </a:rPr>
                        <a:t>Includes Asda, Morrison and Tesco</a:t>
                      </a:r>
                      <a:endParaRPr lang="en-GB" sz="1200" i="1" dirty="0">
                        <a:solidFill>
                          <a:srgbClr val="000000"/>
                        </a:solidFill>
                        <a:latin typeface="+mn-lt"/>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4731082"/>
                  </a:ext>
                </a:extLst>
              </a:tr>
              <a:tr h="903805">
                <a:tc>
                  <a:txBody>
                    <a:bodyPr/>
                    <a:lstStyle/>
                    <a:p>
                      <a:pPr marL="0" algn="l" defTabSz="914400" rtl="0" eaLnBrk="1" latinLnBrk="0" hangingPunct="1"/>
                      <a:r>
                        <a:rPr lang="en-GB" sz="1600" b="1" i="0" u="none" strike="noStrike" kern="1200">
                          <a:solidFill>
                            <a:srgbClr val="C00000"/>
                          </a:solidFill>
                          <a:effectLst/>
                          <a:latin typeface="+mj-lt"/>
                          <a:ea typeface="+mn-ea"/>
                          <a:cs typeface="+mn-cs"/>
                        </a:rPr>
                        <a:t>Distance Selling/Internet</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a:solidFill>
                          <a:schemeClr val="tx1"/>
                        </a:solidFill>
                        <a:latin typeface="+mj-lt"/>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a:solidFill>
                            <a:srgbClr val="000000"/>
                          </a:solidFill>
                          <a:latin typeface="+mn-lt"/>
                        </a:rPr>
                        <a:t>Pharmacies where Rx are not physically handed in by patients but collected by pharmacy staff, received by post or electronically</a:t>
                      </a:r>
                    </a:p>
                    <a:p>
                      <a:pPr marL="285750" marR="0" lvl="0" indent="-1920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a:ln>
                            <a:noFill/>
                          </a:ln>
                          <a:solidFill>
                            <a:srgbClr val="000000"/>
                          </a:solidFill>
                          <a:effectLst/>
                          <a:uLnTx/>
                          <a:uFillTx/>
                          <a:latin typeface="+mn-lt"/>
                          <a:ea typeface="+mn-ea"/>
                          <a:cs typeface="+mn-cs"/>
                        </a:rPr>
                        <a:t>Example</a:t>
                      </a:r>
                      <a:r>
                        <a:rPr kumimoji="0" lang="en-GB" sz="1400" b="0" i="1" u="none" strike="noStrike" kern="1200" cap="none" spc="0" normalizeH="0" baseline="0" noProof="0">
                          <a:ln>
                            <a:noFill/>
                          </a:ln>
                          <a:solidFill>
                            <a:srgbClr val="000000"/>
                          </a:solidFill>
                          <a:effectLst/>
                          <a:uLnTx/>
                          <a:uFillTx/>
                          <a:latin typeface="+mn-lt"/>
                          <a:ea typeface="+mn-ea"/>
                          <a:cs typeface="+mn-cs"/>
                        </a:rPr>
                        <a:t> </a:t>
                      </a:r>
                      <a:r>
                        <a:rPr kumimoji="0" lang="en-GB" sz="1200" b="0" i="1" u="none" strike="noStrike" kern="1200" cap="none" spc="0" normalizeH="0" baseline="0" noProof="0">
                          <a:ln>
                            <a:noFill/>
                          </a:ln>
                          <a:solidFill>
                            <a:srgbClr val="000000"/>
                          </a:solidFill>
                          <a:effectLst/>
                          <a:uLnTx/>
                          <a:uFillTx/>
                          <a:latin typeface="+mn-lt"/>
                          <a:ea typeface="+mn-ea"/>
                          <a:cs typeface="+mn-cs"/>
                        </a:rPr>
                        <a:t>Pharmacy2U, Lloyds Direct, etc.</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950136"/>
                  </a:ext>
                </a:extLst>
              </a:tr>
            </a:tbl>
          </a:graphicData>
        </a:graphic>
      </p:graphicFrame>
      <p:sp>
        <p:nvSpPr>
          <p:cNvPr id="7" name="Isosceles Triangle 6">
            <a:extLst>
              <a:ext uri="{FF2B5EF4-FFF2-40B4-BE49-F238E27FC236}">
                <a16:creationId xmlns:a16="http://schemas.microsoft.com/office/drawing/2014/main" id="{8897235E-A511-206C-F6D5-6D9E689825FA}"/>
              </a:ext>
            </a:extLst>
          </p:cNvPr>
          <p:cNvSpPr/>
          <p:nvPr/>
        </p:nvSpPr>
        <p:spPr>
          <a:xfrm rot="5400000">
            <a:off x="2606684" y="2017052"/>
            <a:ext cx="450157" cy="1852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8" name="Isosceles Triangle 7">
            <a:extLst>
              <a:ext uri="{FF2B5EF4-FFF2-40B4-BE49-F238E27FC236}">
                <a16:creationId xmlns:a16="http://schemas.microsoft.com/office/drawing/2014/main" id="{91A92B1D-F2A1-52D8-4440-E1AD2C6F95C5}"/>
              </a:ext>
            </a:extLst>
          </p:cNvPr>
          <p:cNvSpPr/>
          <p:nvPr/>
        </p:nvSpPr>
        <p:spPr>
          <a:xfrm rot="5400000">
            <a:off x="2606683" y="2901643"/>
            <a:ext cx="450157" cy="1852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9" name="Isosceles Triangle 8">
            <a:extLst>
              <a:ext uri="{FF2B5EF4-FFF2-40B4-BE49-F238E27FC236}">
                <a16:creationId xmlns:a16="http://schemas.microsoft.com/office/drawing/2014/main" id="{764E7DF3-E303-815D-E5D0-54CB38E6620C}"/>
              </a:ext>
            </a:extLst>
          </p:cNvPr>
          <p:cNvSpPr/>
          <p:nvPr/>
        </p:nvSpPr>
        <p:spPr>
          <a:xfrm rot="5400000">
            <a:off x="2606683" y="3786234"/>
            <a:ext cx="450157" cy="1852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Isosceles Triangle 9">
            <a:extLst>
              <a:ext uri="{FF2B5EF4-FFF2-40B4-BE49-F238E27FC236}">
                <a16:creationId xmlns:a16="http://schemas.microsoft.com/office/drawing/2014/main" id="{CC85C378-3A34-1407-1652-D63380932239}"/>
              </a:ext>
            </a:extLst>
          </p:cNvPr>
          <p:cNvSpPr/>
          <p:nvPr/>
        </p:nvSpPr>
        <p:spPr>
          <a:xfrm rot="5400000">
            <a:off x="2606683" y="4670825"/>
            <a:ext cx="450157" cy="1852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12" name="Isosceles Triangle 11">
            <a:extLst>
              <a:ext uri="{FF2B5EF4-FFF2-40B4-BE49-F238E27FC236}">
                <a16:creationId xmlns:a16="http://schemas.microsoft.com/office/drawing/2014/main" id="{91781009-586C-37E7-F59B-7D9E319FC1AF}"/>
              </a:ext>
            </a:extLst>
          </p:cNvPr>
          <p:cNvSpPr/>
          <p:nvPr/>
        </p:nvSpPr>
        <p:spPr>
          <a:xfrm rot="5400000">
            <a:off x="2606682" y="5555415"/>
            <a:ext cx="450157" cy="1852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Oval 1">
            <a:extLst>
              <a:ext uri="{FF2B5EF4-FFF2-40B4-BE49-F238E27FC236}">
                <a16:creationId xmlns:a16="http://schemas.microsoft.com/office/drawing/2014/main" id="{8A04E030-CCAE-263E-DF97-59C2B3139FF9}"/>
              </a:ext>
            </a:extLst>
          </p:cNvPr>
          <p:cNvSpPr/>
          <p:nvPr/>
        </p:nvSpPr>
        <p:spPr>
          <a:xfrm>
            <a:off x="277297" y="1928202"/>
            <a:ext cx="360000" cy="360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A3E0"/>
                </a:solidFill>
                <a:effectLst/>
                <a:uLnTx/>
                <a:uFillTx/>
                <a:latin typeface="Noto Sans"/>
                <a:ea typeface="+mn-ea"/>
                <a:cs typeface="+mn-cs"/>
              </a:rPr>
              <a:t>1</a:t>
            </a:r>
          </a:p>
        </p:txBody>
      </p:sp>
      <p:sp>
        <p:nvSpPr>
          <p:cNvPr id="13" name="Oval 12">
            <a:extLst>
              <a:ext uri="{FF2B5EF4-FFF2-40B4-BE49-F238E27FC236}">
                <a16:creationId xmlns:a16="http://schemas.microsoft.com/office/drawing/2014/main" id="{4D472E72-82F2-E536-4C72-76C2E3238157}"/>
              </a:ext>
            </a:extLst>
          </p:cNvPr>
          <p:cNvSpPr/>
          <p:nvPr/>
        </p:nvSpPr>
        <p:spPr>
          <a:xfrm>
            <a:off x="277297" y="2808030"/>
            <a:ext cx="360000" cy="3600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5587"/>
                </a:solidFill>
                <a:effectLst/>
                <a:uLnTx/>
                <a:uFillTx/>
                <a:latin typeface="Noto Sans"/>
                <a:ea typeface="+mn-ea"/>
                <a:cs typeface="+mn-cs"/>
              </a:rPr>
              <a:t>2</a:t>
            </a:r>
          </a:p>
        </p:txBody>
      </p:sp>
      <p:sp>
        <p:nvSpPr>
          <p:cNvPr id="15" name="Oval 14">
            <a:extLst>
              <a:ext uri="{FF2B5EF4-FFF2-40B4-BE49-F238E27FC236}">
                <a16:creationId xmlns:a16="http://schemas.microsoft.com/office/drawing/2014/main" id="{455A4BB1-4AC2-A0E1-81CB-6A2378280CE9}"/>
              </a:ext>
            </a:extLst>
          </p:cNvPr>
          <p:cNvSpPr/>
          <p:nvPr/>
        </p:nvSpPr>
        <p:spPr>
          <a:xfrm>
            <a:off x="277297" y="3697285"/>
            <a:ext cx="360000" cy="360000"/>
          </a:xfrm>
          <a:prstGeom prst="ellipse">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27223"/>
                </a:solidFill>
                <a:effectLst/>
                <a:uLnTx/>
                <a:uFillTx/>
                <a:latin typeface="Noto Sans"/>
                <a:ea typeface="+mn-ea"/>
                <a:cs typeface="+mn-cs"/>
              </a:rPr>
              <a:t>3</a:t>
            </a:r>
          </a:p>
        </p:txBody>
      </p:sp>
      <p:sp>
        <p:nvSpPr>
          <p:cNvPr id="16" name="Oval 15">
            <a:extLst>
              <a:ext uri="{FF2B5EF4-FFF2-40B4-BE49-F238E27FC236}">
                <a16:creationId xmlns:a16="http://schemas.microsoft.com/office/drawing/2014/main" id="{FF77E046-278C-4F0A-3415-97A6BE54018E}"/>
              </a:ext>
            </a:extLst>
          </p:cNvPr>
          <p:cNvSpPr/>
          <p:nvPr/>
        </p:nvSpPr>
        <p:spPr>
          <a:xfrm>
            <a:off x="277297" y="4586540"/>
            <a:ext cx="360000" cy="3600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BFB3"/>
                </a:solidFill>
                <a:effectLst/>
                <a:uLnTx/>
                <a:uFillTx/>
                <a:latin typeface="Noto Sans"/>
                <a:ea typeface="+mn-ea"/>
                <a:cs typeface="+mn-cs"/>
              </a:rPr>
              <a:t>4</a:t>
            </a:r>
          </a:p>
        </p:txBody>
      </p:sp>
      <p:sp>
        <p:nvSpPr>
          <p:cNvPr id="17" name="Oval 16">
            <a:extLst>
              <a:ext uri="{FF2B5EF4-FFF2-40B4-BE49-F238E27FC236}">
                <a16:creationId xmlns:a16="http://schemas.microsoft.com/office/drawing/2014/main" id="{2D061134-8962-DCED-83DB-B43C9E35BA2E}"/>
              </a:ext>
            </a:extLst>
          </p:cNvPr>
          <p:cNvSpPr/>
          <p:nvPr/>
        </p:nvSpPr>
        <p:spPr>
          <a:xfrm>
            <a:off x="277297" y="5475795"/>
            <a:ext cx="360000" cy="360000"/>
          </a:xfrm>
          <a:prstGeom prst="ellipse">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Noto Sans"/>
                <a:ea typeface="+mn-ea"/>
                <a:cs typeface="+mn-cs"/>
              </a:rPr>
              <a:t>5</a:t>
            </a:r>
          </a:p>
        </p:txBody>
      </p:sp>
      <p:sp>
        <p:nvSpPr>
          <p:cNvPr id="19" name="TextBox 18">
            <a:extLst>
              <a:ext uri="{FF2B5EF4-FFF2-40B4-BE49-F238E27FC236}">
                <a16:creationId xmlns:a16="http://schemas.microsoft.com/office/drawing/2014/main" id="{2173B84D-D397-1F69-44AA-2CDC16A7E861}"/>
              </a:ext>
            </a:extLst>
          </p:cNvPr>
          <p:cNvSpPr txBox="1"/>
          <p:nvPr/>
        </p:nvSpPr>
        <p:spPr>
          <a:xfrm>
            <a:off x="0" y="1831"/>
            <a:ext cx="48799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Noto Sans"/>
                <a:ea typeface="+mn-ea"/>
                <a:cs typeface="+mn-cs"/>
              </a:rPr>
              <a:t>NHS England – Pharmacy Contractors</a:t>
            </a:r>
            <a:endParaRPr kumimoji="0" lang="en-GB" sz="1000" b="1" i="1" u="none" strike="noStrike" kern="1200" cap="none" spc="0" normalizeH="0" baseline="0" noProof="0">
              <a:ln>
                <a:noFill/>
              </a:ln>
              <a:solidFill>
                <a:srgbClr val="000000"/>
              </a:solidFill>
              <a:effectLst/>
              <a:uLnTx/>
              <a:uFillTx/>
              <a:latin typeface="Noto Sans"/>
              <a:ea typeface="+mn-ea"/>
              <a:cs typeface="+mn-cs"/>
            </a:endParaRPr>
          </a:p>
        </p:txBody>
      </p:sp>
      <p:pic>
        <p:nvPicPr>
          <p:cNvPr id="18" name="Picture 17">
            <a:extLst>
              <a:ext uri="{FF2B5EF4-FFF2-40B4-BE49-F238E27FC236}">
                <a16:creationId xmlns:a16="http://schemas.microsoft.com/office/drawing/2014/main" id="{E4E1DEBF-A334-20F5-373B-C52DD963382E}"/>
              </a:ext>
            </a:extLst>
          </p:cNvPr>
          <p:cNvPicPr>
            <a:picLocks/>
          </p:cNvPicPr>
          <p:nvPr/>
        </p:nvPicPr>
        <p:blipFill rotWithShape="1">
          <a:blip r:embed="rId7"/>
          <a:srcRect l="30045" t="17173" r="19844" b="7540"/>
          <a:stretch/>
        </p:blipFill>
        <p:spPr>
          <a:xfrm>
            <a:off x="8251863" y="1708425"/>
            <a:ext cx="1368000" cy="1512000"/>
          </a:xfrm>
          <a:prstGeom prst="rect">
            <a:avLst/>
          </a:prstGeom>
          <a:ln w="3175">
            <a:solidFill>
              <a:schemeClr val="bg1">
                <a:lumMod val="50000"/>
              </a:schemeClr>
            </a:solidFill>
          </a:ln>
        </p:spPr>
      </p:pic>
      <p:pic>
        <p:nvPicPr>
          <p:cNvPr id="23" name="Picture 22">
            <a:extLst>
              <a:ext uri="{FF2B5EF4-FFF2-40B4-BE49-F238E27FC236}">
                <a16:creationId xmlns:a16="http://schemas.microsoft.com/office/drawing/2014/main" id="{77150608-E2D4-1197-486B-82AE8B3F3FB3}"/>
              </a:ext>
            </a:extLst>
          </p:cNvPr>
          <p:cNvPicPr>
            <a:picLocks/>
          </p:cNvPicPr>
          <p:nvPr/>
        </p:nvPicPr>
        <p:blipFill rotWithShape="1">
          <a:blip r:embed="rId8"/>
          <a:srcRect l="20992" t="8123" r="27970" b="17054"/>
          <a:stretch/>
        </p:blipFill>
        <p:spPr>
          <a:xfrm>
            <a:off x="10030965" y="4323795"/>
            <a:ext cx="1368000" cy="1512000"/>
          </a:xfrm>
          <a:prstGeom prst="rect">
            <a:avLst/>
          </a:prstGeom>
          <a:ln w="3175">
            <a:solidFill>
              <a:schemeClr val="bg1">
                <a:lumMod val="50000"/>
              </a:schemeClr>
            </a:solidFill>
          </a:ln>
        </p:spPr>
      </p:pic>
      <p:pic>
        <p:nvPicPr>
          <p:cNvPr id="31" name="Picture 30">
            <a:extLst>
              <a:ext uri="{FF2B5EF4-FFF2-40B4-BE49-F238E27FC236}">
                <a16:creationId xmlns:a16="http://schemas.microsoft.com/office/drawing/2014/main" id="{6DDD0691-DBAA-1E77-D108-55072AC3650B}"/>
              </a:ext>
            </a:extLst>
          </p:cNvPr>
          <p:cNvPicPr>
            <a:picLocks/>
          </p:cNvPicPr>
          <p:nvPr/>
        </p:nvPicPr>
        <p:blipFill rotWithShape="1">
          <a:blip r:embed="rId9"/>
          <a:srcRect l="23639" t="7859" r="24746" b="16164"/>
          <a:stretch/>
        </p:blipFill>
        <p:spPr>
          <a:xfrm>
            <a:off x="8251863" y="3368810"/>
            <a:ext cx="1368000" cy="1512000"/>
          </a:xfrm>
          <a:prstGeom prst="rect">
            <a:avLst/>
          </a:prstGeom>
          <a:ln w="3175">
            <a:solidFill>
              <a:schemeClr val="bg1">
                <a:lumMod val="50000"/>
              </a:schemeClr>
            </a:solidFill>
          </a:ln>
        </p:spPr>
      </p:pic>
    </p:spTree>
    <p:extLst>
      <p:ext uri="{BB962C8B-B14F-4D97-AF65-F5344CB8AC3E}">
        <p14:creationId xmlns:p14="http://schemas.microsoft.com/office/powerpoint/2010/main" val="239716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E8B16CE3-217F-4915-BC77-B719DD50DC61}"/>
              </a:ext>
            </a:extLst>
          </p:cNvPr>
          <p:cNvGraphicFramePr/>
          <p:nvPr/>
        </p:nvGraphicFramePr>
        <p:xfrm>
          <a:off x="384694" y="1595535"/>
          <a:ext cx="8114400" cy="4792323"/>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7">
            <a:extLst>
              <a:ext uri="{FF2B5EF4-FFF2-40B4-BE49-F238E27FC236}">
                <a16:creationId xmlns:a16="http://schemas.microsoft.com/office/drawing/2014/main" id="{4B046CEC-F696-239D-0801-D25C1D4624A7}"/>
              </a:ext>
            </a:extLst>
          </p:cNvPr>
          <p:cNvSpPr>
            <a:spLocks noGrp="1"/>
          </p:cNvSpPr>
          <p:nvPr>
            <p:ph type="body" sz="quarter" idx="16"/>
          </p:nvPr>
        </p:nvSpPr>
        <p:spPr/>
        <p:txBody>
          <a:bodyPr/>
          <a:lstStyle/>
          <a:p>
            <a:r>
              <a:rPr lang="en-US" sz="2000" dirty="0"/>
              <a:t>Store trend by channel</a:t>
            </a:r>
            <a:endParaRPr lang="en-US" dirty="0"/>
          </a:p>
        </p:txBody>
      </p:sp>
      <p:sp>
        <p:nvSpPr>
          <p:cNvPr id="2" name="Title 1">
            <a:extLst>
              <a:ext uri="{FF2B5EF4-FFF2-40B4-BE49-F238E27FC236}">
                <a16:creationId xmlns:a16="http://schemas.microsoft.com/office/drawing/2014/main" id="{3ECB21BE-8B64-4FAD-9B93-12E406763ED8}"/>
              </a:ext>
            </a:extLst>
          </p:cNvPr>
          <p:cNvSpPr>
            <a:spLocks noGrp="1"/>
          </p:cNvSpPr>
          <p:nvPr>
            <p:ph type="title"/>
          </p:nvPr>
        </p:nvSpPr>
        <p:spPr/>
        <p:txBody>
          <a:bodyPr/>
          <a:lstStyle/>
          <a:p>
            <a:r>
              <a:rPr lang="en-GB" dirty="0"/>
              <a:t>Independents continue to grow whereas National Chains have significantly reduced followed by DSPs and Supermarkets</a:t>
            </a:r>
          </a:p>
        </p:txBody>
      </p:sp>
      <p:sp>
        <p:nvSpPr>
          <p:cNvPr id="3" name="Footer Placeholder 2">
            <a:extLst>
              <a:ext uri="{FF2B5EF4-FFF2-40B4-BE49-F238E27FC236}">
                <a16:creationId xmlns:a16="http://schemas.microsoft.com/office/drawing/2014/main" id="{3068EE9D-80BD-49EF-A133-A5A51221109C}"/>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B3A42"/>
                </a:solidFill>
                <a:effectLst/>
                <a:uLnTx/>
                <a:uFillTx/>
                <a:latin typeface="Noto Sans"/>
                <a:ea typeface="+mn-ea"/>
                <a:cs typeface="+mn-cs"/>
              </a:rPr>
              <a:t>Source: NHS TRUD Organisation data</a:t>
            </a:r>
          </a:p>
        </p:txBody>
      </p:sp>
      <p:sp>
        <p:nvSpPr>
          <p:cNvPr id="4" name="TextBox 3">
            <a:extLst>
              <a:ext uri="{FF2B5EF4-FFF2-40B4-BE49-F238E27FC236}">
                <a16:creationId xmlns:a16="http://schemas.microsoft.com/office/drawing/2014/main" id="{D577F3B6-9F63-6B97-A466-C70012B5B00E}"/>
              </a:ext>
            </a:extLst>
          </p:cNvPr>
          <p:cNvSpPr txBox="1"/>
          <p:nvPr/>
        </p:nvSpPr>
        <p:spPr>
          <a:xfrm>
            <a:off x="0" y="1831"/>
            <a:ext cx="48799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00000"/>
                </a:solidFill>
                <a:effectLst/>
                <a:uLnTx/>
                <a:uFillTx/>
                <a:latin typeface="Noto Sans"/>
                <a:ea typeface="+mn-ea"/>
                <a:cs typeface="+mn-cs"/>
              </a:rPr>
              <a:t>NHS England – Pharmacy Contractors</a:t>
            </a:r>
            <a:endParaRPr kumimoji="0" lang="en-GB" sz="1000" b="1" i="1" u="none" strike="noStrike" kern="1200" cap="none" spc="0" normalizeH="0" baseline="0" noProof="0" dirty="0">
              <a:ln>
                <a:noFill/>
              </a:ln>
              <a:solidFill>
                <a:srgbClr val="000000"/>
              </a:solidFill>
              <a:effectLst/>
              <a:uLnTx/>
              <a:uFillTx/>
              <a:latin typeface="Noto Sans"/>
              <a:ea typeface="+mn-ea"/>
              <a:cs typeface="+mn-cs"/>
            </a:endParaRPr>
          </a:p>
        </p:txBody>
      </p:sp>
      <p:graphicFrame>
        <p:nvGraphicFramePr>
          <p:cNvPr id="5" name="Table 4">
            <a:extLst>
              <a:ext uri="{FF2B5EF4-FFF2-40B4-BE49-F238E27FC236}">
                <a16:creationId xmlns:a16="http://schemas.microsoft.com/office/drawing/2014/main" id="{BC266571-10AF-3B4A-1E89-47B3FE3B5643}"/>
              </a:ext>
            </a:extLst>
          </p:cNvPr>
          <p:cNvGraphicFramePr>
            <a:graphicFrameLocks noGrp="1"/>
          </p:cNvGraphicFramePr>
          <p:nvPr/>
        </p:nvGraphicFramePr>
        <p:xfrm>
          <a:off x="8824577" y="4149516"/>
          <a:ext cx="2898677" cy="2107715"/>
        </p:xfrm>
        <a:graphic>
          <a:graphicData uri="http://schemas.openxmlformats.org/drawingml/2006/table">
            <a:tbl>
              <a:tblPr firstRow="1" bandRow="1">
                <a:tableStyleId>{5940675A-B579-460E-94D1-54222C63F5DA}</a:tableStyleId>
              </a:tblPr>
              <a:tblGrid>
                <a:gridCol w="1247159">
                  <a:extLst>
                    <a:ext uri="{9D8B030D-6E8A-4147-A177-3AD203B41FA5}">
                      <a16:colId xmlns:a16="http://schemas.microsoft.com/office/drawing/2014/main" val="4144709662"/>
                    </a:ext>
                  </a:extLst>
                </a:gridCol>
                <a:gridCol w="824864">
                  <a:extLst>
                    <a:ext uri="{9D8B030D-6E8A-4147-A177-3AD203B41FA5}">
                      <a16:colId xmlns:a16="http://schemas.microsoft.com/office/drawing/2014/main" val="4255639411"/>
                    </a:ext>
                  </a:extLst>
                </a:gridCol>
                <a:gridCol w="826654">
                  <a:extLst>
                    <a:ext uri="{9D8B030D-6E8A-4147-A177-3AD203B41FA5}">
                      <a16:colId xmlns:a16="http://schemas.microsoft.com/office/drawing/2014/main" val="530556039"/>
                    </a:ext>
                  </a:extLst>
                </a:gridCol>
              </a:tblGrid>
              <a:tr h="416465">
                <a:tc>
                  <a:txBody>
                    <a:bodyPr/>
                    <a:lstStyle/>
                    <a:p>
                      <a:pPr algn="l" fontAlgn="b"/>
                      <a:r>
                        <a:rPr lang="en-GB" sz="1000" b="1" i="0" u="none" strike="noStrike" dirty="0">
                          <a:solidFill>
                            <a:srgbClr val="000000"/>
                          </a:solidFill>
                          <a:effectLst/>
                          <a:latin typeface="Noto Sans (Body)"/>
                        </a:rPr>
                        <a:t>Store Proportion</a:t>
                      </a: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00" b="1" i="0" u="none" strike="noStrike" dirty="0">
                          <a:solidFill>
                            <a:srgbClr val="000000"/>
                          </a:solidFill>
                          <a:effectLst/>
                          <a:latin typeface="Noto Sans (Body)"/>
                        </a:rPr>
                        <a:t>YoY           (vs. Feb 25)</a:t>
                      </a:r>
                    </a:p>
                  </a:txBody>
                  <a:tcPr marL="7620" marR="7620" marT="7620"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00" b="1" i="0" u="none" strike="noStrike" dirty="0">
                          <a:solidFill>
                            <a:srgbClr val="000000"/>
                          </a:solidFill>
                          <a:effectLst/>
                          <a:latin typeface="Noto Sans (Body)"/>
                        </a:rPr>
                        <a:t>5 Years        (vs. Feb 22)</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22776538"/>
                  </a:ext>
                </a:extLst>
              </a:tr>
              <a:tr h="338250">
                <a:tc>
                  <a:txBody>
                    <a:bodyPr/>
                    <a:lstStyle/>
                    <a:p>
                      <a:pPr algn="l" fontAlgn="b"/>
                      <a:endParaRPr lang="en-GB" sz="1100" b="1" i="0" u="none" strike="noStrike" dirty="0">
                        <a:solidFill>
                          <a:schemeClr val="accent1"/>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US" sz="1200" b="0" i="0" u="none" strike="noStrike">
                          <a:solidFill>
                            <a:srgbClr val="FFFFFF"/>
                          </a:solidFill>
                          <a:effectLst/>
                          <a:latin typeface="Arial" panose="020B0604020202020204" pitchFamily="34" charset="0"/>
                        </a:rPr>
                        <a:t>+1.5%</a:t>
                      </a: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buNone/>
                      </a:pPr>
                      <a:r>
                        <a:rPr lang="en-US" sz="1200" b="0" i="0" u="none" strike="noStrike">
                          <a:solidFill>
                            <a:srgbClr val="FFFFFF"/>
                          </a:solidFill>
                          <a:effectLst/>
                          <a:latin typeface="Arial" panose="020B0604020202020204" pitchFamily="34" charset="0"/>
                        </a:rPr>
                        <a:t>+11.6%</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791816890"/>
                  </a:ext>
                </a:extLst>
              </a:tr>
              <a:tr h="338250">
                <a:tc>
                  <a:txBody>
                    <a:bodyPr/>
                    <a:lstStyle/>
                    <a:p>
                      <a:pPr algn="l" fontAlgn="b"/>
                      <a:endParaRPr lang="en-GB" sz="1100" b="1" i="0" u="none" strike="noStrike" dirty="0">
                        <a:solidFill>
                          <a:schemeClr val="accent2"/>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US" sz="1200" b="0" i="0" u="none" strike="noStrike">
                          <a:solidFill>
                            <a:srgbClr val="FFFFFF"/>
                          </a:solidFill>
                          <a:effectLst/>
                          <a:latin typeface="Arial" panose="020B0604020202020204" pitchFamily="34" charset="0"/>
                        </a:rPr>
                        <a:t>-0.5%</a:t>
                      </a: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buNone/>
                      </a:pPr>
                      <a:r>
                        <a:rPr lang="en-US" sz="1200" b="0" i="0" u="none" strike="noStrike">
                          <a:solidFill>
                            <a:srgbClr val="FFFFFF"/>
                          </a:solidFill>
                          <a:effectLst/>
                          <a:latin typeface="Arial" panose="020B0604020202020204" pitchFamily="34" charset="0"/>
                        </a:rPr>
                        <a:t>+2.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632843613"/>
                  </a:ext>
                </a:extLst>
              </a:tr>
              <a:tr h="338250">
                <a:tc>
                  <a:txBody>
                    <a:bodyPr/>
                    <a:lstStyle/>
                    <a:p>
                      <a:pPr algn="l" fontAlgn="b"/>
                      <a:endParaRPr lang="en-GB" sz="1100" b="1" i="0" u="none" strike="noStrike" dirty="0">
                        <a:solidFill>
                          <a:schemeClr val="accent6"/>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US" sz="1200" b="0" i="0" u="none" strike="noStrike">
                          <a:solidFill>
                            <a:srgbClr val="FFFFFF"/>
                          </a:solidFill>
                          <a:effectLst/>
                          <a:latin typeface="Arial" panose="020B0604020202020204" pitchFamily="34" charset="0"/>
                        </a:rPr>
                        <a:t>-0.7%</a:t>
                      </a: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buNone/>
                      </a:pPr>
                      <a:r>
                        <a:rPr lang="en-US" sz="1200" b="0" i="0" u="none" strike="noStrike">
                          <a:solidFill>
                            <a:srgbClr val="FFFFFF"/>
                          </a:solidFill>
                          <a:effectLst/>
                          <a:latin typeface="Arial" panose="020B0604020202020204" pitchFamily="34" charset="0"/>
                        </a:rPr>
                        <a:t>-14.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320700965"/>
                  </a:ext>
                </a:extLst>
              </a:tr>
              <a:tr h="338250">
                <a:tc>
                  <a:txBody>
                    <a:bodyPr/>
                    <a:lstStyle/>
                    <a:p>
                      <a:pPr algn="l" fontAlgn="b"/>
                      <a:endParaRPr lang="en-GB" sz="1100" b="1" i="0" u="none" strike="noStrike" dirty="0">
                        <a:solidFill>
                          <a:schemeClr val="accent3"/>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US" sz="1200" b="0" i="0" u="none" strike="noStrike">
                          <a:solidFill>
                            <a:srgbClr val="FFFFFF"/>
                          </a:solidFill>
                          <a:effectLst/>
                          <a:latin typeface="Arial" panose="020B0604020202020204" pitchFamily="34" charset="0"/>
                        </a:rPr>
                        <a:t>-0.1%</a:t>
                      </a: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buNone/>
                      </a:pPr>
                      <a:r>
                        <a:rPr lang="en-US" sz="1200" b="0" i="0" u="none" strike="noStrike">
                          <a:solidFill>
                            <a:srgbClr val="FFFFFF"/>
                          </a:solidFill>
                          <a:effectLst/>
                          <a:latin typeface="Arial" panose="020B0604020202020204" pitchFamily="34" charset="0"/>
                        </a:rPr>
                        <a:t>+0.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575796703"/>
                  </a:ext>
                </a:extLst>
              </a:tr>
              <a:tr h="338250">
                <a:tc>
                  <a:txBody>
                    <a:bodyPr/>
                    <a:lstStyle/>
                    <a:p>
                      <a:pPr algn="l" fontAlgn="b"/>
                      <a:endParaRPr lang="en-GB" sz="1100" b="1" i="0" u="none" strike="noStrike" dirty="0">
                        <a:solidFill>
                          <a:srgbClr val="C00000"/>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r>
                        <a:rPr lang="en-US" sz="1200" b="0" i="0" u="none" strike="noStrike">
                          <a:solidFill>
                            <a:srgbClr val="FFFFFF"/>
                          </a:solidFill>
                          <a:effectLst/>
                          <a:latin typeface="Arial" panose="020B0604020202020204" pitchFamily="34" charset="0"/>
                        </a:rPr>
                        <a:t>-0.3%</a:t>
                      </a: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buNone/>
                      </a:pPr>
                      <a:r>
                        <a:rPr lang="en-US" sz="1200" b="0" i="0" u="none" strike="noStrike" dirty="0">
                          <a:solidFill>
                            <a:srgbClr val="FFFFFF"/>
                          </a:solidFill>
                          <a:effectLst/>
                          <a:latin typeface="Arial" panose="020B0604020202020204" pitchFamily="34" charset="0"/>
                        </a:rPr>
                        <a:t>-0.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660997661"/>
                  </a:ext>
                </a:extLst>
              </a:tr>
            </a:tbl>
          </a:graphicData>
        </a:graphic>
      </p:graphicFrame>
      <p:graphicFrame>
        <p:nvGraphicFramePr>
          <p:cNvPr id="11" name="Chart 10">
            <a:extLst>
              <a:ext uri="{FF2B5EF4-FFF2-40B4-BE49-F238E27FC236}">
                <a16:creationId xmlns:a16="http://schemas.microsoft.com/office/drawing/2014/main" id="{00020B97-92C0-B562-C83F-B05734EEDD30}"/>
              </a:ext>
            </a:extLst>
          </p:cNvPr>
          <p:cNvGraphicFramePr/>
          <p:nvPr/>
        </p:nvGraphicFramePr>
        <p:xfrm>
          <a:off x="8694199" y="4488060"/>
          <a:ext cx="1364202" cy="20164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able 6">
            <a:extLst>
              <a:ext uri="{FF2B5EF4-FFF2-40B4-BE49-F238E27FC236}">
                <a16:creationId xmlns:a16="http://schemas.microsoft.com/office/drawing/2014/main" id="{F255A91E-A50D-34BD-7032-6CC77E9726E6}"/>
              </a:ext>
            </a:extLst>
          </p:cNvPr>
          <p:cNvGraphicFramePr>
            <a:graphicFrameLocks noGrp="1"/>
          </p:cNvGraphicFramePr>
          <p:nvPr/>
        </p:nvGraphicFramePr>
        <p:xfrm>
          <a:off x="8824577" y="1694660"/>
          <a:ext cx="2898677" cy="2107716"/>
        </p:xfrm>
        <a:graphic>
          <a:graphicData uri="http://schemas.openxmlformats.org/drawingml/2006/table">
            <a:tbl>
              <a:tblPr firstRow="1" bandRow="1">
                <a:tableStyleId>{5940675A-B579-460E-94D1-54222C63F5DA}</a:tableStyleId>
              </a:tblPr>
              <a:tblGrid>
                <a:gridCol w="1247159">
                  <a:extLst>
                    <a:ext uri="{9D8B030D-6E8A-4147-A177-3AD203B41FA5}">
                      <a16:colId xmlns:a16="http://schemas.microsoft.com/office/drawing/2014/main" val="4144709662"/>
                    </a:ext>
                  </a:extLst>
                </a:gridCol>
                <a:gridCol w="825759">
                  <a:extLst>
                    <a:ext uri="{9D8B030D-6E8A-4147-A177-3AD203B41FA5}">
                      <a16:colId xmlns:a16="http://schemas.microsoft.com/office/drawing/2014/main" val="4255639411"/>
                    </a:ext>
                  </a:extLst>
                </a:gridCol>
                <a:gridCol w="825759">
                  <a:extLst>
                    <a:ext uri="{9D8B030D-6E8A-4147-A177-3AD203B41FA5}">
                      <a16:colId xmlns:a16="http://schemas.microsoft.com/office/drawing/2014/main" val="530556039"/>
                    </a:ext>
                  </a:extLst>
                </a:gridCol>
              </a:tblGrid>
              <a:tr h="358872">
                <a:tc>
                  <a:txBody>
                    <a:bodyPr/>
                    <a:lstStyle/>
                    <a:p>
                      <a:pPr algn="l" fontAlgn="b"/>
                      <a:r>
                        <a:rPr lang="en-GB" sz="1000" b="1" i="0" u="none" strike="noStrike">
                          <a:solidFill>
                            <a:srgbClr val="000000"/>
                          </a:solidFill>
                          <a:effectLst/>
                          <a:latin typeface="Noto Sans (Body)"/>
                        </a:rPr>
                        <a:t>Change in Store Count</a:t>
                      </a:r>
                      <a:endParaRPr lang="en-GB" sz="1000" b="1" i="0" u="none" strike="noStrike" dirty="0">
                        <a:solidFill>
                          <a:srgbClr val="000000"/>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GB" sz="1000" b="1" i="0" u="none" strike="noStrike">
                          <a:solidFill>
                            <a:srgbClr val="000000"/>
                          </a:solidFill>
                          <a:effectLst/>
                          <a:latin typeface="Noto Sans (Body)"/>
                        </a:rPr>
                        <a:t>YoY           (vs. Feb 25)</a:t>
                      </a:r>
                      <a:endParaRPr lang="en-GB" sz="1000" b="1" i="0" u="none" strike="noStrike" dirty="0">
                        <a:solidFill>
                          <a:srgbClr val="000000"/>
                        </a:solidFill>
                        <a:effectLst/>
                        <a:latin typeface="Noto Sans (Body)"/>
                      </a:endParaRPr>
                    </a:p>
                  </a:txBody>
                  <a:tcPr marL="7620" marR="7620" marT="7620"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1000" b="1" i="0" u="none" strike="noStrike">
                          <a:solidFill>
                            <a:srgbClr val="000000"/>
                          </a:solidFill>
                          <a:effectLst/>
                          <a:latin typeface="Noto Sans (Body)"/>
                        </a:rPr>
                        <a:t>5 Years        (vs. Feb 22)</a:t>
                      </a:r>
                      <a:endParaRPr lang="en-GB" sz="1000" b="1" i="0" u="none" strike="noStrike" dirty="0">
                        <a:solidFill>
                          <a:srgbClr val="000000"/>
                        </a:solidFill>
                        <a:effectLst/>
                        <a:latin typeface="Noto Sans (Body)"/>
                      </a:endParaRP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22776538"/>
                  </a:ext>
                </a:extLst>
              </a:tr>
              <a:tr h="291474">
                <a:tc>
                  <a:txBody>
                    <a:bodyPr/>
                    <a:lstStyle/>
                    <a:p>
                      <a:pPr algn="l" fontAlgn="b"/>
                      <a:r>
                        <a:rPr lang="en-GB" sz="1100" b="1" i="0" u="none" strike="noStrike">
                          <a:solidFill>
                            <a:srgbClr val="00A3E0"/>
                          </a:solidFill>
                          <a:effectLst/>
                          <a:latin typeface="Noto Sans (Body)"/>
                        </a:rPr>
                        <a:t>Independents</a:t>
                      </a:r>
                      <a:endParaRPr lang="en-GB" sz="1100" b="1" i="0" u="none" strike="noStrike" dirty="0">
                        <a:solidFill>
                          <a:srgbClr val="00A3E0"/>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B050"/>
                          </a:solidFill>
                          <a:effectLst/>
                          <a:latin typeface="Noto Sans (Body)"/>
                        </a:rPr>
                        <a:t>+126</a:t>
                      </a:r>
                      <a:endParaRPr lang="en-US" sz="1200" b="0" i="0" u="none" strike="noStrike" dirty="0">
                        <a:solidFill>
                          <a:srgbClr val="00B050"/>
                        </a:solidFill>
                        <a:effectLst/>
                        <a:latin typeface="Noto Sans (Body)"/>
                      </a:endParaRP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B050"/>
                          </a:solidFill>
                          <a:effectLst/>
                          <a:latin typeface="Noto Sans (Body)"/>
                        </a:rPr>
                        <a:t>+952</a:t>
                      </a:r>
                      <a:endParaRPr lang="en-US" sz="1200" b="0" i="0" u="none" strike="noStrike" dirty="0">
                        <a:solidFill>
                          <a:srgbClr val="00B050"/>
                        </a:solidFill>
                        <a:effectLst/>
                        <a:latin typeface="Noto Sans (Body)"/>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816890"/>
                  </a:ext>
                </a:extLst>
              </a:tr>
              <a:tr h="291474">
                <a:tc>
                  <a:txBody>
                    <a:bodyPr/>
                    <a:lstStyle/>
                    <a:p>
                      <a:pPr algn="l" fontAlgn="b"/>
                      <a:r>
                        <a:rPr lang="en-GB" sz="1100" b="1" i="0" u="none" strike="noStrike">
                          <a:solidFill>
                            <a:srgbClr val="005587"/>
                          </a:solidFill>
                          <a:effectLst/>
                          <a:latin typeface="Noto Sans (Body)"/>
                        </a:rPr>
                        <a:t>Regional Chains</a:t>
                      </a:r>
                      <a:endParaRPr lang="en-GB" sz="1100" b="1" i="0" u="none" strike="noStrike" dirty="0">
                        <a:solidFill>
                          <a:srgbClr val="005587"/>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FF0000"/>
                          </a:solidFill>
                          <a:effectLst/>
                          <a:latin typeface="Noto Sans (Body)"/>
                        </a:rPr>
                        <a:t>-59</a:t>
                      </a:r>
                      <a:endParaRPr lang="en-US" sz="1200" b="0" i="0" u="none" strike="noStrike" dirty="0">
                        <a:solidFill>
                          <a:srgbClr val="FF0000"/>
                        </a:solidFill>
                        <a:effectLst/>
                        <a:latin typeface="Noto Sans (Body)"/>
                      </a:endParaRP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B050"/>
                          </a:solidFill>
                          <a:effectLst/>
                          <a:latin typeface="Noto Sans (Body)"/>
                        </a:rPr>
                        <a:t>+148</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32843613"/>
                  </a:ext>
                </a:extLst>
              </a:tr>
              <a:tr h="291474">
                <a:tc>
                  <a:txBody>
                    <a:bodyPr/>
                    <a:lstStyle/>
                    <a:p>
                      <a:pPr algn="l" fontAlgn="b"/>
                      <a:r>
                        <a:rPr lang="en-GB" sz="1100" b="1" i="0" u="none" strike="noStrike">
                          <a:solidFill>
                            <a:srgbClr val="027223"/>
                          </a:solidFill>
                          <a:effectLst/>
                          <a:latin typeface="Noto Sans (Body)"/>
                        </a:rPr>
                        <a:t>National Chains</a:t>
                      </a:r>
                      <a:endParaRPr lang="en-GB" sz="1100" b="1" i="0" u="none" strike="noStrike" dirty="0">
                        <a:solidFill>
                          <a:srgbClr val="027223"/>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FF0000"/>
                          </a:solidFill>
                          <a:effectLst/>
                          <a:latin typeface="Noto Sans (Body)"/>
                        </a:rPr>
                        <a:t>-90</a:t>
                      </a:r>
                      <a:endParaRPr lang="en-US" sz="1200" b="0" i="0" u="none" strike="noStrike" dirty="0">
                        <a:solidFill>
                          <a:srgbClr val="FF0000"/>
                        </a:solidFill>
                        <a:effectLst/>
                        <a:latin typeface="Noto Sans (Body)"/>
                      </a:endParaRP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FF0000"/>
                          </a:solidFill>
                          <a:effectLst/>
                          <a:latin typeface="Noto Sans (Body)"/>
                        </a:rPr>
                        <a:t>-173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0700965"/>
                  </a:ext>
                </a:extLst>
              </a:tr>
              <a:tr h="291474">
                <a:tc>
                  <a:txBody>
                    <a:bodyPr/>
                    <a:lstStyle/>
                    <a:p>
                      <a:pPr algn="l" fontAlgn="b"/>
                      <a:r>
                        <a:rPr lang="en-GB" sz="1100" b="1" i="0" u="none" strike="noStrike">
                          <a:solidFill>
                            <a:srgbClr val="00BFB3"/>
                          </a:solidFill>
                          <a:effectLst/>
                          <a:latin typeface="Noto Sans (Body)"/>
                        </a:rPr>
                        <a:t>Supermarkets</a:t>
                      </a:r>
                      <a:endParaRPr lang="en-GB" sz="1100" b="1" i="0" u="none" strike="noStrike" dirty="0">
                        <a:solidFill>
                          <a:srgbClr val="00BFB3"/>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FF0000"/>
                          </a:solidFill>
                          <a:effectLst/>
                          <a:latin typeface="Noto Sans (Body)"/>
                        </a:rPr>
                        <a:t>-10</a:t>
                      </a:r>
                      <a:endParaRPr lang="en-US" sz="1200" b="0" i="0" u="none" strike="noStrike" dirty="0">
                        <a:solidFill>
                          <a:srgbClr val="FF0000"/>
                        </a:solidFill>
                        <a:effectLst/>
                        <a:latin typeface="Noto Sans (Body)"/>
                      </a:endParaRP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FF0000"/>
                          </a:solidFill>
                          <a:effectLst/>
                          <a:latin typeface="Noto Sans (Body)"/>
                        </a:rPr>
                        <a:t>-3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75796703"/>
                  </a:ext>
                </a:extLst>
              </a:tr>
              <a:tr h="291474">
                <a:tc>
                  <a:txBody>
                    <a:bodyPr/>
                    <a:lstStyle/>
                    <a:p>
                      <a:pPr algn="l" fontAlgn="b"/>
                      <a:r>
                        <a:rPr lang="en-GB" sz="1100" b="1" i="0" u="none" strike="noStrike">
                          <a:solidFill>
                            <a:srgbClr val="C00000"/>
                          </a:solidFill>
                          <a:effectLst/>
                          <a:latin typeface="Noto Sans (Body)"/>
                        </a:rPr>
                        <a:t>DSPs</a:t>
                      </a:r>
                      <a:endParaRPr lang="en-GB" sz="1100" b="1" i="0" u="none" strike="noStrike" dirty="0">
                        <a:solidFill>
                          <a:srgbClr val="C00000"/>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FF0000"/>
                          </a:solidFill>
                          <a:effectLst/>
                          <a:latin typeface="Noto Sans (Body)"/>
                        </a:rPr>
                        <a:t>-30</a:t>
                      </a:r>
                      <a:endParaRPr lang="en-US" sz="1200" b="0" i="0" u="none" strike="noStrike" dirty="0">
                        <a:solidFill>
                          <a:srgbClr val="FF0000"/>
                        </a:solidFill>
                        <a:effectLst/>
                        <a:latin typeface="Noto Sans (Body)"/>
                      </a:endParaRP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FF0000"/>
                          </a:solidFill>
                          <a:effectLst/>
                          <a:latin typeface="Noto Sans (Body)"/>
                        </a:rPr>
                        <a:t>-44</a:t>
                      </a:r>
                      <a:endParaRPr lang="en-US" sz="1200" b="0" i="0" u="none" strike="noStrike" dirty="0">
                        <a:solidFill>
                          <a:srgbClr val="FF0000"/>
                        </a:solidFill>
                        <a:effectLst/>
                        <a:latin typeface="Noto Sans (Body)"/>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dash"/>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60997661"/>
                  </a:ext>
                </a:extLst>
              </a:tr>
              <a:tr h="291474">
                <a:tc>
                  <a:txBody>
                    <a:bodyPr/>
                    <a:lstStyle/>
                    <a:p>
                      <a:pPr algn="l" fontAlgn="b"/>
                      <a:r>
                        <a:rPr lang="en-GB" sz="1100" b="1" i="0" u="none" strike="noStrike">
                          <a:solidFill>
                            <a:srgbClr val="000000"/>
                          </a:solidFill>
                          <a:effectLst/>
                          <a:latin typeface="Noto Sans (Body)"/>
                        </a:rPr>
                        <a:t>Market</a:t>
                      </a:r>
                      <a:endParaRPr lang="en-GB" sz="1100" b="1" i="0" u="none" strike="noStrike" dirty="0">
                        <a:solidFill>
                          <a:srgbClr val="000000"/>
                        </a:solidFill>
                        <a:effectLst/>
                        <a:latin typeface="Noto Sans (Body)"/>
                      </a:endParaRPr>
                    </a:p>
                  </a:txBody>
                  <a:tcPr marL="36000" marR="7620" marT="7620" marB="0" anchor="ctr">
                    <a:lnL w="9525" cap="flat" cmpd="sng" algn="ctr">
                      <a:no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ctr"/>
                      <a:r>
                        <a:rPr lang="en-US" sz="1200" b="1" i="0" u="none" strike="noStrike">
                          <a:solidFill>
                            <a:srgbClr val="FF0000"/>
                          </a:solidFill>
                          <a:effectLst/>
                          <a:latin typeface="Noto Sans (Body)"/>
                        </a:rPr>
                        <a:t>-63</a:t>
                      </a:r>
                    </a:p>
                  </a:txBody>
                  <a:tcPr marL="9525" marR="9525" marT="9525" marB="0" anchor="ctr">
                    <a:lnL w="317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a:solidFill>
                            <a:srgbClr val="FF0000"/>
                          </a:solidFill>
                          <a:effectLst/>
                          <a:latin typeface="Noto Sans (Body)"/>
                        </a:rPr>
                        <a:t>-705</a:t>
                      </a:r>
                      <a:endParaRPr lang="en-US" sz="1200" b="1" i="0" u="none" strike="noStrike" dirty="0">
                        <a:solidFill>
                          <a:srgbClr val="FF0000"/>
                        </a:solidFill>
                        <a:effectLst/>
                        <a:latin typeface="Noto Sans (Body)"/>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7766620"/>
                  </a:ext>
                </a:extLst>
              </a:tr>
            </a:tbl>
          </a:graphicData>
        </a:graphic>
      </p:graphicFrame>
    </p:spTree>
    <p:extLst>
      <p:ext uri="{BB962C8B-B14F-4D97-AF65-F5344CB8AC3E}">
        <p14:creationId xmlns:p14="http://schemas.microsoft.com/office/powerpoint/2010/main" val="40022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C301A-9ED0-570B-23F5-58C98D5FDC2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9E7403F-DC88-4530-29D6-04F68C2CB57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6" name="think-cell data - do not delete" hidden="1">
                        <a:extLst>
                          <a:ext uri="{FF2B5EF4-FFF2-40B4-BE49-F238E27FC236}">
                            <a16:creationId xmlns:a16="http://schemas.microsoft.com/office/drawing/2014/main" id="{E9E7403F-DC88-4530-29D6-04F68C2CB5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76BBA9A7-0202-B3B4-6E44-CB22A942C4F1}"/>
              </a:ext>
            </a:extLst>
          </p:cNvPr>
          <p:cNvSpPr>
            <a:spLocks noGrp="1"/>
          </p:cNvSpPr>
          <p:nvPr>
            <p:ph type="body" sz="quarter" idx="16"/>
          </p:nvPr>
        </p:nvSpPr>
        <p:spPr/>
        <p:txBody>
          <a:bodyPr/>
          <a:lstStyle/>
          <a:p>
            <a:r>
              <a:rPr lang="en-US" dirty="0"/>
              <a:t>In 2025/26, there have been no national chains, supermarket or DSP openings</a:t>
            </a:r>
          </a:p>
        </p:txBody>
      </p:sp>
      <p:sp>
        <p:nvSpPr>
          <p:cNvPr id="9" name="Title 1">
            <a:extLst>
              <a:ext uri="{FF2B5EF4-FFF2-40B4-BE49-F238E27FC236}">
                <a16:creationId xmlns:a16="http://schemas.microsoft.com/office/drawing/2014/main" id="{9D236B96-5726-E4CB-8B8E-9B19AF69A551}"/>
              </a:ext>
            </a:extLst>
          </p:cNvPr>
          <p:cNvSpPr>
            <a:spLocks noGrp="1"/>
          </p:cNvSpPr>
          <p:nvPr>
            <p:ph type="title"/>
          </p:nvPr>
        </p:nvSpPr>
        <p:spPr/>
        <p:txBody>
          <a:bodyPr vert="horz"/>
          <a:lstStyle/>
          <a:p>
            <a:r>
              <a:rPr lang="en-GB"/>
              <a:t>Independents contractors consistently account for the most store openings</a:t>
            </a:r>
          </a:p>
        </p:txBody>
      </p:sp>
      <p:sp>
        <p:nvSpPr>
          <p:cNvPr id="3" name="Footer Placeholder 2">
            <a:extLst>
              <a:ext uri="{FF2B5EF4-FFF2-40B4-BE49-F238E27FC236}">
                <a16:creationId xmlns:a16="http://schemas.microsoft.com/office/drawing/2014/main" id="{3B83D952-F6FA-1BF0-D701-98603602CCB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B3A42"/>
                </a:solidFill>
                <a:effectLst/>
                <a:uLnTx/>
                <a:uFillTx/>
                <a:latin typeface="Noto Sans"/>
                <a:ea typeface="+mn-ea"/>
                <a:cs typeface="+mn-cs"/>
              </a:rPr>
              <a:t>Source: NHS TRUD Organisation data</a:t>
            </a:r>
          </a:p>
        </p:txBody>
      </p:sp>
      <p:sp>
        <p:nvSpPr>
          <p:cNvPr id="10" name="TextBox 9">
            <a:extLst>
              <a:ext uri="{FF2B5EF4-FFF2-40B4-BE49-F238E27FC236}">
                <a16:creationId xmlns:a16="http://schemas.microsoft.com/office/drawing/2014/main" id="{68F7BDF3-C0EE-0C89-2A96-CC0DC2EB8D32}"/>
              </a:ext>
            </a:extLst>
          </p:cNvPr>
          <p:cNvSpPr txBox="1"/>
          <p:nvPr/>
        </p:nvSpPr>
        <p:spPr>
          <a:xfrm>
            <a:off x="0" y="1831"/>
            <a:ext cx="48799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Noto Sans"/>
                <a:ea typeface="+mn-ea"/>
                <a:cs typeface="+mn-cs"/>
              </a:rPr>
              <a:t>NHS England – Pharmacy Contractors – </a:t>
            </a:r>
            <a:r>
              <a:rPr kumimoji="0" lang="en-GB" sz="1000" b="1" i="1" u="none" strike="noStrike" kern="1200" cap="none" spc="0" normalizeH="0" baseline="0" noProof="0">
                <a:ln>
                  <a:noFill/>
                </a:ln>
                <a:solidFill>
                  <a:srgbClr val="000000"/>
                </a:solidFill>
                <a:effectLst/>
                <a:uLnTx/>
                <a:uFillTx/>
                <a:latin typeface="Noto Sans"/>
                <a:ea typeface="+mn-ea"/>
                <a:cs typeface="+mn-cs"/>
              </a:rPr>
              <a:t>Month (MoM)</a:t>
            </a:r>
          </a:p>
        </p:txBody>
      </p:sp>
      <p:graphicFrame>
        <p:nvGraphicFramePr>
          <p:cNvPr id="4" name="Chart 3">
            <a:extLst>
              <a:ext uri="{FF2B5EF4-FFF2-40B4-BE49-F238E27FC236}">
                <a16:creationId xmlns:a16="http://schemas.microsoft.com/office/drawing/2014/main" id="{8F332D10-FFA6-C200-2267-73A2CBA2B4E0}"/>
              </a:ext>
            </a:extLst>
          </p:cNvPr>
          <p:cNvGraphicFramePr/>
          <p:nvPr/>
        </p:nvGraphicFramePr>
        <p:xfrm>
          <a:off x="287120" y="1770996"/>
          <a:ext cx="11436134" cy="17917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Chart 1">
            <a:extLst>
              <a:ext uri="{FF2B5EF4-FFF2-40B4-BE49-F238E27FC236}">
                <a16:creationId xmlns:a16="http://schemas.microsoft.com/office/drawing/2014/main" id="{6E006C1F-6DD6-D155-31F1-E89136577163}"/>
              </a:ext>
            </a:extLst>
          </p:cNvPr>
          <p:cNvGraphicFramePr/>
          <p:nvPr/>
        </p:nvGraphicFramePr>
        <p:xfrm>
          <a:off x="287121" y="3562709"/>
          <a:ext cx="11436134" cy="267672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479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YA6p9tNUH7UbyV5uuZK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hXPj.cxpVm5Hv2GOYh4O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ueH7PLE7WOk9X.z8j7I5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KtHczspgcWUnmexicE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KGlWLnDvaEo6mmkzfVP8Z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Y8pfhpV0MfuhJy0nMBIV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cA5jwpoWlW5Q451KN5R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HbaK_2InfxI.e9ibEYmn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4MWMNiGHnYhVSs7BEonVA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WH0sKQJ2Bo8TU8xZmSqD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_lTA33airl_Hohoverf33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HC7Dp_SB0bxYbaS5obo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boIlOvk.3r6KWmqhscE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Ttcc4qjZS8HegjzPnrFU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AH5GxNWMQJTcd5_1Eyf7W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6t_HZiUTZxzz1IDYgX4b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0rkSDtJX.ieWSkWwKwrt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xcP_upnycPO7H9mNm6pA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3xzppLyPF.jeaKP2hjHm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3yDvNPemPpesJ3TjeDF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Ge4KU9gIUna1dDD3syrz2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lTYqWRTwwBhuGqJoqagCJ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vzMTUmdZdTWEF36IxPu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BedDdwSvnjSarRqwC8xsW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B292mB45YAigP5cGfAWB2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n57VRdPZ1SjHNvyKiDJ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pMxJqZtPA5Oo30c_r7p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CvjlSuregNogiV.lKZT5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0.ePzmTcIuyzogSJoPEa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hN.oW7oiR6.nrjT_2JBC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1GacCU2m5zjdS3Yc7WS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ovMKdqPbH9ntTW4kn7E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5gnG.21pp2AvKsxjltJ_u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ajLufca43fiKDhhsSZLc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loQPB0kG05B6R74RT9bS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TErPIj5HDg8B1o0m5y7.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cRCyRsfM1nhq2P8H2aKEn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olYw9zighdOwTkhuoWe4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fLhFnjZmsEg.VLcQczYe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gf18XQ8ug3xJDVEYgYZjX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0vvSSHs5P9RDv83Y__9s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6h_3CjYe3SWGulaHR.Mk6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ASAO8_gnOi8aSrIGyC7O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Ipj0HKJJcogve4rKnOuLP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f030rF4YgMYTyKhCCtJC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9zBXtDXgrIsHorg9oDT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Y74fr5QcqD3ZIFY5XB78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RpvwxtExYiBgBIU_6KXm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XUO4KitAA5ePwW_YlIqKi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SxyydfR26vyQzP5L7AsJ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3ezxMZDu8WLLKRw5c_4R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_717YELnQ7vUQrTQZvcuu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Db03XTbjb9SnO29sOR6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G0dgat5jhax5GToilDNT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a1GYkYuAA1ZH.RYkAfWR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E7IcD_guU3Zk6HZkb4SB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4LSa0vECcBWuAymqtFOq3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jupawv38OKCMF2AKh_S6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QVIA_V4.0.0">
  <a:themeElements>
    <a:clrScheme name="IQVIA_2026">
      <a:dk1>
        <a:srgbClr val="2B3A42"/>
      </a:dk1>
      <a:lt1>
        <a:srgbClr val="FFFFFF"/>
      </a:lt1>
      <a:dk2>
        <a:srgbClr val="140B42"/>
      </a:dk2>
      <a:lt2>
        <a:srgbClr val="F3F3F3"/>
      </a:lt2>
      <a:accent1>
        <a:srgbClr val="00A3E0"/>
      </a:accent1>
      <a:accent2>
        <a:srgbClr val="005587"/>
      </a:accent2>
      <a:accent3>
        <a:srgbClr val="00BFB3"/>
      </a:accent3>
      <a:accent4>
        <a:srgbClr val="008F86"/>
      </a:accent4>
      <a:accent5>
        <a:srgbClr val="43B02A"/>
      </a:accent5>
      <a:accent6>
        <a:srgbClr val="027223"/>
      </a:accent6>
      <a:hlink>
        <a:srgbClr val="00A3E0"/>
      </a:hlink>
      <a:folHlink>
        <a:srgbClr val="005587"/>
      </a:folHlink>
    </a:clrScheme>
    <a:fontScheme name="IQVIA_2026">
      <a:majorFont>
        <a:latin typeface="Noto Sa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defPPr>
      </a:lstStyle>
    </a:txDef>
  </a:objectDefaults>
  <a:extraClrSchemeLst/>
  <a:extLst>
    <a:ext uri="{05A4C25C-085E-4340-85A3-A5531E510DB2}">
      <thm15:themeFamily xmlns:thm15="http://schemas.microsoft.com/office/thememl/2012/main" name="20 - IQVIA PowerPoint Template" id="{D93D497C-8ABA-45C5-8CD8-FD324CF3AC3A}" vid="{AE1DFBD2-EC1C-4E39-B0E5-FE8E309A65DC}"/>
    </a:ext>
  </a:extLst>
</a:theme>
</file>

<file path=ppt/theme/theme2.xml><?xml version="1.0" encoding="utf-8"?>
<a:theme xmlns:a="http://schemas.openxmlformats.org/drawingml/2006/main" name="2_IQVIA_V4.0.0">
  <a:themeElements>
    <a:clrScheme name="IQVIA_2026">
      <a:dk1>
        <a:srgbClr val="2B3A42"/>
      </a:dk1>
      <a:lt1>
        <a:srgbClr val="FFFFFF"/>
      </a:lt1>
      <a:dk2>
        <a:srgbClr val="140B42"/>
      </a:dk2>
      <a:lt2>
        <a:srgbClr val="F3F3F3"/>
      </a:lt2>
      <a:accent1>
        <a:srgbClr val="00A3E0"/>
      </a:accent1>
      <a:accent2>
        <a:srgbClr val="005587"/>
      </a:accent2>
      <a:accent3>
        <a:srgbClr val="00BFB3"/>
      </a:accent3>
      <a:accent4>
        <a:srgbClr val="008F86"/>
      </a:accent4>
      <a:accent5>
        <a:srgbClr val="43B02A"/>
      </a:accent5>
      <a:accent6>
        <a:srgbClr val="027223"/>
      </a:accent6>
      <a:hlink>
        <a:srgbClr val="00A3E0"/>
      </a:hlink>
      <a:folHlink>
        <a:srgbClr val="005587"/>
      </a:folHlink>
    </a:clrScheme>
    <a:fontScheme name="IQVIA_2026">
      <a:majorFont>
        <a:latin typeface="Noto Sa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defPPr>
      </a:lstStyle>
    </a:txDef>
  </a:objectDefaults>
  <a:extraClrSchemeLst/>
  <a:extLst>
    <a:ext uri="{05A4C25C-085E-4340-85A3-A5531E510DB2}">
      <thm15:themeFamily xmlns:thm15="http://schemas.microsoft.com/office/thememl/2012/main" name="20 - IQVIA PowerPoint Template" id="{681B8FA6-783C-4064-AD29-ED915C0E4723}" vid="{9C6AE803-A862-4FB3-AAE9-E4D8839A5974}"/>
    </a:ext>
  </a:extLst>
</a:theme>
</file>

<file path=ppt/theme/theme3.xml><?xml version="1.0" encoding="utf-8"?>
<a:theme xmlns:a="http://schemas.openxmlformats.org/drawingml/2006/main" name="IQVIA_V4.0.0">
  <a:themeElements>
    <a:clrScheme name="IQVIA_2026">
      <a:dk1>
        <a:srgbClr val="2B3A42"/>
      </a:dk1>
      <a:lt1>
        <a:srgbClr val="FFFFFF"/>
      </a:lt1>
      <a:dk2>
        <a:srgbClr val="140B42"/>
      </a:dk2>
      <a:lt2>
        <a:srgbClr val="F3F3F3"/>
      </a:lt2>
      <a:accent1>
        <a:srgbClr val="00A3E0"/>
      </a:accent1>
      <a:accent2>
        <a:srgbClr val="005587"/>
      </a:accent2>
      <a:accent3>
        <a:srgbClr val="00BFB3"/>
      </a:accent3>
      <a:accent4>
        <a:srgbClr val="008F86"/>
      </a:accent4>
      <a:accent5>
        <a:srgbClr val="43B02A"/>
      </a:accent5>
      <a:accent6>
        <a:srgbClr val="027223"/>
      </a:accent6>
      <a:hlink>
        <a:srgbClr val="00A3E0"/>
      </a:hlink>
      <a:folHlink>
        <a:srgbClr val="005587"/>
      </a:folHlink>
    </a:clrScheme>
    <a:fontScheme name="IQVIA_2026">
      <a:majorFont>
        <a:latin typeface="Noto Sa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defPPr>
      </a:lstStyle>
    </a:txDef>
  </a:objectDefaults>
  <a:extraClrSchemeLst/>
  <a:extLst>
    <a:ext uri="{05A4C25C-085E-4340-85A3-A5531E510DB2}">
      <thm15:themeFamily xmlns:thm15="http://schemas.microsoft.com/office/thememl/2012/main" name="Presentation3" id="{32C60C94-CEA8-46C2-BF76-484874A62A87}" vid="{5FEE722D-C188-404F-AAAA-6E3794A31C2F}"/>
    </a:ext>
  </a:extLst>
</a:theme>
</file>

<file path=ppt/theme/theme4.xml><?xml version="1.0" encoding="utf-8"?>
<a:theme xmlns:a="http://schemas.openxmlformats.org/drawingml/2006/main" name="6_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4" id="{30244D88-8531-4CD3-A548-5DE598700F7B}" vid="{13761A20-9AC9-4E44-ABC3-6DB12459EE07}"/>
    </a:ext>
  </a:extLst>
</a:theme>
</file>

<file path=ppt/theme/theme5.xml><?xml version="1.0" encoding="utf-8"?>
<a:theme xmlns:a="http://schemas.openxmlformats.org/drawingml/2006/main" name="1_IQVIA 2026">
  <a:themeElements>
    <a:clrScheme name="IQVIA_2026">
      <a:dk1>
        <a:srgbClr val="2B3A42"/>
      </a:dk1>
      <a:lt1>
        <a:srgbClr val="FFFFFF"/>
      </a:lt1>
      <a:dk2>
        <a:srgbClr val="140B42"/>
      </a:dk2>
      <a:lt2>
        <a:srgbClr val="F3F3F3"/>
      </a:lt2>
      <a:accent1>
        <a:srgbClr val="00A3E0"/>
      </a:accent1>
      <a:accent2>
        <a:srgbClr val="005587"/>
      </a:accent2>
      <a:accent3>
        <a:srgbClr val="00BFB3"/>
      </a:accent3>
      <a:accent4>
        <a:srgbClr val="008F86"/>
      </a:accent4>
      <a:accent5>
        <a:srgbClr val="43B02A"/>
      </a:accent5>
      <a:accent6>
        <a:srgbClr val="027223"/>
      </a:accent6>
      <a:hlink>
        <a:srgbClr val="00A3E0"/>
      </a:hlink>
      <a:folHlink>
        <a:srgbClr val="005587"/>
      </a:folHlink>
    </a:clrScheme>
    <a:fontScheme name="IQVIA_2026">
      <a:majorFont>
        <a:latin typeface="Noto Sa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defPPr>
      </a:lstStyle>
    </a:txDef>
  </a:objectDefaults>
  <a:extraClrSchemeLst/>
  <a:extLst>
    <a:ext uri="{05A4C25C-085E-4340-85A3-A5531E510DB2}">
      <thm15:themeFamily xmlns:thm15="http://schemas.microsoft.com/office/thememl/2012/main" name="IQVIA 2026" id="{F4F3F5C5-0B93-4475-B392-7357F694303B}" vid="{49EB7B5E-2910-4991-BF06-686E5725ED6F}"/>
    </a:ext>
  </a:extLst>
</a:theme>
</file>

<file path=ppt/theme/theme6.xml><?xml version="1.0" encoding="utf-8"?>
<a:theme xmlns:a="http://schemas.openxmlformats.org/drawingml/2006/main" name="3_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Corporate PowerPoint Template" id="{CFB3A099-8EA2-4B2C-9200-1914E5D219C0}" vid="{D033992A-36D5-46E8-B564-F6DA75A1DC77}"/>
    </a:ext>
  </a:extLst>
</a:theme>
</file>

<file path=ppt/theme/theme7.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Corporate PowerPoint Template" id="{FBF47825-BA15-42F8-B8DD-474EE679720A}" vid="{51500039-90C3-4EE0-82E8-5B46344F180D}"/>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IQVIA Wave2">
    <a:dk1>
      <a:srgbClr val="2B3A42"/>
    </a:dk1>
    <a:lt1>
      <a:srgbClr val="FFFFFF"/>
    </a:lt1>
    <a:dk2>
      <a:srgbClr val="2B3A42"/>
    </a:dk2>
    <a:lt2>
      <a:srgbClr val="F0B323"/>
    </a:lt2>
    <a:accent1>
      <a:srgbClr val="00A3E0"/>
    </a:accent1>
    <a:accent2>
      <a:srgbClr val="005587"/>
    </a:accent2>
    <a:accent3>
      <a:srgbClr val="FE8A12"/>
    </a:accent3>
    <a:accent4>
      <a:srgbClr val="43B02A"/>
    </a:accent4>
    <a:accent5>
      <a:srgbClr val="027223"/>
    </a:accent5>
    <a:accent6>
      <a:srgbClr val="00BFB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IQVIA Wave2">
    <a:dk1>
      <a:srgbClr val="2B3A42"/>
    </a:dk1>
    <a:lt1>
      <a:srgbClr val="FFFFFF"/>
    </a:lt1>
    <a:dk2>
      <a:srgbClr val="2B3A42"/>
    </a:dk2>
    <a:lt2>
      <a:srgbClr val="F0B323"/>
    </a:lt2>
    <a:accent1>
      <a:srgbClr val="00A3E0"/>
    </a:accent1>
    <a:accent2>
      <a:srgbClr val="005587"/>
    </a:accent2>
    <a:accent3>
      <a:srgbClr val="FE8A12"/>
    </a:accent3>
    <a:accent4>
      <a:srgbClr val="43B02A"/>
    </a:accent4>
    <a:accent5>
      <a:srgbClr val="027223"/>
    </a:accent5>
    <a:accent6>
      <a:srgbClr val="00BFB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IQVIA Wave2">
    <a:dk1>
      <a:srgbClr val="2B3A42"/>
    </a:dk1>
    <a:lt1>
      <a:srgbClr val="FFFFFF"/>
    </a:lt1>
    <a:dk2>
      <a:srgbClr val="2B3A42"/>
    </a:dk2>
    <a:lt2>
      <a:srgbClr val="F0B323"/>
    </a:lt2>
    <a:accent1>
      <a:srgbClr val="00A3E0"/>
    </a:accent1>
    <a:accent2>
      <a:srgbClr val="005587"/>
    </a:accent2>
    <a:accent3>
      <a:srgbClr val="FE8A12"/>
    </a:accent3>
    <a:accent4>
      <a:srgbClr val="43B02A"/>
    </a:accent4>
    <a:accent5>
      <a:srgbClr val="027223"/>
    </a:accent5>
    <a:accent6>
      <a:srgbClr val="00BFB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IQVIA Wave2">
    <a:dk1>
      <a:srgbClr val="2B3A42"/>
    </a:dk1>
    <a:lt1>
      <a:srgbClr val="FFFFFF"/>
    </a:lt1>
    <a:dk2>
      <a:srgbClr val="2B3A42"/>
    </a:dk2>
    <a:lt2>
      <a:srgbClr val="F0B323"/>
    </a:lt2>
    <a:accent1>
      <a:srgbClr val="00A3E0"/>
    </a:accent1>
    <a:accent2>
      <a:srgbClr val="005587"/>
    </a:accent2>
    <a:accent3>
      <a:srgbClr val="FE8A12"/>
    </a:accent3>
    <a:accent4>
      <a:srgbClr val="43B02A"/>
    </a:accent4>
    <a:accent5>
      <a:srgbClr val="027223"/>
    </a:accent5>
    <a:accent6>
      <a:srgbClr val="00BFB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Facet</Template>
  <TotalTime>0</TotalTime>
  <Words>2964</Words>
  <Application>Microsoft Office PowerPoint</Application>
  <PresentationFormat>Widescreen</PresentationFormat>
  <Paragraphs>495</Paragraphs>
  <Slides>32</Slides>
  <Notes>17</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32</vt:i4>
      </vt:variant>
    </vt:vector>
  </HeadingPairs>
  <TitlesOfParts>
    <vt:vector size="53" baseType="lpstr">
      <vt:lpstr>Aptos</vt:lpstr>
      <vt:lpstr>Aptos Narrow</vt:lpstr>
      <vt:lpstr>Arial</vt:lpstr>
      <vt:lpstr>Arial Narrow</vt:lpstr>
      <vt:lpstr>Calibri</vt:lpstr>
      <vt:lpstr>Georgia</vt:lpstr>
      <vt:lpstr>Noto Sans</vt:lpstr>
      <vt:lpstr>Noto Sans (Body)</vt:lpstr>
      <vt:lpstr>Noto Sans (Headings)</vt:lpstr>
      <vt:lpstr>Noto Sans Light</vt:lpstr>
      <vt:lpstr>System Font Regular</vt:lpstr>
      <vt:lpstr>Times New Roman</vt:lpstr>
      <vt:lpstr>Wingdings</vt:lpstr>
      <vt:lpstr>1_IQVIA_V4.0.0</vt:lpstr>
      <vt:lpstr>2_IQVIA_V4.0.0</vt:lpstr>
      <vt:lpstr>IQVIA_V4.0.0</vt:lpstr>
      <vt:lpstr>6_IQVIA_V3.0.0</vt:lpstr>
      <vt:lpstr>1_IQVIA 2026</vt:lpstr>
      <vt:lpstr>3_IQVIA_V3.0.0</vt:lpstr>
      <vt:lpstr>IQVIA_V3.0.0</vt:lpstr>
      <vt:lpstr>think-cell Slide</vt:lpstr>
      <vt:lpstr>What market data tells us about the present and the future of community pharmacy</vt:lpstr>
      <vt:lpstr>Agenda</vt:lpstr>
      <vt:lpstr>PowerPoint Presentation</vt:lpstr>
      <vt:lpstr>Pressures on Community Pharmacy</vt:lpstr>
      <vt:lpstr>There are fewer pharmacy contractors in England but each is dispensing more items</vt:lpstr>
      <vt:lpstr>Increase in the generic concessionary lines signals heightened reimbursement mismatch risk</vt:lpstr>
      <vt:lpstr>IQVIA groups retail pharmacy contractors into 5 channels based on their geographical distribution and store presence</vt:lpstr>
      <vt:lpstr>Independents continue to grow whereas National Chains have significantly reduced followed by DSPs and Supermarkets</vt:lpstr>
      <vt:lpstr>Independents contractors consistently account for the most store openings</vt:lpstr>
      <vt:lpstr>Expanding NHS services</vt:lpstr>
      <vt:lpstr>Pharmacy needs to play a key role in the 3 “key shifts” in that underpin the Government’s 10 Year Health Plan</vt:lpstr>
      <vt:lpstr>Delivery of advanced services in community pharmacies has continued to evolve</vt:lpstr>
      <vt:lpstr>On top of the fee per consultation, the fixed payment for 20-29 or 30+ Pharmacy First consultations makes all the difference </vt:lpstr>
      <vt:lpstr>Chains are delivering more consultations per pharmacy than independents</vt:lpstr>
      <vt:lpstr>Pharmacy First services can help drive ‘Halo Spend’ through higher patient footfall into community pharmacies</vt:lpstr>
      <vt:lpstr>Patient driven healthcare</vt:lpstr>
      <vt:lpstr>As well as increased dispensing and services, private expenditure has tripled in the last year</vt:lpstr>
      <vt:lpstr>Limited re-imbursement of GLP1s drives private purchasing</vt:lpstr>
      <vt:lpstr>There are 193 obesity medicines in development or marketed with oral Wegovy already having an impact in the US </vt:lpstr>
      <vt:lpstr>Patients on GLP1s need wrap around advice</vt:lpstr>
      <vt:lpstr>Outside of Weight Management, there are other areas of growth in the private market</vt:lpstr>
      <vt:lpstr>Retail pharmacies recorded double digit growth in the travel vaccines* in 2025</vt:lpstr>
      <vt:lpstr>Hepatitis, Rabies and Typhoid are the leading travel vaccines categories </vt:lpstr>
      <vt:lpstr>The UK ADHD market has grown at a CAGR of 12.5% over the last decade, growing from 2.2m units in 2015 to 6.4m in 2025</vt:lpstr>
      <vt:lpstr>Evolution for the future</vt:lpstr>
      <vt:lpstr>Many areas of exciting innovation lie on the horizon</vt:lpstr>
      <vt:lpstr>PowerPoint Presentation</vt:lpstr>
      <vt:lpstr>Prescribing in Community Pharmacy will evolve</vt:lpstr>
      <vt:lpstr>The workforce is starting to change in response to the future needs of community pharmacy</vt:lpstr>
      <vt:lpstr>The Pharmacy of the future will be central to patient care</vt:lpstr>
      <vt:lpstr>Community Pharmacy evolution</vt:lpstr>
      <vt:lpstr>For further questions, please 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ngrid Cruickshank</dc:creator>
  <cp:lastModifiedBy>Ann-Marie Carrey</cp:lastModifiedBy>
  <cp:revision>7</cp:revision>
  <dcterms:created xsi:type="dcterms:W3CDTF">2026-06-16T13:59:37Z</dcterms:created>
  <dcterms:modified xsi:type="dcterms:W3CDTF">2026-07-02T10:43:12Z</dcterms:modified>
</cp:coreProperties>
</file>